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0.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1.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21.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27.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3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35.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58" r:id="rId5"/>
  </p:sldMasterIdLst>
  <p:notesMasterIdLst>
    <p:notesMasterId r:id="rId70"/>
  </p:notesMasterIdLst>
  <p:handoutMasterIdLst>
    <p:handoutMasterId r:id="rId71"/>
  </p:handoutMasterIdLst>
  <p:sldIdLst>
    <p:sldId id="2200" r:id="rId6"/>
    <p:sldId id="2342" r:id="rId7"/>
    <p:sldId id="2346" r:id="rId8"/>
    <p:sldId id="1671" r:id="rId9"/>
    <p:sldId id="2347" r:id="rId10"/>
    <p:sldId id="2348" r:id="rId11"/>
    <p:sldId id="2349" r:id="rId12"/>
    <p:sldId id="2350" r:id="rId13"/>
    <p:sldId id="2234" r:id="rId14"/>
    <p:sldId id="2351" r:id="rId15"/>
    <p:sldId id="2343" r:id="rId16"/>
    <p:sldId id="1612" r:id="rId17"/>
    <p:sldId id="1696" r:id="rId18"/>
    <p:sldId id="1682" r:id="rId19"/>
    <p:sldId id="1549" r:id="rId20"/>
    <p:sldId id="1639" r:id="rId21"/>
    <p:sldId id="1640" r:id="rId22"/>
    <p:sldId id="2356" r:id="rId23"/>
    <p:sldId id="1629" r:id="rId24"/>
    <p:sldId id="1697" r:id="rId25"/>
    <p:sldId id="1540" r:id="rId26"/>
    <p:sldId id="2357" r:id="rId27"/>
    <p:sldId id="2358" r:id="rId28"/>
    <p:sldId id="1635" r:id="rId29"/>
    <p:sldId id="1638" r:id="rId30"/>
    <p:sldId id="1684" r:id="rId31"/>
    <p:sldId id="1615" r:id="rId32"/>
    <p:sldId id="2352" r:id="rId33"/>
    <p:sldId id="1617" r:id="rId34"/>
    <p:sldId id="2359" r:id="rId35"/>
    <p:sldId id="1621" r:id="rId36"/>
    <p:sldId id="1622" r:id="rId37"/>
    <p:sldId id="2360" r:id="rId38"/>
    <p:sldId id="2362" r:id="rId39"/>
    <p:sldId id="2361" r:id="rId40"/>
    <p:sldId id="1686" r:id="rId41"/>
    <p:sldId id="1687" r:id="rId42"/>
    <p:sldId id="1552" r:id="rId43"/>
    <p:sldId id="1623" r:id="rId44"/>
    <p:sldId id="1677" r:id="rId45"/>
    <p:sldId id="1647" r:id="rId46"/>
    <p:sldId id="1679" r:id="rId47"/>
    <p:sldId id="1649" r:id="rId48"/>
    <p:sldId id="1648" r:id="rId49"/>
    <p:sldId id="1650" r:id="rId50"/>
    <p:sldId id="1691" r:id="rId51"/>
    <p:sldId id="1651" r:id="rId52"/>
    <p:sldId id="1652" r:id="rId53"/>
    <p:sldId id="1653" r:id="rId54"/>
    <p:sldId id="1654" r:id="rId55"/>
    <p:sldId id="1655" r:id="rId56"/>
    <p:sldId id="1692" r:id="rId57"/>
    <p:sldId id="1657" r:id="rId58"/>
    <p:sldId id="1658" r:id="rId59"/>
    <p:sldId id="1659" r:id="rId60"/>
    <p:sldId id="1660" r:id="rId61"/>
    <p:sldId id="1661" r:id="rId62"/>
    <p:sldId id="1662" r:id="rId63"/>
    <p:sldId id="2364" r:id="rId64"/>
    <p:sldId id="1693" r:id="rId65"/>
    <p:sldId id="2353" r:id="rId66"/>
    <p:sldId id="2355" r:id="rId67"/>
    <p:sldId id="2365" r:id="rId68"/>
    <p:sldId id="1678" r:id="rId69"/>
  </p:sldIdLst>
  <p:sldSz cx="12192000" cy="6858000"/>
  <p:notesSz cx="6858000" cy="9144000"/>
  <p:custDataLst>
    <p:tags r:id="rId72"/>
  </p:custDataLst>
  <p:defaultTextStyle>
    <a:defPPr>
      <a:defRPr lang="en-US"/>
    </a:defPPr>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0F0F0"/>
    <a:srgbClr val="FFFFFF"/>
    <a:srgbClr val="005C8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B6E914CF-E091-4348-A3B9-0B77A1330A93}">
  <a:tblStyle styleId="{B6E914CF-E091-4348-A3B9-0B77A1330A93}" styleName="Bird &amp; Bird">
    <a:wholeTbl>
      <a:tcTxStyle>
        <a:fontRef idx="minor">
          <a:prstClr val="black"/>
        </a:fontRef>
        <a:schemeClr val="dk1"/>
      </a:tcTxStyle>
      <a:tcStyle>
        <a:tcBdr>
          <a:left>
            <a:ln>
              <a:noFill/>
            </a:ln>
          </a:left>
          <a:right>
            <a:ln>
              <a:noFill/>
            </a:ln>
          </a:right>
          <a:top>
            <a:ln w="12700" cmpd="sng">
              <a:solidFill>
                <a:schemeClr val="dk1"/>
              </a:solidFill>
            </a:ln>
          </a:top>
          <a:bottom>
            <a:ln w="12700" cmpd="sng">
              <a:solidFill>
                <a:schemeClr val="dk1"/>
              </a:solidFill>
            </a:ln>
          </a:bottom>
          <a:insideH>
            <a:ln w="6350" cmpd="sng">
              <a:solidFill>
                <a:schemeClr val="dk1"/>
              </a:solidFill>
            </a:ln>
          </a:insideH>
          <a:insideV>
            <a:ln>
              <a:noFill/>
            </a:ln>
          </a:insideV>
        </a:tcBdr>
        <a:fill>
          <a:noFill/>
        </a:fill>
      </a:tcStyle>
    </a:wholeTbl>
    <a:band1H>
      <a:tcStyle>
        <a:tcBdr/>
        <a:fill>
          <a:solidFill>
            <a:schemeClr val="accent1">
              <a:tint val="20000"/>
            </a:schemeClr>
          </a:solidFill>
        </a:fill>
      </a:tcStyle>
    </a:band1H>
    <a:band2H>
      <a:tcStyle>
        <a:tcBdr/>
      </a:tcStyle>
    </a:band2H>
    <a:firstCol>
      <a:tcTxStyle>
        <a:fontRef idx="major">
          <a:prstClr val="black"/>
        </a:fontRef>
        <a:schemeClr val="dk1"/>
      </a:tcTxStyle>
      <a:tcStyle>
        <a:tcBdr/>
      </a:tcStyle>
    </a:firstCol>
    <a:lastRow>
      <a:tcTxStyle>
        <a:fontRef idx="minor">
          <a:prstClr val="black"/>
        </a:fontRef>
        <a:schemeClr val="dk1"/>
      </a:tcTxStyle>
      <a:tcStyle>
        <a:tcBdr/>
        <a:fill>
          <a:solidFill>
            <a:schemeClr val="bg2"/>
          </a:solidFill>
        </a:fill>
      </a:tcStyle>
    </a:lastRow>
    <a:firstRow>
      <a:tcTxStyle>
        <a:fontRef idx="major">
          <a:prstClr val="black"/>
        </a:fontRef>
        <a:schemeClr val="dk1"/>
      </a:tcTxStyle>
      <a:tcStyle>
        <a:tcBdr>
          <a:top>
            <a:ln w="0" cmpd="sng">
              <a:noFill/>
            </a:ln>
          </a:top>
          <a:bottom>
            <a:ln w="12700" cmpd="sng">
              <a:solidFill>
                <a:schemeClr val="dk1"/>
              </a:solidFill>
            </a:ln>
          </a:bottom>
        </a:tcBdr>
        <a:fill>
          <a:solidFill>
            <a:schemeClr val="accent1"/>
          </a:solidFill>
        </a:fill>
      </a:tcStyle>
    </a:firstRow>
    <a:nwCell>
      <a:tcTxStyle b="off">
        <a:fontRef idx="major">
          <a:prstClr val="black"/>
        </a:fontRef>
        <a:schemeClr val="dk1"/>
      </a:tcTxStyle>
      <a:tcStyle>
        <a:tcBdr/>
      </a:tcStyle>
    </a:nwCell>
  </a:tblStyle>
  <a:tblStyle styleId="{5C22544A-7EE6-4342-B048-85BDC9FD1C3A}" styleName="Medium Style 2 - Accent 1">
    <a:wholeTbl>
      <a:tcTxStyle>
        <a:fontRef idx="minor">
          <a:prstClr val="black"/>
        </a:fontRef>
        <a:schemeClr val="dk1"/>
      </a:tcTxStyle>
      <a:tcStyle>
        <a:tcBdr>
          <a:left>
            <a:ln>
              <a:noFill/>
            </a:ln>
          </a:left>
          <a:right>
            <a:ln>
              <a:noFill/>
            </a:ln>
          </a:right>
          <a:top>
            <a:ln w="12700" cmpd="sng">
              <a:solidFill>
                <a:schemeClr val="dk1"/>
              </a:solidFill>
            </a:ln>
          </a:top>
          <a:bottom>
            <a:ln w="12700" cmpd="sng">
              <a:solidFill>
                <a:schemeClr val="dk1"/>
              </a:solidFill>
            </a:ln>
          </a:bottom>
          <a:insideH>
            <a:ln w="6350" cmpd="sng">
              <a:solidFill>
                <a:schemeClr val="dk1"/>
              </a:solidFill>
            </a:ln>
          </a:insideH>
          <a:insideV>
            <a:ln>
              <a:noFill/>
            </a:ln>
          </a:insideV>
        </a:tcBdr>
        <a:fill>
          <a:noFill/>
        </a:fill>
      </a:tcStyle>
    </a:wholeTbl>
    <a:band1H>
      <a:tcStyle>
        <a:tcBdr/>
        <a:fill>
          <a:solidFill>
            <a:schemeClr val="accent1">
              <a:tint val="20000"/>
            </a:schemeClr>
          </a:solidFill>
        </a:fill>
      </a:tcStyle>
    </a:band1H>
    <a:band2H>
      <a:tcStyle>
        <a:tcBdr/>
      </a:tcStyle>
    </a:band2H>
    <a:firstCol>
      <a:tcTxStyle>
        <a:fontRef idx="major">
          <a:prstClr val="black"/>
        </a:fontRef>
        <a:schemeClr val="dk1"/>
      </a:tcTxStyle>
      <a:tcStyle>
        <a:tcBdr/>
      </a:tcStyle>
    </a:firstCol>
    <a:lastRow>
      <a:tcTxStyle>
        <a:fontRef idx="minor">
          <a:prstClr val="black"/>
        </a:fontRef>
        <a:schemeClr val="dk1"/>
      </a:tcTxStyle>
      <a:tcStyle>
        <a:tcBdr/>
        <a:fill>
          <a:solidFill>
            <a:schemeClr val="bg2"/>
          </a:solidFill>
        </a:fill>
      </a:tcStyle>
    </a:lastRow>
    <a:firstRow>
      <a:tcTxStyle>
        <a:fontRef idx="major">
          <a:prstClr val="black"/>
        </a:fontRef>
        <a:schemeClr val="dk1"/>
      </a:tcTxStyle>
      <a:tcStyle>
        <a:tcBdr>
          <a:top>
            <a:ln w="0" cmpd="sng">
              <a:noFill/>
            </a:ln>
          </a:top>
          <a:bottom>
            <a:ln w="12700" cmpd="sng">
              <a:solidFill>
                <a:schemeClr val="dk1"/>
              </a:solidFill>
            </a:ln>
          </a:bottom>
        </a:tcBdr>
        <a:fill>
          <a:solidFill>
            <a:schemeClr val="accent1"/>
          </a:solidFill>
        </a:fill>
      </a:tcStyle>
    </a:firstRow>
    <a:nwCell>
      <a:tcTxStyle b="off">
        <a:fontRef idx="major">
          <a:prstClr val="black"/>
        </a:fontRef>
        <a:schemeClr val="dk1"/>
      </a:tcTxStyle>
      <a:tcStyle>
        <a:tcBdr/>
      </a:tcStyle>
    </a:nw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5" autoAdjust="0"/>
    <p:restoredTop sz="96211" autoAdjust="0"/>
  </p:normalViewPr>
  <p:slideViewPr>
    <p:cSldViewPr snapToGrid="0">
      <p:cViewPr varScale="1">
        <p:scale>
          <a:sx n="116" d="100"/>
          <a:sy n="116" d="100"/>
        </p:scale>
        <p:origin x="138" y="336"/>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29610"/>
    </p:cViewPr>
  </p:sorterViewPr>
  <p:notesViewPr>
    <p:cSldViewPr snapToGrid="0" showGuides="1">
      <p:cViewPr varScale="1">
        <p:scale>
          <a:sx n="80" d="100"/>
          <a:sy n="80" d="100"/>
        </p:scale>
        <p:origin x="3762" y="108"/>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tags" Target="tags/tag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notesMaster" Target="notesMasters/notesMaster1.xml"/><Relationship Id="rId7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tableStyles" Target="tableStyles.xml"/><Relationship Id="rId7" Type="http://schemas.openxmlformats.org/officeDocument/2006/relationships/slide" Target="slides/slide2.xml"/><Relationship Id="rId71" Type="http://schemas.openxmlformats.org/officeDocument/2006/relationships/handoutMaster" Target="handoutMasters/handoutMaster1.xml"/></Relationships>
</file>

<file path=ppt/diagrams/_rels/data1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image" Target="../media/image41.png"/></Relationships>
</file>

<file path=ppt/diagrams/_rels/data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noyb.eu/en/gdprhub" TargetMode="External"/><Relationship Id="rId1" Type="http://schemas.openxmlformats.org/officeDocument/2006/relationships/hyperlink" Target="https://www.enforcementtracker.com/" TargetMode="External"/><Relationship Id="rId4" Type="http://schemas.openxmlformats.org/officeDocument/2006/relationships/image" Target="../media/image15.png"/></Relationships>
</file>

<file path=ppt/diagrams/_rels/data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image" Target="../media/image18.png"/></Relationships>
</file>

<file path=ppt/diagrams/_rels/drawing1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image" Target="../media/image41.png"/></Relationships>
</file>

<file path=ppt/diagrams/_rels/drawing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hyperlink" Target="https://www.enforcementtracker.com/" TargetMode="External"/><Relationship Id="rId1" Type="http://schemas.openxmlformats.org/officeDocument/2006/relationships/image" Target="../media/image14.png"/><Relationship Id="rId4" Type="http://schemas.openxmlformats.org/officeDocument/2006/relationships/hyperlink" Target="https://noyb.eu/en/gdprhub" TargetMode="External"/></Relationships>
</file>

<file path=ppt/diagrams/_rels/drawing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image" Target="../media/image18.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13E5474-9C31-4147-9887-8612669E831F}" type="doc">
      <dgm:prSet loTypeId="urn:microsoft.com/office/officeart/2005/8/layout/process1" loCatId="process" qsTypeId="urn:microsoft.com/office/officeart/2005/8/quickstyle/simple1" qsCatId="simple" csTypeId="urn:microsoft.com/office/officeart/2005/8/colors/accent1_2" csCatId="accent1" phldr="1"/>
      <dgm:spPr/>
      <dgm:t>
        <a:bodyPr/>
        <a:lstStyle/>
        <a:p>
          <a:endParaRPr lang="de-DE"/>
        </a:p>
      </dgm:t>
    </dgm:pt>
    <dgm:pt modelId="{F1D52AF1-6FF9-48DB-87DA-E018D00F2A85}">
      <dgm:prSet/>
      <dgm:spPr/>
      <dgm:t>
        <a:bodyPr/>
        <a:lstStyle/>
        <a:p>
          <a:r>
            <a:rPr lang="en-FI" dirty="0"/>
            <a:t>Who is enforcing?</a:t>
          </a:r>
          <a:endParaRPr lang="de-DE" dirty="0"/>
        </a:p>
      </dgm:t>
    </dgm:pt>
    <dgm:pt modelId="{7B6ACD8B-FDD9-4F5D-8ACD-B27DD7183DA3}" type="parTrans" cxnId="{888C9C77-6460-4C85-B614-9652D05C3654}">
      <dgm:prSet/>
      <dgm:spPr/>
      <dgm:t>
        <a:bodyPr/>
        <a:lstStyle/>
        <a:p>
          <a:endParaRPr lang="de-DE"/>
        </a:p>
      </dgm:t>
    </dgm:pt>
    <dgm:pt modelId="{55290DD8-1DF0-4971-AFD1-4479059048E9}" type="sibTrans" cxnId="{888C9C77-6460-4C85-B614-9652D05C3654}">
      <dgm:prSet/>
      <dgm:spPr/>
      <dgm:t>
        <a:bodyPr/>
        <a:lstStyle/>
        <a:p>
          <a:endParaRPr lang="de-DE"/>
        </a:p>
      </dgm:t>
    </dgm:pt>
    <dgm:pt modelId="{2AAEED89-5F44-48F4-90CB-2F119C682C85}">
      <dgm:prSet/>
      <dgm:spPr/>
      <dgm:t>
        <a:bodyPr/>
        <a:lstStyle/>
        <a:p>
          <a:r>
            <a:rPr lang="en-FI"/>
            <a:t>Data Protection Authorities</a:t>
          </a:r>
          <a:endParaRPr lang="de-DE"/>
        </a:p>
      </dgm:t>
    </dgm:pt>
    <dgm:pt modelId="{D1F19783-BD7C-43B7-BDC6-4E5A5B101B00}" type="parTrans" cxnId="{3B49255A-2900-455D-8D16-73E743097E28}">
      <dgm:prSet/>
      <dgm:spPr/>
      <dgm:t>
        <a:bodyPr/>
        <a:lstStyle/>
        <a:p>
          <a:endParaRPr lang="de-DE"/>
        </a:p>
      </dgm:t>
    </dgm:pt>
    <dgm:pt modelId="{87871007-952A-4972-B189-8551CB5378F4}" type="sibTrans" cxnId="{3B49255A-2900-455D-8D16-73E743097E28}">
      <dgm:prSet/>
      <dgm:spPr/>
      <dgm:t>
        <a:bodyPr/>
        <a:lstStyle/>
        <a:p>
          <a:endParaRPr lang="de-DE"/>
        </a:p>
      </dgm:t>
    </dgm:pt>
    <dgm:pt modelId="{8CB6C6A9-4778-4B62-AE96-88BB98E8322C}">
      <dgm:prSet/>
      <dgm:spPr/>
      <dgm:t>
        <a:bodyPr/>
        <a:lstStyle/>
        <a:p>
          <a:r>
            <a:rPr lang="en-FI" dirty="0"/>
            <a:t>Individuals </a:t>
          </a:r>
          <a:endParaRPr lang="de-DE" dirty="0"/>
        </a:p>
      </dgm:t>
    </dgm:pt>
    <dgm:pt modelId="{3DFA0F67-6352-4A7A-B64C-260EC865D2EA}" type="parTrans" cxnId="{15112E4D-50A2-4A16-B83C-8017F12CFE92}">
      <dgm:prSet/>
      <dgm:spPr/>
      <dgm:t>
        <a:bodyPr/>
        <a:lstStyle/>
        <a:p>
          <a:endParaRPr lang="de-DE"/>
        </a:p>
      </dgm:t>
    </dgm:pt>
    <dgm:pt modelId="{9A32C1D3-79A6-4D5E-849E-648463718A32}" type="sibTrans" cxnId="{15112E4D-50A2-4A16-B83C-8017F12CFE92}">
      <dgm:prSet/>
      <dgm:spPr/>
      <dgm:t>
        <a:bodyPr/>
        <a:lstStyle/>
        <a:p>
          <a:endParaRPr lang="de-DE"/>
        </a:p>
      </dgm:t>
    </dgm:pt>
    <dgm:pt modelId="{13AEAB5C-B1F6-49AB-955A-A5E14817FE28}">
      <dgm:prSet/>
      <dgm:spPr/>
      <dgm:t>
        <a:bodyPr/>
        <a:lstStyle/>
        <a:p>
          <a:r>
            <a:rPr lang="en-FI"/>
            <a:t>T</a:t>
          </a:r>
          <a:r>
            <a:rPr lang="de-DE"/>
            <a:t>h</a:t>
          </a:r>
          <a:r>
            <a:rPr lang="en-FI"/>
            <a:t>ird-party watch dogs </a:t>
          </a:r>
          <a:br>
            <a:rPr lang="en-FI"/>
          </a:br>
          <a:endParaRPr lang="de-DE"/>
        </a:p>
      </dgm:t>
    </dgm:pt>
    <dgm:pt modelId="{C3E02690-21F1-4209-93E0-9A0E7D8345CE}" type="parTrans" cxnId="{360365BE-B54F-4DD4-B27B-722BF96F1419}">
      <dgm:prSet/>
      <dgm:spPr/>
      <dgm:t>
        <a:bodyPr/>
        <a:lstStyle/>
        <a:p>
          <a:endParaRPr lang="de-DE"/>
        </a:p>
      </dgm:t>
    </dgm:pt>
    <dgm:pt modelId="{88A6D906-4F34-46CD-A56A-0AC89F09B8DB}" type="sibTrans" cxnId="{360365BE-B54F-4DD4-B27B-722BF96F1419}">
      <dgm:prSet/>
      <dgm:spPr/>
      <dgm:t>
        <a:bodyPr/>
        <a:lstStyle/>
        <a:p>
          <a:endParaRPr lang="de-DE"/>
        </a:p>
      </dgm:t>
    </dgm:pt>
    <dgm:pt modelId="{58CB4AF5-E4A7-4353-A6D1-7C59C28A75B8}" type="pres">
      <dgm:prSet presAssocID="{D13E5474-9C31-4147-9887-8612669E831F}" presName="Name0" presStyleCnt="0">
        <dgm:presLayoutVars>
          <dgm:dir/>
          <dgm:resizeHandles val="exact"/>
        </dgm:presLayoutVars>
      </dgm:prSet>
      <dgm:spPr/>
    </dgm:pt>
    <dgm:pt modelId="{C9420CF4-164B-4D95-8552-D7345C97393C}" type="pres">
      <dgm:prSet presAssocID="{F1D52AF1-6FF9-48DB-87DA-E018D00F2A85}" presName="node" presStyleLbl="node1" presStyleIdx="0" presStyleCnt="1">
        <dgm:presLayoutVars>
          <dgm:bulletEnabled val="1"/>
        </dgm:presLayoutVars>
      </dgm:prSet>
      <dgm:spPr/>
    </dgm:pt>
  </dgm:ptLst>
  <dgm:cxnLst>
    <dgm:cxn modelId="{B6E68260-ED63-48E8-B0B0-DBE518E414D1}" type="presOf" srcId="{D13E5474-9C31-4147-9887-8612669E831F}" destId="{58CB4AF5-E4A7-4353-A6D1-7C59C28A75B8}" srcOrd="0" destOrd="0" presId="urn:microsoft.com/office/officeart/2005/8/layout/process1"/>
    <dgm:cxn modelId="{15112E4D-50A2-4A16-B83C-8017F12CFE92}" srcId="{F1D52AF1-6FF9-48DB-87DA-E018D00F2A85}" destId="{8CB6C6A9-4778-4B62-AE96-88BB98E8322C}" srcOrd="1" destOrd="0" parTransId="{3DFA0F67-6352-4A7A-B64C-260EC865D2EA}" sibTransId="{9A32C1D3-79A6-4D5E-849E-648463718A32}"/>
    <dgm:cxn modelId="{04156E6F-CC26-41E7-89B9-7E1890CD5CB2}" type="presOf" srcId="{2AAEED89-5F44-48F4-90CB-2F119C682C85}" destId="{C9420CF4-164B-4D95-8552-D7345C97393C}" srcOrd="0" destOrd="1" presId="urn:microsoft.com/office/officeart/2005/8/layout/process1"/>
    <dgm:cxn modelId="{888C9C77-6460-4C85-B614-9652D05C3654}" srcId="{D13E5474-9C31-4147-9887-8612669E831F}" destId="{F1D52AF1-6FF9-48DB-87DA-E018D00F2A85}" srcOrd="0" destOrd="0" parTransId="{7B6ACD8B-FDD9-4F5D-8ACD-B27DD7183DA3}" sibTransId="{55290DD8-1DF0-4971-AFD1-4479059048E9}"/>
    <dgm:cxn modelId="{75C66079-AB2E-4DF4-8E98-30C2AE8E6E85}" type="presOf" srcId="{8CB6C6A9-4778-4B62-AE96-88BB98E8322C}" destId="{C9420CF4-164B-4D95-8552-D7345C97393C}" srcOrd="0" destOrd="2" presId="urn:microsoft.com/office/officeart/2005/8/layout/process1"/>
    <dgm:cxn modelId="{3B49255A-2900-455D-8D16-73E743097E28}" srcId="{F1D52AF1-6FF9-48DB-87DA-E018D00F2A85}" destId="{2AAEED89-5F44-48F4-90CB-2F119C682C85}" srcOrd="0" destOrd="0" parTransId="{D1F19783-BD7C-43B7-BDC6-4E5A5B101B00}" sibTransId="{87871007-952A-4972-B189-8551CB5378F4}"/>
    <dgm:cxn modelId="{AE3313A5-1A86-4396-95A3-BD20517D961E}" type="presOf" srcId="{F1D52AF1-6FF9-48DB-87DA-E018D00F2A85}" destId="{C9420CF4-164B-4D95-8552-D7345C97393C}" srcOrd="0" destOrd="0" presId="urn:microsoft.com/office/officeart/2005/8/layout/process1"/>
    <dgm:cxn modelId="{EDC74FAB-6602-449E-AB0A-06F7C2472657}" type="presOf" srcId="{13AEAB5C-B1F6-49AB-955A-A5E14817FE28}" destId="{C9420CF4-164B-4D95-8552-D7345C97393C}" srcOrd="0" destOrd="3" presId="urn:microsoft.com/office/officeart/2005/8/layout/process1"/>
    <dgm:cxn modelId="{360365BE-B54F-4DD4-B27B-722BF96F1419}" srcId="{F1D52AF1-6FF9-48DB-87DA-E018D00F2A85}" destId="{13AEAB5C-B1F6-49AB-955A-A5E14817FE28}" srcOrd="2" destOrd="0" parTransId="{C3E02690-21F1-4209-93E0-9A0E7D8345CE}" sibTransId="{88A6D906-4F34-46CD-A56A-0AC89F09B8DB}"/>
    <dgm:cxn modelId="{F6EB067A-D835-49DD-BC40-31F9EFA74800}" type="presParOf" srcId="{58CB4AF5-E4A7-4353-A6D1-7C59C28A75B8}" destId="{C9420CF4-164B-4D95-8552-D7345C97393C}" srcOrd="0"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CB13C76F-763B-4C82-B353-3E9EE20F33E1}"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D1F11026-BA86-4BF3-8E3C-7382E783EB0F}">
      <dgm:prSet/>
      <dgm:spPr/>
      <dgm:t>
        <a:bodyPr/>
        <a:lstStyle/>
        <a:p>
          <a:pPr rtl="0"/>
          <a:r>
            <a:rPr lang="fi-FI"/>
            <a:t>How something should be done</a:t>
          </a:r>
          <a:endParaRPr lang="en-GB"/>
        </a:p>
      </dgm:t>
    </dgm:pt>
    <dgm:pt modelId="{655DE3DE-C254-4DF7-A874-359578669D50}" type="parTrans" cxnId="{0F788CF9-2A06-4445-B703-7A82A518404B}">
      <dgm:prSet/>
      <dgm:spPr/>
      <dgm:t>
        <a:bodyPr/>
        <a:lstStyle/>
        <a:p>
          <a:endParaRPr lang="en-US"/>
        </a:p>
      </dgm:t>
    </dgm:pt>
    <dgm:pt modelId="{8C822140-CEE9-4EBF-967C-E2E70FAA0FDC}" type="sibTrans" cxnId="{0F788CF9-2A06-4445-B703-7A82A518404B}">
      <dgm:prSet/>
      <dgm:spPr/>
      <dgm:t>
        <a:bodyPr/>
        <a:lstStyle/>
        <a:p>
          <a:endParaRPr lang="en-US"/>
        </a:p>
      </dgm:t>
    </dgm:pt>
    <dgm:pt modelId="{10212899-1829-4677-8FDD-7AE91D9E4F81}">
      <dgm:prSet/>
      <dgm:spPr/>
      <dgm:t>
        <a:bodyPr/>
        <a:lstStyle/>
        <a:p>
          <a:pPr rtl="0"/>
          <a:r>
            <a:rPr lang="fi-FI" dirty="0"/>
            <a:t>Privacy by Design (25)</a:t>
          </a:r>
          <a:endParaRPr lang="en-GB" dirty="0"/>
        </a:p>
      </dgm:t>
    </dgm:pt>
    <dgm:pt modelId="{76555769-A3F5-480B-BEBC-9014A49301C9}" type="parTrans" cxnId="{39C97EC6-75E1-4F8A-85CF-E50772E140BB}">
      <dgm:prSet/>
      <dgm:spPr/>
      <dgm:t>
        <a:bodyPr/>
        <a:lstStyle/>
        <a:p>
          <a:endParaRPr lang="en-US"/>
        </a:p>
      </dgm:t>
    </dgm:pt>
    <dgm:pt modelId="{645A0F54-DB9A-4101-B4CB-094E77EB6FD9}" type="sibTrans" cxnId="{39C97EC6-75E1-4F8A-85CF-E50772E140BB}">
      <dgm:prSet/>
      <dgm:spPr/>
      <dgm:t>
        <a:bodyPr/>
        <a:lstStyle/>
        <a:p>
          <a:endParaRPr lang="en-US"/>
        </a:p>
      </dgm:t>
    </dgm:pt>
    <dgm:pt modelId="{EF83E4F7-4171-48CD-BADB-D2C160130067}">
      <dgm:prSet/>
      <dgm:spPr/>
      <dgm:t>
        <a:bodyPr/>
        <a:lstStyle/>
        <a:p>
          <a:pPr rtl="0"/>
          <a:r>
            <a:rPr lang="fi-FI" dirty="0"/>
            <a:t>Privacy by </a:t>
          </a:r>
          <a:r>
            <a:rPr lang="fi-FI" dirty="0" err="1"/>
            <a:t>Default</a:t>
          </a:r>
          <a:r>
            <a:rPr lang="fi-FI" dirty="0"/>
            <a:t> (25)</a:t>
          </a:r>
          <a:endParaRPr lang="en-GB" dirty="0"/>
        </a:p>
      </dgm:t>
    </dgm:pt>
    <dgm:pt modelId="{9EF0BFCE-5809-452A-BC8C-4C6A8BA6404F}" type="parTrans" cxnId="{85CB7A67-7928-4CE9-834D-3F37F82A7C8D}">
      <dgm:prSet/>
      <dgm:spPr/>
      <dgm:t>
        <a:bodyPr/>
        <a:lstStyle/>
        <a:p>
          <a:endParaRPr lang="en-US"/>
        </a:p>
      </dgm:t>
    </dgm:pt>
    <dgm:pt modelId="{436A7F7A-65A2-4863-AB86-F9765482B5CF}" type="sibTrans" cxnId="{85CB7A67-7928-4CE9-834D-3F37F82A7C8D}">
      <dgm:prSet/>
      <dgm:spPr/>
      <dgm:t>
        <a:bodyPr/>
        <a:lstStyle/>
        <a:p>
          <a:endParaRPr lang="en-US"/>
        </a:p>
      </dgm:t>
    </dgm:pt>
    <dgm:pt modelId="{56869C45-0B1C-4B5C-96F7-91854CE351DD}">
      <dgm:prSet/>
      <dgm:spPr/>
      <dgm:t>
        <a:bodyPr/>
        <a:lstStyle/>
        <a:p>
          <a:pPr rtl="0"/>
          <a:r>
            <a:rPr lang="fi-FI" dirty="0" err="1"/>
            <a:t>Privacy</a:t>
          </a:r>
          <a:r>
            <a:rPr lang="fi-FI" dirty="0"/>
            <a:t> </a:t>
          </a:r>
          <a:r>
            <a:rPr lang="fi-FI" dirty="0" err="1"/>
            <a:t>enhancing</a:t>
          </a:r>
          <a:r>
            <a:rPr lang="fi-FI" dirty="0"/>
            <a:t> </a:t>
          </a:r>
          <a:r>
            <a:rPr lang="fi-FI" dirty="0" err="1"/>
            <a:t>technologies</a:t>
          </a:r>
          <a:r>
            <a:rPr lang="fi-FI" dirty="0"/>
            <a:t> PET</a:t>
          </a:r>
          <a:endParaRPr lang="en-GB" dirty="0"/>
        </a:p>
      </dgm:t>
    </dgm:pt>
    <dgm:pt modelId="{3E1A3938-039D-4530-B2B9-4AB792C25E94}" type="parTrans" cxnId="{2138E5B0-6143-4E1A-80E9-5D89261F8AED}">
      <dgm:prSet/>
      <dgm:spPr/>
      <dgm:t>
        <a:bodyPr/>
        <a:lstStyle/>
        <a:p>
          <a:endParaRPr lang="en-US"/>
        </a:p>
      </dgm:t>
    </dgm:pt>
    <dgm:pt modelId="{C9E04DB9-551B-4E0A-BF89-2C6D914D1E40}" type="sibTrans" cxnId="{2138E5B0-6143-4E1A-80E9-5D89261F8AED}">
      <dgm:prSet/>
      <dgm:spPr/>
      <dgm:t>
        <a:bodyPr/>
        <a:lstStyle/>
        <a:p>
          <a:endParaRPr lang="en-US"/>
        </a:p>
      </dgm:t>
    </dgm:pt>
    <dgm:pt modelId="{24D9BCD0-39E7-4CD4-BDA0-EB6591100CC5}">
      <dgm:prSet/>
      <dgm:spPr/>
      <dgm:t>
        <a:bodyPr/>
        <a:lstStyle/>
        <a:p>
          <a:pPr rtl="0"/>
          <a:r>
            <a:rPr lang="fi-FI" dirty="0" err="1"/>
            <a:t>Accountability</a:t>
          </a:r>
          <a:r>
            <a:rPr lang="fi-FI" dirty="0"/>
            <a:t> (</a:t>
          </a:r>
          <a:r>
            <a:rPr lang="fi-FI" dirty="0" err="1"/>
            <a:t>documented</a:t>
          </a:r>
          <a:r>
            <a:rPr lang="fi-FI" dirty="0"/>
            <a:t> </a:t>
          </a:r>
          <a:r>
            <a:rPr lang="fi-FI" dirty="0" err="1"/>
            <a:t>compliance</a:t>
          </a:r>
          <a:r>
            <a:rPr lang="fi-FI" dirty="0"/>
            <a:t>)</a:t>
          </a:r>
          <a:endParaRPr lang="en-GB" dirty="0"/>
        </a:p>
      </dgm:t>
    </dgm:pt>
    <dgm:pt modelId="{FD197DC1-564F-4F71-BE6C-F73A356EEDB9}" type="parTrans" cxnId="{4659C031-3F06-4724-B544-0E81F6974BFB}">
      <dgm:prSet/>
      <dgm:spPr/>
      <dgm:t>
        <a:bodyPr/>
        <a:lstStyle/>
        <a:p>
          <a:endParaRPr lang="en-US"/>
        </a:p>
      </dgm:t>
    </dgm:pt>
    <dgm:pt modelId="{DB8F7C0D-F5BA-407F-9AC0-70F666DEE41B}" type="sibTrans" cxnId="{4659C031-3F06-4724-B544-0E81F6974BFB}">
      <dgm:prSet/>
      <dgm:spPr/>
      <dgm:t>
        <a:bodyPr/>
        <a:lstStyle/>
        <a:p>
          <a:endParaRPr lang="en-US"/>
        </a:p>
      </dgm:t>
    </dgm:pt>
    <dgm:pt modelId="{EEDE9F42-13C7-40C2-A711-B0A5AAB74664}">
      <dgm:prSet/>
      <dgm:spPr/>
      <dgm:t>
        <a:bodyPr/>
        <a:lstStyle/>
        <a:p>
          <a:pPr rtl="0"/>
          <a:r>
            <a:rPr lang="fi-FI" dirty="0"/>
            <a:t>Mandatory </a:t>
          </a:r>
          <a:r>
            <a:rPr lang="fi-FI" dirty="0" err="1"/>
            <a:t>notices</a:t>
          </a:r>
          <a:r>
            <a:rPr lang="fi-FI" dirty="0"/>
            <a:t> (</a:t>
          </a:r>
          <a:r>
            <a:rPr lang="en-FI" dirty="0"/>
            <a:t>13/</a:t>
          </a:r>
          <a:r>
            <a:rPr lang="fi-FI" dirty="0"/>
            <a:t>14) and </a:t>
          </a:r>
          <a:r>
            <a:rPr lang="fi-FI" dirty="0" err="1"/>
            <a:t>documentation</a:t>
          </a:r>
          <a:r>
            <a:rPr lang="fi-FI" dirty="0"/>
            <a:t> (30)</a:t>
          </a:r>
          <a:endParaRPr lang="en-GB" dirty="0"/>
        </a:p>
      </dgm:t>
    </dgm:pt>
    <dgm:pt modelId="{9481A8AA-D7AC-4510-97A8-51DB4D15B115}" type="parTrans" cxnId="{B84E8F2B-FB85-463E-9779-ADCFABA51591}">
      <dgm:prSet/>
      <dgm:spPr/>
      <dgm:t>
        <a:bodyPr/>
        <a:lstStyle/>
        <a:p>
          <a:endParaRPr lang="en-US"/>
        </a:p>
      </dgm:t>
    </dgm:pt>
    <dgm:pt modelId="{CCB627AE-36F5-4BA8-8154-E6F3A6C0F8EE}" type="sibTrans" cxnId="{B84E8F2B-FB85-463E-9779-ADCFABA51591}">
      <dgm:prSet/>
      <dgm:spPr/>
      <dgm:t>
        <a:bodyPr/>
        <a:lstStyle/>
        <a:p>
          <a:endParaRPr lang="en-US"/>
        </a:p>
      </dgm:t>
    </dgm:pt>
    <dgm:pt modelId="{490B7ED2-52FA-4CD1-9EF2-4E872F9A5C64}">
      <dgm:prSet/>
      <dgm:spPr/>
      <dgm:t>
        <a:bodyPr/>
        <a:lstStyle/>
        <a:p>
          <a:pPr rtl="0"/>
          <a:r>
            <a:rPr lang="fi-FI" dirty="0"/>
            <a:t>Privacy impact </a:t>
          </a:r>
          <a:r>
            <a:rPr lang="fi-FI" dirty="0" err="1"/>
            <a:t>assessments</a:t>
          </a:r>
          <a:r>
            <a:rPr lang="fi-FI" dirty="0"/>
            <a:t> (35)</a:t>
          </a:r>
          <a:endParaRPr lang="en-GB" dirty="0"/>
        </a:p>
      </dgm:t>
    </dgm:pt>
    <dgm:pt modelId="{13FB5E3A-0AFA-46EB-8AB9-416CDD713532}" type="parTrans" cxnId="{CEF30E54-1CD1-4B0C-80D1-90FA1E2AB47A}">
      <dgm:prSet/>
      <dgm:spPr/>
      <dgm:t>
        <a:bodyPr/>
        <a:lstStyle/>
        <a:p>
          <a:endParaRPr lang="en-US"/>
        </a:p>
      </dgm:t>
    </dgm:pt>
    <dgm:pt modelId="{5A72F4F6-FCAA-486A-B26D-49D6CA93DE50}" type="sibTrans" cxnId="{CEF30E54-1CD1-4B0C-80D1-90FA1E2AB47A}">
      <dgm:prSet/>
      <dgm:spPr/>
      <dgm:t>
        <a:bodyPr/>
        <a:lstStyle/>
        <a:p>
          <a:endParaRPr lang="en-US"/>
        </a:p>
      </dgm:t>
    </dgm:pt>
    <dgm:pt modelId="{2FEEE5EE-5C77-4F61-B6E2-F628350EF363}">
      <dgm:prSet/>
      <dgm:spPr/>
      <dgm:t>
        <a:bodyPr/>
        <a:lstStyle/>
        <a:p>
          <a:pPr rtl="0"/>
          <a:r>
            <a:rPr lang="fi-FI" dirty="0"/>
            <a:t>Mandatory breach notifications (31, 32)</a:t>
          </a:r>
          <a:endParaRPr lang="en-GB" dirty="0"/>
        </a:p>
      </dgm:t>
    </dgm:pt>
    <dgm:pt modelId="{47A3515B-2F28-4F14-A5DD-FC966F6C4368}" type="parTrans" cxnId="{C14DC147-2346-45F1-8F44-8B1DA3C916ED}">
      <dgm:prSet/>
      <dgm:spPr/>
      <dgm:t>
        <a:bodyPr/>
        <a:lstStyle/>
        <a:p>
          <a:endParaRPr lang="en-US"/>
        </a:p>
      </dgm:t>
    </dgm:pt>
    <dgm:pt modelId="{039D9534-7EA9-4501-A4D4-ABAAC1EB4151}" type="sibTrans" cxnId="{C14DC147-2346-45F1-8F44-8B1DA3C916ED}">
      <dgm:prSet/>
      <dgm:spPr/>
      <dgm:t>
        <a:bodyPr/>
        <a:lstStyle/>
        <a:p>
          <a:endParaRPr lang="en-US"/>
        </a:p>
      </dgm:t>
    </dgm:pt>
    <dgm:pt modelId="{A3ECAC0A-0795-4751-AF42-42A3C4C9B83F}">
      <dgm:prSet/>
      <dgm:spPr/>
      <dgm:t>
        <a:bodyPr/>
        <a:lstStyle/>
        <a:p>
          <a:pPr rtl="0"/>
          <a:r>
            <a:rPr lang="fi-FI"/>
            <a:t>Creating third party enforcers</a:t>
          </a:r>
          <a:endParaRPr lang="en-GB"/>
        </a:p>
      </dgm:t>
    </dgm:pt>
    <dgm:pt modelId="{2ADA8635-8118-4B9E-A61B-DBB6F5312BB5}" type="parTrans" cxnId="{69161569-714F-4157-8CBE-D677A26A5B18}">
      <dgm:prSet/>
      <dgm:spPr/>
      <dgm:t>
        <a:bodyPr/>
        <a:lstStyle/>
        <a:p>
          <a:endParaRPr lang="en-US"/>
        </a:p>
      </dgm:t>
    </dgm:pt>
    <dgm:pt modelId="{C33EDAE3-2C98-41A2-A374-554788FEA335}" type="sibTrans" cxnId="{69161569-714F-4157-8CBE-D677A26A5B18}">
      <dgm:prSet/>
      <dgm:spPr/>
      <dgm:t>
        <a:bodyPr/>
        <a:lstStyle/>
        <a:p>
          <a:endParaRPr lang="en-US"/>
        </a:p>
      </dgm:t>
    </dgm:pt>
    <dgm:pt modelId="{1A797474-80A6-4698-8D62-22430E77030A}">
      <dgm:prSet/>
      <dgm:spPr/>
      <dgm:t>
        <a:bodyPr/>
        <a:lstStyle/>
        <a:p>
          <a:pPr rtl="0"/>
          <a:r>
            <a:rPr lang="fi-FI" dirty="0"/>
            <a:t>DPO: Data protection </a:t>
          </a:r>
          <a:r>
            <a:rPr lang="fi-FI" dirty="0" err="1"/>
            <a:t>officer</a:t>
          </a:r>
          <a:r>
            <a:rPr lang="fi-FI" dirty="0"/>
            <a:t> (37-39)</a:t>
          </a:r>
          <a:endParaRPr lang="en-GB" dirty="0"/>
        </a:p>
      </dgm:t>
    </dgm:pt>
    <dgm:pt modelId="{4B456AE2-006F-4FF1-BB3A-34F1459A9FEA}" type="parTrans" cxnId="{F747AAB8-708E-489B-B4D6-D026E8D2F834}">
      <dgm:prSet/>
      <dgm:spPr/>
      <dgm:t>
        <a:bodyPr/>
        <a:lstStyle/>
        <a:p>
          <a:endParaRPr lang="en-US"/>
        </a:p>
      </dgm:t>
    </dgm:pt>
    <dgm:pt modelId="{C5503A97-609C-4962-BEDC-50274FBB0673}" type="sibTrans" cxnId="{F747AAB8-708E-489B-B4D6-D026E8D2F834}">
      <dgm:prSet/>
      <dgm:spPr/>
      <dgm:t>
        <a:bodyPr/>
        <a:lstStyle/>
        <a:p>
          <a:endParaRPr lang="en-US"/>
        </a:p>
      </dgm:t>
    </dgm:pt>
    <dgm:pt modelId="{A4ED7318-5BB2-41C7-9048-3A5010985D65}">
      <dgm:prSet/>
      <dgm:spPr/>
      <dgm:t>
        <a:bodyPr/>
        <a:lstStyle/>
        <a:p>
          <a:pPr rtl="0"/>
          <a:r>
            <a:rPr lang="fi-FI" dirty="0" err="1"/>
            <a:t>Right</a:t>
          </a:r>
          <a:r>
            <a:rPr lang="fi-FI" dirty="0"/>
            <a:t> to </a:t>
          </a:r>
          <a:r>
            <a:rPr lang="fi-FI" dirty="0" err="1"/>
            <a:t>sue</a:t>
          </a:r>
          <a:r>
            <a:rPr lang="fi-FI" dirty="0"/>
            <a:t> (77-80)</a:t>
          </a:r>
          <a:endParaRPr lang="en-GB" dirty="0"/>
        </a:p>
      </dgm:t>
    </dgm:pt>
    <dgm:pt modelId="{630A6E20-C40B-4C02-88EA-588D2BFABB2E}" type="parTrans" cxnId="{47C70C1E-160E-4B74-90BC-2A5FD5050B60}">
      <dgm:prSet/>
      <dgm:spPr/>
      <dgm:t>
        <a:bodyPr/>
        <a:lstStyle/>
        <a:p>
          <a:endParaRPr lang="en-US"/>
        </a:p>
      </dgm:t>
    </dgm:pt>
    <dgm:pt modelId="{F2D554F0-7BF2-40C6-845D-CBF88E7E6142}" type="sibTrans" cxnId="{47C70C1E-160E-4B74-90BC-2A5FD5050B60}">
      <dgm:prSet/>
      <dgm:spPr/>
      <dgm:t>
        <a:bodyPr/>
        <a:lstStyle/>
        <a:p>
          <a:endParaRPr lang="en-US"/>
        </a:p>
      </dgm:t>
    </dgm:pt>
    <dgm:pt modelId="{36250FFD-4687-4975-B5BA-554FBF8D7CEA}">
      <dgm:prSet/>
      <dgm:spPr/>
      <dgm:t>
        <a:bodyPr/>
        <a:lstStyle/>
        <a:p>
          <a:pPr rtl="0"/>
          <a:r>
            <a:rPr lang="en-GB" dirty="0"/>
            <a:t>Code of Conducts and Certifications (40-43)</a:t>
          </a:r>
        </a:p>
      </dgm:t>
    </dgm:pt>
    <dgm:pt modelId="{EE6EE74C-DAFB-42FC-9543-19C15150E089}" type="parTrans" cxnId="{6A23DE2E-1764-41C0-9B7C-0F9B0C7C10F5}">
      <dgm:prSet/>
      <dgm:spPr/>
      <dgm:t>
        <a:bodyPr/>
        <a:lstStyle/>
        <a:p>
          <a:endParaRPr lang="en-US"/>
        </a:p>
      </dgm:t>
    </dgm:pt>
    <dgm:pt modelId="{BE06AAE3-C23E-4CF9-95E5-B30DCB6DEDC7}" type="sibTrans" cxnId="{6A23DE2E-1764-41C0-9B7C-0F9B0C7C10F5}">
      <dgm:prSet/>
      <dgm:spPr/>
      <dgm:t>
        <a:bodyPr/>
        <a:lstStyle/>
        <a:p>
          <a:endParaRPr lang="en-US"/>
        </a:p>
      </dgm:t>
    </dgm:pt>
    <dgm:pt modelId="{1B4A5D56-30A8-4640-B017-8085E26C7256}" type="pres">
      <dgm:prSet presAssocID="{CB13C76F-763B-4C82-B353-3E9EE20F33E1}" presName="linear" presStyleCnt="0">
        <dgm:presLayoutVars>
          <dgm:animLvl val="lvl"/>
          <dgm:resizeHandles val="exact"/>
        </dgm:presLayoutVars>
      </dgm:prSet>
      <dgm:spPr/>
    </dgm:pt>
    <dgm:pt modelId="{274A3534-C870-4877-98CD-100027296DF8}" type="pres">
      <dgm:prSet presAssocID="{D1F11026-BA86-4BF3-8E3C-7382E783EB0F}" presName="parentText" presStyleLbl="node1" presStyleIdx="0" presStyleCnt="3" custLinFactNeighborX="11857" custLinFactNeighborY="-26729">
        <dgm:presLayoutVars>
          <dgm:chMax val="0"/>
          <dgm:bulletEnabled val="1"/>
        </dgm:presLayoutVars>
      </dgm:prSet>
      <dgm:spPr/>
    </dgm:pt>
    <dgm:pt modelId="{CE2319FD-E2D9-4CDE-9B90-9984E3524B65}" type="pres">
      <dgm:prSet presAssocID="{D1F11026-BA86-4BF3-8E3C-7382E783EB0F}" presName="childText" presStyleLbl="revTx" presStyleIdx="0" presStyleCnt="3">
        <dgm:presLayoutVars>
          <dgm:bulletEnabled val="1"/>
        </dgm:presLayoutVars>
      </dgm:prSet>
      <dgm:spPr/>
    </dgm:pt>
    <dgm:pt modelId="{C3BA7C33-573E-4ED6-B5C1-A9353D8350CD}" type="pres">
      <dgm:prSet presAssocID="{24D9BCD0-39E7-4CD4-BDA0-EB6591100CC5}" presName="parentText" presStyleLbl="node1" presStyleIdx="1" presStyleCnt="3">
        <dgm:presLayoutVars>
          <dgm:chMax val="0"/>
          <dgm:bulletEnabled val="1"/>
        </dgm:presLayoutVars>
      </dgm:prSet>
      <dgm:spPr/>
    </dgm:pt>
    <dgm:pt modelId="{EA27D008-32BB-4971-B8ED-57304BA16D67}" type="pres">
      <dgm:prSet presAssocID="{24D9BCD0-39E7-4CD4-BDA0-EB6591100CC5}" presName="childText" presStyleLbl="revTx" presStyleIdx="1" presStyleCnt="3">
        <dgm:presLayoutVars>
          <dgm:bulletEnabled val="1"/>
        </dgm:presLayoutVars>
      </dgm:prSet>
      <dgm:spPr/>
    </dgm:pt>
    <dgm:pt modelId="{EEAEE2CC-70BC-464E-80EC-A8BE801D2D47}" type="pres">
      <dgm:prSet presAssocID="{A3ECAC0A-0795-4751-AF42-42A3C4C9B83F}" presName="parentText" presStyleLbl="node1" presStyleIdx="2" presStyleCnt="3">
        <dgm:presLayoutVars>
          <dgm:chMax val="0"/>
          <dgm:bulletEnabled val="1"/>
        </dgm:presLayoutVars>
      </dgm:prSet>
      <dgm:spPr/>
    </dgm:pt>
    <dgm:pt modelId="{E843EC36-4861-427B-9BA4-5162694C60D1}" type="pres">
      <dgm:prSet presAssocID="{A3ECAC0A-0795-4751-AF42-42A3C4C9B83F}" presName="childText" presStyleLbl="revTx" presStyleIdx="2" presStyleCnt="3">
        <dgm:presLayoutVars>
          <dgm:bulletEnabled val="1"/>
        </dgm:presLayoutVars>
      </dgm:prSet>
      <dgm:spPr/>
    </dgm:pt>
  </dgm:ptLst>
  <dgm:cxnLst>
    <dgm:cxn modelId="{FACCC618-262E-4977-8E5F-574D087F0BA5}" type="presOf" srcId="{1A797474-80A6-4698-8D62-22430E77030A}" destId="{E843EC36-4861-427B-9BA4-5162694C60D1}" srcOrd="0" destOrd="0" presId="urn:microsoft.com/office/officeart/2005/8/layout/vList2"/>
    <dgm:cxn modelId="{DFFB1F1A-28EC-471A-A74D-E5A7D4C89D04}" type="presOf" srcId="{24D9BCD0-39E7-4CD4-BDA0-EB6591100CC5}" destId="{C3BA7C33-573E-4ED6-B5C1-A9353D8350CD}" srcOrd="0" destOrd="0" presId="urn:microsoft.com/office/officeart/2005/8/layout/vList2"/>
    <dgm:cxn modelId="{47C70C1E-160E-4B74-90BC-2A5FD5050B60}" srcId="{A3ECAC0A-0795-4751-AF42-42A3C4C9B83F}" destId="{A4ED7318-5BB2-41C7-9048-3A5010985D65}" srcOrd="1" destOrd="0" parTransId="{630A6E20-C40B-4C02-88EA-588D2BFABB2E}" sibTransId="{F2D554F0-7BF2-40C6-845D-CBF88E7E6142}"/>
    <dgm:cxn modelId="{A0856E23-A7BA-4D96-B790-5E79301135EB}" type="presOf" srcId="{CB13C76F-763B-4C82-B353-3E9EE20F33E1}" destId="{1B4A5D56-30A8-4640-B017-8085E26C7256}" srcOrd="0" destOrd="0" presId="urn:microsoft.com/office/officeart/2005/8/layout/vList2"/>
    <dgm:cxn modelId="{8A00DC2A-9111-4C71-9C44-3F6BE1FE508D}" type="presOf" srcId="{EF83E4F7-4171-48CD-BADB-D2C160130067}" destId="{CE2319FD-E2D9-4CDE-9B90-9984E3524B65}" srcOrd="0" destOrd="1" presId="urn:microsoft.com/office/officeart/2005/8/layout/vList2"/>
    <dgm:cxn modelId="{B84E8F2B-FB85-463E-9779-ADCFABA51591}" srcId="{24D9BCD0-39E7-4CD4-BDA0-EB6591100CC5}" destId="{EEDE9F42-13C7-40C2-A711-B0A5AAB74664}" srcOrd="0" destOrd="0" parTransId="{9481A8AA-D7AC-4510-97A8-51DB4D15B115}" sibTransId="{CCB627AE-36F5-4BA8-8154-E6F3A6C0F8EE}"/>
    <dgm:cxn modelId="{6A23DE2E-1764-41C0-9B7C-0F9B0C7C10F5}" srcId="{24D9BCD0-39E7-4CD4-BDA0-EB6591100CC5}" destId="{36250FFD-4687-4975-B5BA-554FBF8D7CEA}" srcOrd="3" destOrd="0" parTransId="{EE6EE74C-DAFB-42FC-9543-19C15150E089}" sibTransId="{BE06AAE3-C23E-4CF9-95E5-B30DCB6DEDC7}"/>
    <dgm:cxn modelId="{4659C031-3F06-4724-B544-0E81F6974BFB}" srcId="{CB13C76F-763B-4C82-B353-3E9EE20F33E1}" destId="{24D9BCD0-39E7-4CD4-BDA0-EB6591100CC5}" srcOrd="1" destOrd="0" parTransId="{FD197DC1-564F-4F71-BE6C-F73A356EEDB9}" sibTransId="{DB8F7C0D-F5BA-407F-9AC0-70F666DEE41B}"/>
    <dgm:cxn modelId="{85CB7A67-7928-4CE9-834D-3F37F82A7C8D}" srcId="{D1F11026-BA86-4BF3-8E3C-7382E783EB0F}" destId="{EF83E4F7-4171-48CD-BADB-D2C160130067}" srcOrd="1" destOrd="0" parTransId="{9EF0BFCE-5809-452A-BC8C-4C6A8BA6404F}" sibTransId="{436A7F7A-65A2-4863-AB86-F9765482B5CF}"/>
    <dgm:cxn modelId="{C14DC147-2346-45F1-8F44-8B1DA3C916ED}" srcId="{24D9BCD0-39E7-4CD4-BDA0-EB6591100CC5}" destId="{2FEEE5EE-5C77-4F61-B6E2-F628350EF363}" srcOrd="2" destOrd="0" parTransId="{47A3515B-2F28-4F14-A5DD-FC966F6C4368}" sibTransId="{039D9534-7EA9-4501-A4D4-ABAAC1EB4151}"/>
    <dgm:cxn modelId="{69161569-714F-4157-8CBE-D677A26A5B18}" srcId="{CB13C76F-763B-4C82-B353-3E9EE20F33E1}" destId="{A3ECAC0A-0795-4751-AF42-42A3C4C9B83F}" srcOrd="2" destOrd="0" parTransId="{2ADA8635-8118-4B9E-A61B-DBB6F5312BB5}" sibTransId="{C33EDAE3-2C98-41A2-A374-554788FEA335}"/>
    <dgm:cxn modelId="{1D41934D-13B3-4AF6-8F77-AE66DF36F988}" type="presOf" srcId="{36250FFD-4687-4975-B5BA-554FBF8D7CEA}" destId="{EA27D008-32BB-4971-B8ED-57304BA16D67}" srcOrd="0" destOrd="3" presId="urn:microsoft.com/office/officeart/2005/8/layout/vList2"/>
    <dgm:cxn modelId="{2A50A34E-ADA8-4EA5-A699-3E8BE276A931}" type="presOf" srcId="{A4ED7318-5BB2-41C7-9048-3A5010985D65}" destId="{E843EC36-4861-427B-9BA4-5162694C60D1}" srcOrd="0" destOrd="1" presId="urn:microsoft.com/office/officeart/2005/8/layout/vList2"/>
    <dgm:cxn modelId="{D2AB4373-EC0A-4544-BE1F-C53DFC499C36}" type="presOf" srcId="{EEDE9F42-13C7-40C2-A711-B0A5AAB74664}" destId="{EA27D008-32BB-4971-B8ED-57304BA16D67}" srcOrd="0" destOrd="0" presId="urn:microsoft.com/office/officeart/2005/8/layout/vList2"/>
    <dgm:cxn modelId="{CEF30E54-1CD1-4B0C-80D1-90FA1E2AB47A}" srcId="{24D9BCD0-39E7-4CD4-BDA0-EB6591100CC5}" destId="{490B7ED2-52FA-4CD1-9EF2-4E872F9A5C64}" srcOrd="1" destOrd="0" parTransId="{13FB5E3A-0AFA-46EB-8AB9-416CDD713532}" sibTransId="{5A72F4F6-FCAA-486A-B26D-49D6CA93DE50}"/>
    <dgm:cxn modelId="{8E703C97-2FD2-4507-A11F-D51F08C6993F}" type="presOf" srcId="{A3ECAC0A-0795-4751-AF42-42A3C4C9B83F}" destId="{EEAEE2CC-70BC-464E-80EC-A8BE801D2D47}" srcOrd="0" destOrd="0" presId="urn:microsoft.com/office/officeart/2005/8/layout/vList2"/>
    <dgm:cxn modelId="{E6E79AA3-2402-4E65-AED0-1877D5561A36}" type="presOf" srcId="{56869C45-0B1C-4B5C-96F7-91854CE351DD}" destId="{CE2319FD-E2D9-4CDE-9B90-9984E3524B65}" srcOrd="0" destOrd="2" presId="urn:microsoft.com/office/officeart/2005/8/layout/vList2"/>
    <dgm:cxn modelId="{2138E5B0-6143-4E1A-80E9-5D89261F8AED}" srcId="{D1F11026-BA86-4BF3-8E3C-7382E783EB0F}" destId="{56869C45-0B1C-4B5C-96F7-91854CE351DD}" srcOrd="2" destOrd="0" parTransId="{3E1A3938-039D-4530-B2B9-4AB792C25E94}" sibTransId="{C9E04DB9-551B-4E0A-BF89-2C6D914D1E40}"/>
    <dgm:cxn modelId="{0C9D42B2-4946-4C96-8CAC-4F1A19F09BC9}" type="presOf" srcId="{490B7ED2-52FA-4CD1-9EF2-4E872F9A5C64}" destId="{EA27D008-32BB-4971-B8ED-57304BA16D67}" srcOrd="0" destOrd="1" presId="urn:microsoft.com/office/officeart/2005/8/layout/vList2"/>
    <dgm:cxn modelId="{F747AAB8-708E-489B-B4D6-D026E8D2F834}" srcId="{A3ECAC0A-0795-4751-AF42-42A3C4C9B83F}" destId="{1A797474-80A6-4698-8D62-22430E77030A}" srcOrd="0" destOrd="0" parTransId="{4B456AE2-006F-4FF1-BB3A-34F1459A9FEA}" sibTransId="{C5503A97-609C-4962-BEDC-50274FBB0673}"/>
    <dgm:cxn modelId="{39C97EC6-75E1-4F8A-85CF-E50772E140BB}" srcId="{D1F11026-BA86-4BF3-8E3C-7382E783EB0F}" destId="{10212899-1829-4677-8FDD-7AE91D9E4F81}" srcOrd="0" destOrd="0" parTransId="{76555769-A3F5-480B-BEBC-9014A49301C9}" sibTransId="{645A0F54-DB9A-4101-B4CB-094E77EB6FD9}"/>
    <dgm:cxn modelId="{B7DC92C7-EDB8-4CF7-8880-8507B2EFC0FA}" type="presOf" srcId="{2FEEE5EE-5C77-4F61-B6E2-F628350EF363}" destId="{EA27D008-32BB-4971-B8ED-57304BA16D67}" srcOrd="0" destOrd="2" presId="urn:microsoft.com/office/officeart/2005/8/layout/vList2"/>
    <dgm:cxn modelId="{0F9F63D6-CB61-4A1A-B808-8DF19230C5D2}" type="presOf" srcId="{D1F11026-BA86-4BF3-8E3C-7382E783EB0F}" destId="{274A3534-C870-4877-98CD-100027296DF8}" srcOrd="0" destOrd="0" presId="urn:microsoft.com/office/officeart/2005/8/layout/vList2"/>
    <dgm:cxn modelId="{F912C0DD-1F4A-4A0D-9AAC-9F67655259F3}" type="presOf" srcId="{10212899-1829-4677-8FDD-7AE91D9E4F81}" destId="{CE2319FD-E2D9-4CDE-9B90-9984E3524B65}" srcOrd="0" destOrd="0" presId="urn:microsoft.com/office/officeart/2005/8/layout/vList2"/>
    <dgm:cxn modelId="{0F788CF9-2A06-4445-B703-7A82A518404B}" srcId="{CB13C76F-763B-4C82-B353-3E9EE20F33E1}" destId="{D1F11026-BA86-4BF3-8E3C-7382E783EB0F}" srcOrd="0" destOrd="0" parTransId="{655DE3DE-C254-4DF7-A874-359578669D50}" sibTransId="{8C822140-CEE9-4EBF-967C-E2E70FAA0FDC}"/>
    <dgm:cxn modelId="{9A946EC4-9000-4008-81D4-E33928FEAC1B}" type="presParOf" srcId="{1B4A5D56-30A8-4640-B017-8085E26C7256}" destId="{274A3534-C870-4877-98CD-100027296DF8}" srcOrd="0" destOrd="0" presId="urn:microsoft.com/office/officeart/2005/8/layout/vList2"/>
    <dgm:cxn modelId="{07086808-8DAA-4E91-A733-2A37F6A411CB}" type="presParOf" srcId="{1B4A5D56-30A8-4640-B017-8085E26C7256}" destId="{CE2319FD-E2D9-4CDE-9B90-9984E3524B65}" srcOrd="1" destOrd="0" presId="urn:microsoft.com/office/officeart/2005/8/layout/vList2"/>
    <dgm:cxn modelId="{475E312A-519B-4CC1-97A9-2968F220C4AE}" type="presParOf" srcId="{1B4A5D56-30A8-4640-B017-8085E26C7256}" destId="{C3BA7C33-573E-4ED6-B5C1-A9353D8350CD}" srcOrd="2" destOrd="0" presId="urn:microsoft.com/office/officeart/2005/8/layout/vList2"/>
    <dgm:cxn modelId="{81C91AD8-EA30-4610-A887-44C4A788DDB6}" type="presParOf" srcId="{1B4A5D56-30A8-4640-B017-8085E26C7256}" destId="{EA27D008-32BB-4971-B8ED-57304BA16D67}" srcOrd="3" destOrd="0" presId="urn:microsoft.com/office/officeart/2005/8/layout/vList2"/>
    <dgm:cxn modelId="{9948652B-6F0B-4C81-BAF1-D275D9153D7B}" type="presParOf" srcId="{1B4A5D56-30A8-4640-B017-8085E26C7256}" destId="{EEAEE2CC-70BC-464E-80EC-A8BE801D2D47}" srcOrd="4" destOrd="0" presId="urn:microsoft.com/office/officeart/2005/8/layout/vList2"/>
    <dgm:cxn modelId="{37687376-EAB2-4E79-8621-9292406996B0}" type="presParOf" srcId="{1B4A5D56-30A8-4640-B017-8085E26C7256}" destId="{E843EC36-4861-427B-9BA4-5162694C60D1}"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31BD6AFB-E850-446A-A5AF-8B6F220F1D9B}" type="doc">
      <dgm:prSet loTypeId="urn:microsoft.com/office/officeart/2005/8/layout/hierarchy4" loCatId="hierarchy" qsTypeId="urn:microsoft.com/office/officeart/2005/8/quickstyle/simple1" qsCatId="simple" csTypeId="urn:microsoft.com/office/officeart/2005/8/colors/accent1_2" csCatId="accent1"/>
      <dgm:spPr/>
      <dgm:t>
        <a:bodyPr/>
        <a:lstStyle/>
        <a:p>
          <a:endParaRPr lang="en-US"/>
        </a:p>
      </dgm:t>
    </dgm:pt>
    <dgm:pt modelId="{29832CA0-0B82-4706-865C-6BFEA22CD027}">
      <dgm:prSet/>
      <dgm:spPr/>
      <dgm:t>
        <a:bodyPr/>
        <a:lstStyle/>
        <a:p>
          <a:pPr rtl="0"/>
          <a:r>
            <a:rPr lang="de-DE" dirty="0">
              <a:solidFill>
                <a:schemeClr val="accent5">
                  <a:lumMod val="20000"/>
                  <a:lumOff val="80000"/>
                </a:schemeClr>
              </a:solidFill>
            </a:rPr>
            <a:t>Accountability </a:t>
          </a:r>
          <a:endParaRPr lang="en-US" dirty="0">
            <a:solidFill>
              <a:schemeClr val="accent5">
                <a:lumMod val="20000"/>
                <a:lumOff val="80000"/>
              </a:schemeClr>
            </a:solidFill>
          </a:endParaRPr>
        </a:p>
      </dgm:t>
    </dgm:pt>
    <dgm:pt modelId="{23451787-FA9D-4FB7-9985-524BDE0650DC}" type="parTrans" cxnId="{2BAA7631-79A9-4857-B59B-4C9CF741AAD6}">
      <dgm:prSet/>
      <dgm:spPr/>
      <dgm:t>
        <a:bodyPr/>
        <a:lstStyle/>
        <a:p>
          <a:endParaRPr lang="en-US"/>
        </a:p>
      </dgm:t>
    </dgm:pt>
    <dgm:pt modelId="{9FFF27F8-E976-498C-9668-9D9C2D9E455C}" type="sibTrans" cxnId="{2BAA7631-79A9-4857-B59B-4C9CF741AAD6}">
      <dgm:prSet/>
      <dgm:spPr/>
      <dgm:t>
        <a:bodyPr/>
        <a:lstStyle/>
        <a:p>
          <a:endParaRPr lang="en-US"/>
        </a:p>
      </dgm:t>
    </dgm:pt>
    <dgm:pt modelId="{81416A68-33DE-4B0F-B69F-7C6BF31A272B}">
      <dgm:prSet/>
      <dgm:spPr/>
      <dgm:t>
        <a:bodyPr/>
        <a:lstStyle/>
        <a:p>
          <a:pPr rtl="0"/>
          <a:r>
            <a:rPr lang="de-DE" dirty="0">
              <a:solidFill>
                <a:schemeClr val="accent5">
                  <a:lumMod val="20000"/>
                  <a:lumOff val="80000"/>
                </a:schemeClr>
              </a:solidFill>
            </a:rPr>
            <a:t>Risk-based approach</a:t>
          </a:r>
          <a:endParaRPr lang="en-US" dirty="0">
            <a:solidFill>
              <a:schemeClr val="accent5">
                <a:lumMod val="20000"/>
                <a:lumOff val="80000"/>
              </a:schemeClr>
            </a:solidFill>
          </a:endParaRPr>
        </a:p>
      </dgm:t>
    </dgm:pt>
    <dgm:pt modelId="{BBE59419-D09B-4C46-A050-6733D5AD7CA0}" type="parTrans" cxnId="{67AB7690-0489-4465-BCA4-A5F9825DDC0A}">
      <dgm:prSet/>
      <dgm:spPr/>
      <dgm:t>
        <a:bodyPr/>
        <a:lstStyle/>
        <a:p>
          <a:endParaRPr lang="en-US"/>
        </a:p>
      </dgm:t>
    </dgm:pt>
    <dgm:pt modelId="{3811CC7E-5553-4CA9-949B-03C7DA7ABBA1}" type="sibTrans" cxnId="{67AB7690-0489-4465-BCA4-A5F9825DDC0A}">
      <dgm:prSet/>
      <dgm:spPr/>
      <dgm:t>
        <a:bodyPr/>
        <a:lstStyle/>
        <a:p>
          <a:endParaRPr lang="en-US"/>
        </a:p>
      </dgm:t>
    </dgm:pt>
    <dgm:pt modelId="{1961B42A-43C3-4BCD-B1A9-1243D131FB0F}" type="pres">
      <dgm:prSet presAssocID="{31BD6AFB-E850-446A-A5AF-8B6F220F1D9B}" presName="Name0" presStyleCnt="0">
        <dgm:presLayoutVars>
          <dgm:chPref val="1"/>
          <dgm:dir/>
          <dgm:animOne val="branch"/>
          <dgm:animLvl val="lvl"/>
          <dgm:resizeHandles/>
        </dgm:presLayoutVars>
      </dgm:prSet>
      <dgm:spPr/>
    </dgm:pt>
    <dgm:pt modelId="{36F1AD73-568B-42F4-BC71-F144D489DBB5}" type="pres">
      <dgm:prSet presAssocID="{29832CA0-0B82-4706-865C-6BFEA22CD027}" presName="vertOne" presStyleCnt="0"/>
      <dgm:spPr/>
    </dgm:pt>
    <dgm:pt modelId="{AC663B7A-B61A-41C8-8DA4-C876D884963B}" type="pres">
      <dgm:prSet presAssocID="{29832CA0-0B82-4706-865C-6BFEA22CD027}" presName="txOne" presStyleLbl="node0" presStyleIdx="0" presStyleCnt="2">
        <dgm:presLayoutVars>
          <dgm:chPref val="3"/>
        </dgm:presLayoutVars>
      </dgm:prSet>
      <dgm:spPr/>
    </dgm:pt>
    <dgm:pt modelId="{6B19AA5A-F09B-4F08-A130-46DF43118688}" type="pres">
      <dgm:prSet presAssocID="{29832CA0-0B82-4706-865C-6BFEA22CD027}" presName="horzOne" presStyleCnt="0"/>
      <dgm:spPr/>
    </dgm:pt>
    <dgm:pt modelId="{58B2EDDF-A730-4161-8C11-5142252D076E}" type="pres">
      <dgm:prSet presAssocID="{9FFF27F8-E976-498C-9668-9D9C2D9E455C}" presName="sibSpaceOne" presStyleCnt="0"/>
      <dgm:spPr/>
    </dgm:pt>
    <dgm:pt modelId="{679F28C8-77D0-4B6A-9583-E3623DD6D42F}" type="pres">
      <dgm:prSet presAssocID="{81416A68-33DE-4B0F-B69F-7C6BF31A272B}" presName="vertOne" presStyleCnt="0"/>
      <dgm:spPr/>
    </dgm:pt>
    <dgm:pt modelId="{2863FE01-BA60-4178-B6E2-B3647A530E70}" type="pres">
      <dgm:prSet presAssocID="{81416A68-33DE-4B0F-B69F-7C6BF31A272B}" presName="txOne" presStyleLbl="node0" presStyleIdx="1" presStyleCnt="2" custLinFactNeighborX="2990" custLinFactNeighborY="1578">
        <dgm:presLayoutVars>
          <dgm:chPref val="3"/>
        </dgm:presLayoutVars>
      </dgm:prSet>
      <dgm:spPr/>
    </dgm:pt>
    <dgm:pt modelId="{6FA7403D-1DFA-4564-9645-4ED08A269030}" type="pres">
      <dgm:prSet presAssocID="{81416A68-33DE-4B0F-B69F-7C6BF31A272B}" presName="horzOne" presStyleCnt="0"/>
      <dgm:spPr/>
    </dgm:pt>
  </dgm:ptLst>
  <dgm:cxnLst>
    <dgm:cxn modelId="{2BAA7631-79A9-4857-B59B-4C9CF741AAD6}" srcId="{31BD6AFB-E850-446A-A5AF-8B6F220F1D9B}" destId="{29832CA0-0B82-4706-865C-6BFEA22CD027}" srcOrd="0" destOrd="0" parTransId="{23451787-FA9D-4FB7-9985-524BDE0650DC}" sibTransId="{9FFF27F8-E976-498C-9668-9D9C2D9E455C}"/>
    <dgm:cxn modelId="{6E6F013E-3833-4648-8E28-F946D311C190}" type="presOf" srcId="{81416A68-33DE-4B0F-B69F-7C6BF31A272B}" destId="{2863FE01-BA60-4178-B6E2-B3647A530E70}" srcOrd="0" destOrd="0" presId="urn:microsoft.com/office/officeart/2005/8/layout/hierarchy4"/>
    <dgm:cxn modelId="{67AB7690-0489-4465-BCA4-A5F9825DDC0A}" srcId="{31BD6AFB-E850-446A-A5AF-8B6F220F1D9B}" destId="{81416A68-33DE-4B0F-B69F-7C6BF31A272B}" srcOrd="1" destOrd="0" parTransId="{BBE59419-D09B-4C46-A050-6733D5AD7CA0}" sibTransId="{3811CC7E-5553-4CA9-949B-03C7DA7ABBA1}"/>
    <dgm:cxn modelId="{E0CA68AB-61E9-454F-AC61-3FD41F2C77DC}" type="presOf" srcId="{31BD6AFB-E850-446A-A5AF-8B6F220F1D9B}" destId="{1961B42A-43C3-4BCD-B1A9-1243D131FB0F}" srcOrd="0" destOrd="0" presId="urn:microsoft.com/office/officeart/2005/8/layout/hierarchy4"/>
    <dgm:cxn modelId="{4946A1DF-1E7D-461F-9DE0-F27FF25CB5A1}" type="presOf" srcId="{29832CA0-0B82-4706-865C-6BFEA22CD027}" destId="{AC663B7A-B61A-41C8-8DA4-C876D884963B}" srcOrd="0" destOrd="0" presId="urn:microsoft.com/office/officeart/2005/8/layout/hierarchy4"/>
    <dgm:cxn modelId="{7F652228-013E-4D28-9BEF-56A3305A3E16}" type="presParOf" srcId="{1961B42A-43C3-4BCD-B1A9-1243D131FB0F}" destId="{36F1AD73-568B-42F4-BC71-F144D489DBB5}" srcOrd="0" destOrd="0" presId="urn:microsoft.com/office/officeart/2005/8/layout/hierarchy4"/>
    <dgm:cxn modelId="{721179D4-4B49-47AD-90C9-906BCDBF3646}" type="presParOf" srcId="{36F1AD73-568B-42F4-BC71-F144D489DBB5}" destId="{AC663B7A-B61A-41C8-8DA4-C876D884963B}" srcOrd="0" destOrd="0" presId="urn:microsoft.com/office/officeart/2005/8/layout/hierarchy4"/>
    <dgm:cxn modelId="{CA1A19ED-0806-4EB5-9C16-B0011C82E164}" type="presParOf" srcId="{36F1AD73-568B-42F4-BC71-F144D489DBB5}" destId="{6B19AA5A-F09B-4F08-A130-46DF43118688}" srcOrd="1" destOrd="0" presId="urn:microsoft.com/office/officeart/2005/8/layout/hierarchy4"/>
    <dgm:cxn modelId="{B7C2E211-91D1-4D02-8632-237C6E997B9E}" type="presParOf" srcId="{1961B42A-43C3-4BCD-B1A9-1243D131FB0F}" destId="{58B2EDDF-A730-4161-8C11-5142252D076E}" srcOrd="1" destOrd="0" presId="urn:microsoft.com/office/officeart/2005/8/layout/hierarchy4"/>
    <dgm:cxn modelId="{AE37AFD8-A8D4-4F09-9E0E-4AABF23126F9}" type="presParOf" srcId="{1961B42A-43C3-4BCD-B1A9-1243D131FB0F}" destId="{679F28C8-77D0-4B6A-9583-E3623DD6D42F}" srcOrd="2" destOrd="0" presId="urn:microsoft.com/office/officeart/2005/8/layout/hierarchy4"/>
    <dgm:cxn modelId="{06502A1C-8512-4529-8BD6-135F5AE5817F}" type="presParOf" srcId="{679F28C8-77D0-4B6A-9583-E3623DD6D42F}" destId="{2863FE01-BA60-4178-B6E2-B3647A530E70}" srcOrd="0" destOrd="0" presId="urn:microsoft.com/office/officeart/2005/8/layout/hierarchy4"/>
    <dgm:cxn modelId="{EFD70AB5-70BA-423D-8370-00DE23D05A62}" type="presParOf" srcId="{679F28C8-77D0-4B6A-9583-E3623DD6D42F}" destId="{6FA7403D-1DFA-4564-9645-4ED08A269030}" srcOrd="1" destOrd="0" presId="urn:microsoft.com/office/officeart/2005/8/layout/hierarchy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D4C5865B-E248-42A8-84C6-FBA7048BAEB7}"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C85CE26D-CAAC-4732-982B-026572AE5978}">
      <dgm:prSet/>
      <dgm:spPr/>
      <dgm:t>
        <a:bodyPr/>
        <a:lstStyle/>
        <a:p>
          <a:pPr rtl="0"/>
          <a:r>
            <a:rPr lang="de-DE" dirty="0">
              <a:latin typeface="Euphemia" panose="020B0503040102020104" pitchFamily="34" charset="0"/>
            </a:rPr>
            <a:t>Accountability</a:t>
          </a:r>
          <a:endParaRPr lang="en-US" dirty="0">
            <a:latin typeface="Euphemia" panose="020B0503040102020104" pitchFamily="34" charset="0"/>
          </a:endParaRPr>
        </a:p>
      </dgm:t>
    </dgm:pt>
    <dgm:pt modelId="{EAAE8C4B-B577-4B52-A066-2A72EAE9A770}" type="parTrans" cxnId="{C2669E6B-A366-40D3-9D86-4425AB63D344}">
      <dgm:prSet/>
      <dgm:spPr/>
      <dgm:t>
        <a:bodyPr/>
        <a:lstStyle/>
        <a:p>
          <a:endParaRPr lang="en-US"/>
        </a:p>
      </dgm:t>
    </dgm:pt>
    <dgm:pt modelId="{3D031E00-09F1-4912-B25B-135A5EECC626}" type="sibTrans" cxnId="{C2669E6B-A366-40D3-9D86-4425AB63D344}">
      <dgm:prSet/>
      <dgm:spPr/>
      <dgm:t>
        <a:bodyPr/>
        <a:lstStyle/>
        <a:p>
          <a:endParaRPr lang="en-US"/>
        </a:p>
      </dgm:t>
    </dgm:pt>
    <dgm:pt modelId="{5A5570F5-4B03-4FB3-BAFC-A103CB785685}">
      <dgm:prSet/>
      <dgm:spPr/>
      <dgm:t>
        <a:bodyPr/>
        <a:lstStyle/>
        <a:p>
          <a:pPr rtl="0"/>
          <a:r>
            <a:rPr lang="de-DE"/>
            <a:t>Core concept</a:t>
          </a:r>
          <a:endParaRPr lang="en-US"/>
        </a:p>
      </dgm:t>
    </dgm:pt>
    <dgm:pt modelId="{773A1E0E-6A2A-4AF1-92CF-A03396134D60}" type="parTrans" cxnId="{992F2AB4-AA98-4067-BD37-812445B3DD42}">
      <dgm:prSet/>
      <dgm:spPr/>
      <dgm:t>
        <a:bodyPr/>
        <a:lstStyle/>
        <a:p>
          <a:endParaRPr lang="en-US"/>
        </a:p>
      </dgm:t>
    </dgm:pt>
    <dgm:pt modelId="{4F40CCD2-9235-42C8-BE61-7AEEF7AFABA4}" type="sibTrans" cxnId="{992F2AB4-AA98-4067-BD37-812445B3DD42}">
      <dgm:prSet/>
      <dgm:spPr/>
      <dgm:t>
        <a:bodyPr/>
        <a:lstStyle/>
        <a:p>
          <a:endParaRPr lang="en-US"/>
        </a:p>
      </dgm:t>
    </dgm:pt>
    <dgm:pt modelId="{5DD9D373-35AD-42D1-AE0F-60A4E1CCFE8D}">
      <dgm:prSet/>
      <dgm:spPr/>
      <dgm:t>
        <a:bodyPr/>
        <a:lstStyle/>
        <a:p>
          <a:pPr rtl="0"/>
          <a:r>
            <a:rPr lang="de-DE"/>
            <a:t>Documented compliance, taking responsibility </a:t>
          </a:r>
          <a:endParaRPr lang="en-US"/>
        </a:p>
      </dgm:t>
    </dgm:pt>
    <dgm:pt modelId="{32AEE0E1-A4D3-4E5E-BC8F-CBCB2ECC67C7}" type="parTrans" cxnId="{622F8BF3-E1DB-4D60-ADFF-B80F12BC18F5}">
      <dgm:prSet/>
      <dgm:spPr/>
      <dgm:t>
        <a:bodyPr/>
        <a:lstStyle/>
        <a:p>
          <a:endParaRPr lang="en-US"/>
        </a:p>
      </dgm:t>
    </dgm:pt>
    <dgm:pt modelId="{5D0CC6C0-0EDF-4656-A01B-63E4335784F5}" type="sibTrans" cxnId="{622F8BF3-E1DB-4D60-ADFF-B80F12BC18F5}">
      <dgm:prSet/>
      <dgm:spPr/>
      <dgm:t>
        <a:bodyPr/>
        <a:lstStyle/>
        <a:p>
          <a:endParaRPr lang="en-US"/>
        </a:p>
      </dgm:t>
    </dgm:pt>
    <dgm:pt modelId="{BCE3D176-665C-4212-836C-FEA5A9F7A2DD}">
      <dgm:prSet/>
      <dgm:spPr/>
      <dgm:t>
        <a:bodyPr/>
        <a:lstStyle/>
        <a:p>
          <a:pPr rtl="0"/>
          <a:r>
            <a:rPr lang="de-DE"/>
            <a:t>Risk based approach</a:t>
          </a:r>
          <a:endParaRPr lang="en-US"/>
        </a:p>
      </dgm:t>
    </dgm:pt>
    <dgm:pt modelId="{F059736F-FD21-40A0-BA86-2433DF1C3671}" type="parTrans" cxnId="{11CEB387-400B-491B-A4B0-AB52956BD2C2}">
      <dgm:prSet/>
      <dgm:spPr/>
      <dgm:t>
        <a:bodyPr/>
        <a:lstStyle/>
        <a:p>
          <a:endParaRPr lang="en-US"/>
        </a:p>
      </dgm:t>
    </dgm:pt>
    <dgm:pt modelId="{418CE619-683C-4326-872C-582AB6CFC106}" type="sibTrans" cxnId="{11CEB387-400B-491B-A4B0-AB52956BD2C2}">
      <dgm:prSet/>
      <dgm:spPr/>
      <dgm:t>
        <a:bodyPr/>
        <a:lstStyle/>
        <a:p>
          <a:endParaRPr lang="en-US"/>
        </a:p>
      </dgm:t>
    </dgm:pt>
    <dgm:pt modelId="{6B608060-C539-41F9-9AC7-9402E502443E}">
      <dgm:prSet/>
      <dgm:spPr/>
      <dgm:t>
        <a:bodyPr/>
        <a:lstStyle/>
        <a:p>
          <a:pPr rtl="0"/>
          <a:r>
            <a:rPr lang="en-GB"/>
            <a:t>Risk = mentioned 75 times in GDPR</a:t>
          </a:r>
          <a:endParaRPr lang="en-US"/>
        </a:p>
      </dgm:t>
    </dgm:pt>
    <dgm:pt modelId="{CDDAC075-BCCC-430F-9D0B-43A42551D6E2}" type="parTrans" cxnId="{96BD73BA-5CC5-4A4B-83D2-C20CB19CFF63}">
      <dgm:prSet/>
      <dgm:spPr/>
      <dgm:t>
        <a:bodyPr/>
        <a:lstStyle/>
        <a:p>
          <a:endParaRPr lang="en-US"/>
        </a:p>
      </dgm:t>
    </dgm:pt>
    <dgm:pt modelId="{369AE112-EAB6-41DD-801E-7980D6BF1180}" type="sibTrans" cxnId="{96BD73BA-5CC5-4A4B-83D2-C20CB19CFF63}">
      <dgm:prSet/>
      <dgm:spPr/>
      <dgm:t>
        <a:bodyPr/>
        <a:lstStyle/>
        <a:p>
          <a:endParaRPr lang="en-US"/>
        </a:p>
      </dgm:t>
    </dgm:pt>
    <dgm:pt modelId="{85745FC8-763E-4D46-A42B-575AC7449563}">
      <dgm:prSet/>
      <dgm:spPr/>
      <dgm:t>
        <a:bodyPr/>
        <a:lstStyle/>
        <a:p>
          <a:pPr rtl="0"/>
          <a:r>
            <a:rPr lang="en-GB"/>
            <a:t>Risk = risk in relation to rights and </a:t>
          </a:r>
          <a:br>
            <a:rPr lang="en-GB"/>
          </a:br>
          <a:r>
            <a:rPr lang="en-GB"/>
            <a:t>freedoms of individuals = legal risk</a:t>
          </a:r>
          <a:endParaRPr lang="en-US"/>
        </a:p>
      </dgm:t>
    </dgm:pt>
    <dgm:pt modelId="{914425C6-7996-4D99-8BD2-1C9A2851FBB6}" type="parTrans" cxnId="{D5A52E39-BAE1-444C-BEE5-A6D1D1F6E938}">
      <dgm:prSet/>
      <dgm:spPr/>
      <dgm:t>
        <a:bodyPr/>
        <a:lstStyle/>
        <a:p>
          <a:endParaRPr lang="en-US"/>
        </a:p>
      </dgm:t>
    </dgm:pt>
    <dgm:pt modelId="{E71F09EE-255A-48B9-891B-DE296AB12077}" type="sibTrans" cxnId="{D5A52E39-BAE1-444C-BEE5-A6D1D1F6E938}">
      <dgm:prSet/>
      <dgm:spPr/>
      <dgm:t>
        <a:bodyPr/>
        <a:lstStyle/>
        <a:p>
          <a:endParaRPr lang="en-US"/>
        </a:p>
      </dgm:t>
    </dgm:pt>
    <dgm:pt modelId="{67329F8E-67CE-497C-B39B-134C5C952E9B}" type="pres">
      <dgm:prSet presAssocID="{D4C5865B-E248-42A8-84C6-FBA7048BAEB7}" presName="linear" presStyleCnt="0">
        <dgm:presLayoutVars>
          <dgm:animLvl val="lvl"/>
          <dgm:resizeHandles val="exact"/>
        </dgm:presLayoutVars>
      </dgm:prSet>
      <dgm:spPr/>
    </dgm:pt>
    <dgm:pt modelId="{5E39E119-AA18-4D59-AB6D-B12A3E892EAE}" type="pres">
      <dgm:prSet presAssocID="{C85CE26D-CAAC-4732-982B-026572AE5978}" presName="parentText" presStyleLbl="node1" presStyleIdx="0" presStyleCnt="2">
        <dgm:presLayoutVars>
          <dgm:chMax val="0"/>
          <dgm:bulletEnabled val="1"/>
        </dgm:presLayoutVars>
      </dgm:prSet>
      <dgm:spPr/>
    </dgm:pt>
    <dgm:pt modelId="{5E3146AD-F2A5-4C38-A98F-52806A8E5DEB}" type="pres">
      <dgm:prSet presAssocID="{C85CE26D-CAAC-4732-982B-026572AE5978}" presName="childText" presStyleLbl="revTx" presStyleIdx="0" presStyleCnt="2">
        <dgm:presLayoutVars>
          <dgm:bulletEnabled val="1"/>
        </dgm:presLayoutVars>
      </dgm:prSet>
      <dgm:spPr/>
    </dgm:pt>
    <dgm:pt modelId="{F8127A36-A94E-4F07-9F10-28CF823541AB}" type="pres">
      <dgm:prSet presAssocID="{BCE3D176-665C-4212-836C-FEA5A9F7A2DD}" presName="parentText" presStyleLbl="node1" presStyleIdx="1" presStyleCnt="2">
        <dgm:presLayoutVars>
          <dgm:chMax val="0"/>
          <dgm:bulletEnabled val="1"/>
        </dgm:presLayoutVars>
      </dgm:prSet>
      <dgm:spPr/>
    </dgm:pt>
    <dgm:pt modelId="{69B574B6-0524-48B5-8FAD-4F252897FECD}" type="pres">
      <dgm:prSet presAssocID="{BCE3D176-665C-4212-836C-FEA5A9F7A2DD}" presName="childText" presStyleLbl="revTx" presStyleIdx="1" presStyleCnt="2">
        <dgm:presLayoutVars>
          <dgm:bulletEnabled val="1"/>
        </dgm:presLayoutVars>
      </dgm:prSet>
      <dgm:spPr/>
    </dgm:pt>
  </dgm:ptLst>
  <dgm:cxnLst>
    <dgm:cxn modelId="{8F56AA15-0F81-4120-AE18-D06F072CFF2C}" type="presOf" srcId="{6B608060-C539-41F9-9AC7-9402E502443E}" destId="{69B574B6-0524-48B5-8FAD-4F252897FECD}" srcOrd="0" destOrd="0" presId="urn:microsoft.com/office/officeart/2005/8/layout/vList2"/>
    <dgm:cxn modelId="{D5A52E39-BAE1-444C-BEE5-A6D1D1F6E938}" srcId="{BCE3D176-665C-4212-836C-FEA5A9F7A2DD}" destId="{85745FC8-763E-4D46-A42B-575AC7449563}" srcOrd="1" destOrd="0" parTransId="{914425C6-7996-4D99-8BD2-1C9A2851FBB6}" sibTransId="{E71F09EE-255A-48B9-891B-DE296AB12077}"/>
    <dgm:cxn modelId="{BDB36D3A-5A63-4CC4-874C-1BB38B64C126}" type="presOf" srcId="{BCE3D176-665C-4212-836C-FEA5A9F7A2DD}" destId="{F8127A36-A94E-4F07-9F10-28CF823541AB}" srcOrd="0" destOrd="0" presId="urn:microsoft.com/office/officeart/2005/8/layout/vList2"/>
    <dgm:cxn modelId="{C2669E6B-A366-40D3-9D86-4425AB63D344}" srcId="{D4C5865B-E248-42A8-84C6-FBA7048BAEB7}" destId="{C85CE26D-CAAC-4732-982B-026572AE5978}" srcOrd="0" destOrd="0" parTransId="{EAAE8C4B-B577-4B52-A066-2A72EAE9A770}" sibTransId="{3D031E00-09F1-4912-B25B-135A5EECC626}"/>
    <dgm:cxn modelId="{11CEB387-400B-491B-A4B0-AB52956BD2C2}" srcId="{D4C5865B-E248-42A8-84C6-FBA7048BAEB7}" destId="{BCE3D176-665C-4212-836C-FEA5A9F7A2DD}" srcOrd="1" destOrd="0" parTransId="{F059736F-FD21-40A0-BA86-2433DF1C3671}" sibTransId="{418CE619-683C-4326-872C-582AB6CFC106}"/>
    <dgm:cxn modelId="{E2A0368F-17A6-476E-95F2-56A4A9ED1064}" type="presOf" srcId="{85745FC8-763E-4D46-A42B-575AC7449563}" destId="{69B574B6-0524-48B5-8FAD-4F252897FECD}" srcOrd="0" destOrd="1" presId="urn:microsoft.com/office/officeart/2005/8/layout/vList2"/>
    <dgm:cxn modelId="{FC3BA198-D403-4CCF-A352-480ED5BB594C}" type="presOf" srcId="{5A5570F5-4B03-4FB3-BAFC-A103CB785685}" destId="{5E3146AD-F2A5-4C38-A98F-52806A8E5DEB}" srcOrd="0" destOrd="0" presId="urn:microsoft.com/office/officeart/2005/8/layout/vList2"/>
    <dgm:cxn modelId="{37A2D3A6-F9E7-43E3-967D-42FE17765871}" type="presOf" srcId="{D4C5865B-E248-42A8-84C6-FBA7048BAEB7}" destId="{67329F8E-67CE-497C-B39B-134C5C952E9B}" srcOrd="0" destOrd="0" presId="urn:microsoft.com/office/officeart/2005/8/layout/vList2"/>
    <dgm:cxn modelId="{992F2AB4-AA98-4067-BD37-812445B3DD42}" srcId="{C85CE26D-CAAC-4732-982B-026572AE5978}" destId="{5A5570F5-4B03-4FB3-BAFC-A103CB785685}" srcOrd="0" destOrd="0" parTransId="{773A1E0E-6A2A-4AF1-92CF-A03396134D60}" sibTransId="{4F40CCD2-9235-42C8-BE61-7AEEF7AFABA4}"/>
    <dgm:cxn modelId="{96BD73BA-5CC5-4A4B-83D2-C20CB19CFF63}" srcId="{BCE3D176-665C-4212-836C-FEA5A9F7A2DD}" destId="{6B608060-C539-41F9-9AC7-9402E502443E}" srcOrd="0" destOrd="0" parTransId="{CDDAC075-BCCC-430F-9D0B-43A42551D6E2}" sibTransId="{369AE112-EAB6-41DD-801E-7980D6BF1180}"/>
    <dgm:cxn modelId="{48E0BAE9-734F-4BE0-A12D-C6FEB0190911}" type="presOf" srcId="{5DD9D373-35AD-42D1-AE0F-60A4E1CCFE8D}" destId="{5E3146AD-F2A5-4C38-A98F-52806A8E5DEB}" srcOrd="0" destOrd="1" presId="urn:microsoft.com/office/officeart/2005/8/layout/vList2"/>
    <dgm:cxn modelId="{52B669EC-080F-4993-8543-1A76C07D1A8B}" type="presOf" srcId="{C85CE26D-CAAC-4732-982B-026572AE5978}" destId="{5E39E119-AA18-4D59-AB6D-B12A3E892EAE}" srcOrd="0" destOrd="0" presId="urn:microsoft.com/office/officeart/2005/8/layout/vList2"/>
    <dgm:cxn modelId="{622F8BF3-E1DB-4D60-ADFF-B80F12BC18F5}" srcId="{C85CE26D-CAAC-4732-982B-026572AE5978}" destId="{5DD9D373-35AD-42D1-AE0F-60A4E1CCFE8D}" srcOrd="1" destOrd="0" parTransId="{32AEE0E1-A4D3-4E5E-BC8F-CBCB2ECC67C7}" sibTransId="{5D0CC6C0-0EDF-4656-A01B-63E4335784F5}"/>
    <dgm:cxn modelId="{1C2A744D-C3AC-45E8-9543-E9887074C907}" type="presParOf" srcId="{67329F8E-67CE-497C-B39B-134C5C952E9B}" destId="{5E39E119-AA18-4D59-AB6D-B12A3E892EAE}" srcOrd="0" destOrd="0" presId="urn:microsoft.com/office/officeart/2005/8/layout/vList2"/>
    <dgm:cxn modelId="{D14376DC-E0F3-4C0D-9C78-3FD6792DA239}" type="presParOf" srcId="{67329F8E-67CE-497C-B39B-134C5C952E9B}" destId="{5E3146AD-F2A5-4C38-A98F-52806A8E5DEB}" srcOrd="1" destOrd="0" presId="urn:microsoft.com/office/officeart/2005/8/layout/vList2"/>
    <dgm:cxn modelId="{379210F0-8A01-42BB-B24F-D0A61A74CA48}" type="presParOf" srcId="{67329F8E-67CE-497C-B39B-134C5C952E9B}" destId="{F8127A36-A94E-4F07-9F10-28CF823541AB}" srcOrd="2" destOrd="0" presId="urn:microsoft.com/office/officeart/2005/8/layout/vList2"/>
    <dgm:cxn modelId="{6552C8B6-4CAA-4B7E-A7FD-DE62B7F43202}" type="presParOf" srcId="{67329F8E-67CE-497C-B39B-134C5C952E9B}" destId="{69B574B6-0524-48B5-8FAD-4F252897FECD}"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353F0F86-8371-4DB3-8664-AC63F32BBC5A}" type="doc">
      <dgm:prSet loTypeId="urn:microsoft.com/office/officeart/2005/8/layout/pList2" loCatId="picture" qsTypeId="urn:microsoft.com/office/officeart/2005/8/quickstyle/simple1" qsCatId="simple" csTypeId="urn:microsoft.com/office/officeart/2005/8/colors/accent1_2" csCatId="accent1" phldr="1"/>
      <dgm:spPr/>
      <dgm:t>
        <a:bodyPr/>
        <a:lstStyle/>
        <a:p>
          <a:endParaRPr lang="de-DE"/>
        </a:p>
      </dgm:t>
    </dgm:pt>
    <dgm:pt modelId="{8AE9FF58-126A-4777-9642-4A03C4075D83}">
      <dgm:prSet/>
      <dgm:spPr/>
      <dgm:t>
        <a:bodyPr/>
        <a:lstStyle/>
        <a:p>
          <a:r>
            <a:rPr lang="en-FI" dirty="0"/>
            <a:t>In the “Atlas of Surveillance” everybody can search for “police tech, e.g. </a:t>
          </a:r>
          <a:r>
            <a:rPr lang="de-DE" dirty="0"/>
            <a:t>C</a:t>
          </a:r>
          <a:r>
            <a:rPr lang="en-FI" dirty="0"/>
            <a:t>ell-site simulators</a:t>
          </a:r>
          <a:endParaRPr lang="de-DE" dirty="0"/>
        </a:p>
      </dgm:t>
    </dgm:pt>
    <dgm:pt modelId="{DF272DFD-BB7B-4671-8DF4-F7A162DAAB93}" type="parTrans" cxnId="{920F39CD-51F0-4812-9AE5-4370313B7437}">
      <dgm:prSet/>
      <dgm:spPr/>
      <dgm:t>
        <a:bodyPr/>
        <a:lstStyle/>
        <a:p>
          <a:endParaRPr lang="de-DE"/>
        </a:p>
      </dgm:t>
    </dgm:pt>
    <dgm:pt modelId="{B2FAEB41-DC22-413C-8F59-AA696DEDFAB5}" type="sibTrans" cxnId="{920F39CD-51F0-4812-9AE5-4370313B7437}">
      <dgm:prSet/>
      <dgm:spPr/>
      <dgm:t>
        <a:bodyPr/>
        <a:lstStyle/>
        <a:p>
          <a:endParaRPr lang="de-DE"/>
        </a:p>
      </dgm:t>
    </dgm:pt>
    <dgm:pt modelId="{A434A06E-FF06-469E-9F83-E9791B75B413}">
      <dgm:prSet/>
      <dgm:spPr/>
      <dgm:t>
        <a:bodyPr/>
        <a:lstStyle/>
        <a:p>
          <a:r>
            <a:rPr lang="en-FI" dirty="0"/>
            <a:t>“Who has your back” was a classic report on who reports on government surveillance </a:t>
          </a:r>
          <a:endParaRPr lang="de-DE" dirty="0"/>
        </a:p>
      </dgm:t>
    </dgm:pt>
    <dgm:pt modelId="{C926B44D-B6F3-4741-A281-445DAD826872}" type="parTrans" cxnId="{F0B9E060-7179-4027-8CD9-BCD08598BC9E}">
      <dgm:prSet/>
      <dgm:spPr/>
      <dgm:t>
        <a:bodyPr/>
        <a:lstStyle/>
        <a:p>
          <a:endParaRPr lang="de-DE"/>
        </a:p>
      </dgm:t>
    </dgm:pt>
    <dgm:pt modelId="{FC3185D0-F7D6-4B4E-A12E-2FAC83FCD31B}" type="sibTrans" cxnId="{F0B9E060-7179-4027-8CD9-BCD08598BC9E}">
      <dgm:prSet/>
      <dgm:spPr/>
      <dgm:t>
        <a:bodyPr/>
        <a:lstStyle/>
        <a:p>
          <a:endParaRPr lang="de-DE"/>
        </a:p>
      </dgm:t>
    </dgm:pt>
    <dgm:pt modelId="{F2C244B7-02E5-4606-B0FB-0212BD06706A}" type="pres">
      <dgm:prSet presAssocID="{353F0F86-8371-4DB3-8664-AC63F32BBC5A}" presName="Name0" presStyleCnt="0">
        <dgm:presLayoutVars>
          <dgm:dir/>
          <dgm:resizeHandles val="exact"/>
        </dgm:presLayoutVars>
      </dgm:prSet>
      <dgm:spPr/>
    </dgm:pt>
    <dgm:pt modelId="{8B643861-A22B-4CC7-8C17-752B57528431}" type="pres">
      <dgm:prSet presAssocID="{353F0F86-8371-4DB3-8664-AC63F32BBC5A}" presName="bkgdShp" presStyleLbl="alignAccFollowNode1" presStyleIdx="0" presStyleCnt="1"/>
      <dgm:spPr/>
    </dgm:pt>
    <dgm:pt modelId="{BC88D75F-C72E-4656-88E2-B16C79FCE061}" type="pres">
      <dgm:prSet presAssocID="{353F0F86-8371-4DB3-8664-AC63F32BBC5A}" presName="linComp" presStyleCnt="0"/>
      <dgm:spPr/>
    </dgm:pt>
    <dgm:pt modelId="{E88DFF5F-DDE4-4C24-B4E2-BBD10F75D9D2}" type="pres">
      <dgm:prSet presAssocID="{8AE9FF58-126A-4777-9642-4A03C4075D83}" presName="compNode" presStyleCnt="0"/>
      <dgm:spPr/>
    </dgm:pt>
    <dgm:pt modelId="{0839B3CC-1FE0-411A-89E8-396C8E2ED6C2}" type="pres">
      <dgm:prSet presAssocID="{8AE9FF58-126A-4777-9642-4A03C4075D83}" presName="node" presStyleLbl="node1" presStyleIdx="0" presStyleCnt="2">
        <dgm:presLayoutVars>
          <dgm:bulletEnabled val="1"/>
        </dgm:presLayoutVars>
      </dgm:prSet>
      <dgm:spPr/>
    </dgm:pt>
    <dgm:pt modelId="{4A899C91-0F30-4BC4-9FCC-E5FB48285AF5}" type="pres">
      <dgm:prSet presAssocID="{8AE9FF58-126A-4777-9642-4A03C4075D83}" presName="invisiNode" presStyleLbl="node1" presStyleIdx="0" presStyleCnt="2"/>
      <dgm:spPr/>
    </dgm:pt>
    <dgm:pt modelId="{B7DACF7D-0998-4816-9B91-66CD437D84D7}" type="pres">
      <dgm:prSet presAssocID="{8AE9FF58-126A-4777-9642-4A03C4075D83}" presName="imagNode" presStyleLbl="fgImgPlace1" presStyleIdx="0" presStyleCnt="2"/>
      <dgm:spPr>
        <a:blipFill rotWithShape="1">
          <a:blip xmlns:r="http://schemas.openxmlformats.org/officeDocument/2006/relationships" r:embed="rId1"/>
          <a:srcRect/>
          <a:stretch>
            <a:fillRect t="-148000" b="-148000"/>
          </a:stretch>
        </a:blipFill>
      </dgm:spPr>
    </dgm:pt>
    <dgm:pt modelId="{8C874F3A-0765-44EA-94B0-C46D32B4C628}" type="pres">
      <dgm:prSet presAssocID="{B2FAEB41-DC22-413C-8F59-AA696DEDFAB5}" presName="sibTrans" presStyleLbl="sibTrans2D1" presStyleIdx="0" presStyleCnt="0"/>
      <dgm:spPr/>
    </dgm:pt>
    <dgm:pt modelId="{066D802A-7103-4061-BDC8-D67DFE4F07B0}" type="pres">
      <dgm:prSet presAssocID="{A434A06E-FF06-469E-9F83-E9791B75B413}" presName="compNode" presStyleCnt="0"/>
      <dgm:spPr/>
    </dgm:pt>
    <dgm:pt modelId="{6C97AAA1-EA5E-4D40-B6C2-124997BF06B5}" type="pres">
      <dgm:prSet presAssocID="{A434A06E-FF06-469E-9F83-E9791B75B413}" presName="node" presStyleLbl="node1" presStyleIdx="1" presStyleCnt="2">
        <dgm:presLayoutVars>
          <dgm:bulletEnabled val="1"/>
        </dgm:presLayoutVars>
      </dgm:prSet>
      <dgm:spPr/>
    </dgm:pt>
    <dgm:pt modelId="{941AA364-4E82-457C-9CD9-7D7B3ADAB333}" type="pres">
      <dgm:prSet presAssocID="{A434A06E-FF06-469E-9F83-E9791B75B413}" presName="invisiNode" presStyleLbl="node1" presStyleIdx="1" presStyleCnt="2"/>
      <dgm:spPr/>
    </dgm:pt>
    <dgm:pt modelId="{868DAE8C-D9C1-4351-95DE-C62CA22811EB}" type="pres">
      <dgm:prSet presAssocID="{A434A06E-FF06-469E-9F83-E9791B75B413}" presName="imagNode" presStyleLbl="fgImgPlace1" presStyleIdx="1" presStyleCnt="2" custLinFactNeighborX="161" custLinFactNeighborY="-588"/>
      <dgm:spPr>
        <a:blipFill rotWithShape="1">
          <a:blip xmlns:r="http://schemas.openxmlformats.org/officeDocument/2006/relationships" r:embed="rId2"/>
          <a:srcRect/>
          <a:stretch>
            <a:fillRect t="-26000" b="-26000"/>
          </a:stretch>
        </a:blipFill>
      </dgm:spPr>
    </dgm:pt>
  </dgm:ptLst>
  <dgm:cxnLst>
    <dgm:cxn modelId="{ACBE0213-AFC5-4A93-9AE0-04B8D66A0C83}" type="presOf" srcId="{A434A06E-FF06-469E-9F83-E9791B75B413}" destId="{6C97AAA1-EA5E-4D40-B6C2-124997BF06B5}" srcOrd="0" destOrd="0" presId="urn:microsoft.com/office/officeart/2005/8/layout/pList2"/>
    <dgm:cxn modelId="{F0B9E060-7179-4027-8CD9-BCD08598BC9E}" srcId="{353F0F86-8371-4DB3-8664-AC63F32BBC5A}" destId="{A434A06E-FF06-469E-9F83-E9791B75B413}" srcOrd="1" destOrd="0" parTransId="{C926B44D-B6F3-4741-A281-445DAD826872}" sibTransId="{FC3185D0-F7D6-4B4E-A12E-2FAC83FCD31B}"/>
    <dgm:cxn modelId="{45007298-9FB4-4A43-A64D-A0DFA26366D8}" type="presOf" srcId="{353F0F86-8371-4DB3-8664-AC63F32BBC5A}" destId="{F2C244B7-02E5-4606-B0FB-0212BD06706A}" srcOrd="0" destOrd="0" presId="urn:microsoft.com/office/officeart/2005/8/layout/pList2"/>
    <dgm:cxn modelId="{B5A9B2AE-519C-49E1-AB1B-3897FF52C905}" type="presOf" srcId="{B2FAEB41-DC22-413C-8F59-AA696DEDFAB5}" destId="{8C874F3A-0765-44EA-94B0-C46D32B4C628}" srcOrd="0" destOrd="0" presId="urn:microsoft.com/office/officeart/2005/8/layout/pList2"/>
    <dgm:cxn modelId="{3565B9B3-5853-4E83-9C68-9A1BF53B528D}" type="presOf" srcId="{8AE9FF58-126A-4777-9642-4A03C4075D83}" destId="{0839B3CC-1FE0-411A-89E8-396C8E2ED6C2}" srcOrd="0" destOrd="0" presId="urn:microsoft.com/office/officeart/2005/8/layout/pList2"/>
    <dgm:cxn modelId="{920F39CD-51F0-4812-9AE5-4370313B7437}" srcId="{353F0F86-8371-4DB3-8664-AC63F32BBC5A}" destId="{8AE9FF58-126A-4777-9642-4A03C4075D83}" srcOrd="0" destOrd="0" parTransId="{DF272DFD-BB7B-4671-8DF4-F7A162DAAB93}" sibTransId="{B2FAEB41-DC22-413C-8F59-AA696DEDFAB5}"/>
    <dgm:cxn modelId="{B238C764-8C67-410C-8F2C-CC40A3160125}" type="presParOf" srcId="{F2C244B7-02E5-4606-B0FB-0212BD06706A}" destId="{8B643861-A22B-4CC7-8C17-752B57528431}" srcOrd="0" destOrd="0" presId="urn:microsoft.com/office/officeart/2005/8/layout/pList2"/>
    <dgm:cxn modelId="{BD895AF9-A1A6-4071-A335-C771C1E044B1}" type="presParOf" srcId="{F2C244B7-02E5-4606-B0FB-0212BD06706A}" destId="{BC88D75F-C72E-4656-88E2-B16C79FCE061}" srcOrd="1" destOrd="0" presId="urn:microsoft.com/office/officeart/2005/8/layout/pList2"/>
    <dgm:cxn modelId="{77DE68BA-4A2A-4F3E-90C7-B8D9DFEB66E1}" type="presParOf" srcId="{BC88D75F-C72E-4656-88E2-B16C79FCE061}" destId="{E88DFF5F-DDE4-4C24-B4E2-BBD10F75D9D2}" srcOrd="0" destOrd="0" presId="urn:microsoft.com/office/officeart/2005/8/layout/pList2"/>
    <dgm:cxn modelId="{00BC5954-672F-4034-B144-1CEB85C13511}" type="presParOf" srcId="{E88DFF5F-DDE4-4C24-B4E2-BBD10F75D9D2}" destId="{0839B3CC-1FE0-411A-89E8-396C8E2ED6C2}" srcOrd="0" destOrd="0" presId="urn:microsoft.com/office/officeart/2005/8/layout/pList2"/>
    <dgm:cxn modelId="{E5357219-FC48-49CF-B054-533F665C2932}" type="presParOf" srcId="{E88DFF5F-DDE4-4C24-B4E2-BBD10F75D9D2}" destId="{4A899C91-0F30-4BC4-9FCC-E5FB48285AF5}" srcOrd="1" destOrd="0" presId="urn:microsoft.com/office/officeart/2005/8/layout/pList2"/>
    <dgm:cxn modelId="{C378C5FE-3AFE-4E2C-86E3-B5B171EA29CD}" type="presParOf" srcId="{E88DFF5F-DDE4-4C24-B4E2-BBD10F75D9D2}" destId="{B7DACF7D-0998-4816-9B91-66CD437D84D7}" srcOrd="2" destOrd="0" presId="urn:microsoft.com/office/officeart/2005/8/layout/pList2"/>
    <dgm:cxn modelId="{8A5ED11F-0C9E-4DC8-BE17-A19A16672C7C}" type="presParOf" srcId="{BC88D75F-C72E-4656-88E2-B16C79FCE061}" destId="{8C874F3A-0765-44EA-94B0-C46D32B4C628}" srcOrd="1" destOrd="0" presId="urn:microsoft.com/office/officeart/2005/8/layout/pList2"/>
    <dgm:cxn modelId="{9C9D33A7-E27A-430B-A7D0-76202B7FA770}" type="presParOf" srcId="{BC88D75F-C72E-4656-88E2-B16C79FCE061}" destId="{066D802A-7103-4061-BDC8-D67DFE4F07B0}" srcOrd="2" destOrd="0" presId="urn:microsoft.com/office/officeart/2005/8/layout/pList2"/>
    <dgm:cxn modelId="{C4107714-3FF8-419B-A337-4D135B6E38C4}" type="presParOf" srcId="{066D802A-7103-4061-BDC8-D67DFE4F07B0}" destId="{6C97AAA1-EA5E-4D40-B6C2-124997BF06B5}" srcOrd="0" destOrd="0" presId="urn:microsoft.com/office/officeart/2005/8/layout/pList2"/>
    <dgm:cxn modelId="{73595A25-44AF-46EB-87EE-CD3D934B5E1A}" type="presParOf" srcId="{066D802A-7103-4061-BDC8-D67DFE4F07B0}" destId="{941AA364-4E82-457C-9CD9-7D7B3ADAB333}" srcOrd="1" destOrd="0" presId="urn:microsoft.com/office/officeart/2005/8/layout/pList2"/>
    <dgm:cxn modelId="{E79A7EE1-F07B-4578-A51F-671C47F5FA91}" type="presParOf" srcId="{066D802A-7103-4061-BDC8-D67DFE4F07B0}" destId="{868DAE8C-D9C1-4351-95DE-C62CA22811EB}" srcOrd="2" destOrd="0" presId="urn:microsoft.com/office/officeart/2005/8/layout/p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7D77205-0185-48DD-BDDF-8628E2846564}"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1F523651-7C56-42A7-82B3-6CB6C6562C7E}">
      <dgm:prSet phldrT="[Text]"/>
      <dgm:spPr>
        <a:xfrm>
          <a:off x="0" y="52"/>
          <a:ext cx="3724579" cy="2091834"/>
        </a:xfrm>
        <a:solidFill>
          <a:srgbClr val="99CB38">
            <a:hueOff val="0"/>
            <a:satOff val="0"/>
            <a:lumOff val="0"/>
            <a:alphaOff val="0"/>
          </a:srgbClr>
        </a:solidFill>
        <a:ln w="15875" cap="flat" cmpd="sng" algn="ctr">
          <a:solidFill>
            <a:sysClr val="window" lastClr="FFFFFF">
              <a:hueOff val="0"/>
              <a:satOff val="0"/>
              <a:lumOff val="0"/>
              <a:alphaOff val="0"/>
            </a:sysClr>
          </a:solidFill>
          <a:prstDash val="solid"/>
        </a:ln>
        <a:effectLst/>
      </dgm:spPr>
      <dgm:t>
        <a:bodyPr/>
        <a:lstStyle/>
        <a:p>
          <a:r>
            <a:rPr lang="en-US" dirty="0">
              <a:solidFill>
                <a:sysClr val="window" lastClr="FFFFFF"/>
              </a:solidFill>
              <a:latin typeface="+mj-lt"/>
              <a:ea typeface="+mn-ea"/>
              <a:cs typeface="+mn-cs"/>
            </a:rPr>
            <a:t>10 Mio  or up to 2 % of the total worldwide annual turnover of the preceding financial year</a:t>
          </a:r>
        </a:p>
      </dgm:t>
    </dgm:pt>
    <dgm:pt modelId="{A70F82F0-F238-44E7-B6FB-0E327549C60A}" type="parTrans" cxnId="{9367019B-4B32-4533-8C2B-67319007F077}">
      <dgm:prSet/>
      <dgm:spPr/>
      <dgm:t>
        <a:bodyPr/>
        <a:lstStyle/>
        <a:p>
          <a:endParaRPr lang="en-US"/>
        </a:p>
      </dgm:t>
    </dgm:pt>
    <dgm:pt modelId="{EEF94471-CCC5-4085-B615-FDD25C98B720}" type="sibTrans" cxnId="{9367019B-4B32-4533-8C2B-67319007F077}">
      <dgm:prSet/>
      <dgm:spPr/>
      <dgm:t>
        <a:bodyPr/>
        <a:lstStyle/>
        <a:p>
          <a:endParaRPr lang="en-US"/>
        </a:p>
      </dgm:t>
    </dgm:pt>
    <dgm:pt modelId="{50DBA23F-C5D4-4EA1-B03E-7AF0CBE8CFC8}">
      <dgm:prSet phldrT="[Text]"/>
      <dgm:spPr>
        <a:xfrm rot="5400000">
          <a:off x="6198583" y="-2264767"/>
          <a:ext cx="1673467" cy="6621475"/>
        </a:xfrm>
        <a:solidFill>
          <a:srgbClr val="99CB38">
            <a:alpha val="90000"/>
            <a:tint val="40000"/>
            <a:hueOff val="0"/>
            <a:satOff val="0"/>
            <a:lumOff val="0"/>
            <a:alphaOff val="0"/>
          </a:srgbClr>
        </a:solidFill>
        <a:ln w="15875" cap="flat" cmpd="sng" algn="ctr">
          <a:solidFill>
            <a:srgbClr val="99CB38">
              <a:alpha val="90000"/>
              <a:tint val="40000"/>
              <a:hueOff val="0"/>
              <a:satOff val="0"/>
              <a:lumOff val="0"/>
              <a:alphaOff val="0"/>
            </a:srgbClr>
          </a:solidFill>
          <a:prstDash val="solid"/>
        </a:ln>
        <a:effectLst/>
      </dgm:spPr>
      <dgm:t>
        <a:bodyPr/>
        <a:lstStyle/>
        <a:p>
          <a:r>
            <a:rPr lang="en-US" dirty="0">
              <a:solidFill>
                <a:sysClr val="windowText" lastClr="000000">
                  <a:hueOff val="0"/>
                  <a:satOff val="0"/>
                  <a:lumOff val="0"/>
                  <a:alphaOff val="0"/>
                </a:sysClr>
              </a:solidFill>
              <a:latin typeface="+mj-lt"/>
              <a:ea typeface="+mn-ea"/>
              <a:cs typeface="+mn-cs"/>
            </a:rPr>
            <a:t>Most obligations of controllers and processors</a:t>
          </a:r>
        </a:p>
      </dgm:t>
    </dgm:pt>
    <dgm:pt modelId="{EA09D0C7-5C2C-4271-A982-E0629734986C}" type="parTrans" cxnId="{CC5EE741-2E36-4079-A981-C2120B0D32F4}">
      <dgm:prSet/>
      <dgm:spPr/>
      <dgm:t>
        <a:bodyPr/>
        <a:lstStyle/>
        <a:p>
          <a:endParaRPr lang="en-US"/>
        </a:p>
      </dgm:t>
    </dgm:pt>
    <dgm:pt modelId="{A7939516-65B2-418C-8739-55CF54E87F5E}" type="sibTrans" cxnId="{CC5EE741-2E36-4079-A981-C2120B0D32F4}">
      <dgm:prSet/>
      <dgm:spPr/>
      <dgm:t>
        <a:bodyPr/>
        <a:lstStyle/>
        <a:p>
          <a:endParaRPr lang="en-US"/>
        </a:p>
      </dgm:t>
    </dgm:pt>
    <dgm:pt modelId="{A1692E78-28A7-4ABA-AA84-124895F03BB0}">
      <dgm:prSet phldrT="[Text]"/>
      <dgm:spPr>
        <a:xfrm rot="5400000">
          <a:off x="6198583" y="-2264767"/>
          <a:ext cx="1673467" cy="6621475"/>
        </a:xfrm>
        <a:solidFill>
          <a:srgbClr val="99CB38">
            <a:alpha val="90000"/>
            <a:tint val="40000"/>
            <a:hueOff val="0"/>
            <a:satOff val="0"/>
            <a:lumOff val="0"/>
            <a:alphaOff val="0"/>
          </a:srgbClr>
        </a:solidFill>
        <a:ln w="15875" cap="flat" cmpd="sng" algn="ctr">
          <a:solidFill>
            <a:srgbClr val="99CB38">
              <a:alpha val="90000"/>
              <a:tint val="40000"/>
              <a:hueOff val="0"/>
              <a:satOff val="0"/>
              <a:lumOff val="0"/>
              <a:alphaOff val="0"/>
            </a:srgbClr>
          </a:solidFill>
          <a:prstDash val="solid"/>
        </a:ln>
        <a:effectLst/>
      </dgm:spPr>
      <dgm:t>
        <a:bodyPr/>
        <a:lstStyle/>
        <a:p>
          <a:r>
            <a:rPr lang="en-US" dirty="0">
              <a:solidFill>
                <a:sysClr val="windowText" lastClr="000000">
                  <a:hueOff val="0"/>
                  <a:satOff val="0"/>
                  <a:lumOff val="0"/>
                  <a:alphaOff val="0"/>
                </a:sysClr>
              </a:solidFill>
              <a:latin typeface="+mj-lt"/>
              <a:ea typeface="+mn-ea"/>
              <a:cs typeface="+mn-cs"/>
            </a:rPr>
            <a:t>For example: privacy by default (25), records (30), data breaches notification (33)</a:t>
          </a:r>
        </a:p>
      </dgm:t>
    </dgm:pt>
    <dgm:pt modelId="{8B06D835-2DAA-47B5-AE28-1A632F74F3EF}" type="parTrans" cxnId="{9F24F06B-7CAD-4BF1-BDBC-49DD35333D64}">
      <dgm:prSet/>
      <dgm:spPr/>
      <dgm:t>
        <a:bodyPr/>
        <a:lstStyle/>
        <a:p>
          <a:endParaRPr lang="en-US"/>
        </a:p>
      </dgm:t>
    </dgm:pt>
    <dgm:pt modelId="{26D958FE-D464-487B-BD31-04160C27BBF2}" type="sibTrans" cxnId="{9F24F06B-7CAD-4BF1-BDBC-49DD35333D64}">
      <dgm:prSet/>
      <dgm:spPr/>
      <dgm:t>
        <a:bodyPr/>
        <a:lstStyle/>
        <a:p>
          <a:endParaRPr lang="en-US"/>
        </a:p>
      </dgm:t>
    </dgm:pt>
    <dgm:pt modelId="{30A76A9F-A990-4910-B6B5-D267ECB2DD28}">
      <dgm:prSet phldrT="[Text]"/>
      <dgm:spPr>
        <a:xfrm>
          <a:off x="0" y="2196478"/>
          <a:ext cx="3724579" cy="2091834"/>
        </a:xfrm>
        <a:solidFill>
          <a:srgbClr val="99CB38">
            <a:hueOff val="0"/>
            <a:satOff val="0"/>
            <a:lumOff val="0"/>
            <a:alphaOff val="0"/>
          </a:srgbClr>
        </a:solidFill>
        <a:ln w="15875" cap="flat" cmpd="sng" algn="ctr">
          <a:solidFill>
            <a:sysClr val="window" lastClr="FFFFFF">
              <a:hueOff val="0"/>
              <a:satOff val="0"/>
              <a:lumOff val="0"/>
              <a:alphaOff val="0"/>
            </a:sysClr>
          </a:solidFill>
          <a:prstDash val="solid"/>
        </a:ln>
        <a:effectLst/>
      </dgm:spPr>
      <dgm:t>
        <a:bodyPr/>
        <a:lstStyle/>
        <a:p>
          <a:r>
            <a:rPr lang="en-US" dirty="0">
              <a:solidFill>
                <a:sysClr val="window" lastClr="FFFFFF"/>
              </a:solidFill>
              <a:latin typeface="+mj-lt"/>
              <a:ea typeface="+mn-ea"/>
              <a:cs typeface="+mn-cs"/>
            </a:rPr>
            <a:t>20 Mio or up to 4 % of the total worldwide annual turnover of the preceding financial year</a:t>
          </a:r>
        </a:p>
      </dgm:t>
    </dgm:pt>
    <dgm:pt modelId="{3E1D9BD3-B5F2-4681-A2F7-30E414510689}" type="parTrans" cxnId="{B5702168-E1A7-4087-AE82-C18B2FCE7FF0}">
      <dgm:prSet/>
      <dgm:spPr/>
      <dgm:t>
        <a:bodyPr/>
        <a:lstStyle/>
        <a:p>
          <a:endParaRPr lang="en-US"/>
        </a:p>
      </dgm:t>
    </dgm:pt>
    <dgm:pt modelId="{0A5F998C-4479-4F51-8075-0C9B08E4D19A}" type="sibTrans" cxnId="{B5702168-E1A7-4087-AE82-C18B2FCE7FF0}">
      <dgm:prSet/>
      <dgm:spPr/>
      <dgm:t>
        <a:bodyPr/>
        <a:lstStyle/>
        <a:p>
          <a:endParaRPr lang="en-US"/>
        </a:p>
      </dgm:t>
    </dgm:pt>
    <dgm:pt modelId="{0014DF7F-A4B0-4404-9B81-177CDE08FA91}">
      <dgm:prSet phldrT="[Text]" custT="1"/>
      <dgm:spPr>
        <a:xfrm rot="5400000">
          <a:off x="6198583" y="-68341"/>
          <a:ext cx="1673467" cy="6621475"/>
        </a:xfrm>
        <a:solidFill>
          <a:srgbClr val="99CB38">
            <a:alpha val="90000"/>
            <a:tint val="40000"/>
            <a:hueOff val="0"/>
            <a:satOff val="0"/>
            <a:lumOff val="0"/>
            <a:alphaOff val="0"/>
          </a:srgbClr>
        </a:solidFill>
        <a:ln w="15875" cap="flat" cmpd="sng" algn="ctr">
          <a:solidFill>
            <a:srgbClr val="99CB38">
              <a:alpha val="90000"/>
              <a:tint val="40000"/>
              <a:hueOff val="0"/>
              <a:satOff val="0"/>
              <a:lumOff val="0"/>
              <a:alphaOff val="0"/>
            </a:srgbClr>
          </a:solidFill>
          <a:prstDash val="solid"/>
        </a:ln>
        <a:effectLst/>
      </dgm:spPr>
      <dgm:t>
        <a:bodyPr/>
        <a:lstStyle/>
        <a:p>
          <a:r>
            <a:rPr lang="en-US" sz="1800" dirty="0">
              <a:solidFill>
                <a:sysClr val="windowText" lastClr="000000">
                  <a:hueOff val="0"/>
                  <a:satOff val="0"/>
                  <a:lumOff val="0"/>
                  <a:alphaOff val="0"/>
                </a:sysClr>
              </a:solidFill>
              <a:latin typeface="+mj-lt"/>
              <a:ea typeface="+mn-ea"/>
              <a:cs typeface="+mn-cs"/>
            </a:rPr>
            <a:t>Conditions for consent and other conditions for processing (5, 6,7,9)</a:t>
          </a:r>
        </a:p>
      </dgm:t>
    </dgm:pt>
    <dgm:pt modelId="{43D9D1E7-F6E2-4D0D-933A-917BE6434FB1}" type="parTrans" cxnId="{2183757D-88C7-49D8-B112-577A911DA292}">
      <dgm:prSet/>
      <dgm:spPr/>
      <dgm:t>
        <a:bodyPr/>
        <a:lstStyle/>
        <a:p>
          <a:endParaRPr lang="en-US"/>
        </a:p>
      </dgm:t>
    </dgm:pt>
    <dgm:pt modelId="{9EB78430-5E8D-4C4C-B10C-2B4221B3B540}" type="sibTrans" cxnId="{2183757D-88C7-49D8-B112-577A911DA292}">
      <dgm:prSet/>
      <dgm:spPr/>
      <dgm:t>
        <a:bodyPr/>
        <a:lstStyle/>
        <a:p>
          <a:endParaRPr lang="en-US"/>
        </a:p>
      </dgm:t>
    </dgm:pt>
    <dgm:pt modelId="{54F556B4-3A5F-4DBE-AFD3-05012EA4FD92}">
      <dgm:prSet phldrT="[Text]" custT="1"/>
      <dgm:spPr>
        <a:xfrm rot="5400000">
          <a:off x="6198583" y="-68341"/>
          <a:ext cx="1673467" cy="6621475"/>
        </a:xfrm>
        <a:solidFill>
          <a:srgbClr val="99CB38">
            <a:alpha val="90000"/>
            <a:tint val="40000"/>
            <a:hueOff val="0"/>
            <a:satOff val="0"/>
            <a:lumOff val="0"/>
            <a:alphaOff val="0"/>
          </a:srgbClr>
        </a:solidFill>
        <a:ln w="15875" cap="flat" cmpd="sng" algn="ctr">
          <a:solidFill>
            <a:srgbClr val="99CB38">
              <a:alpha val="90000"/>
              <a:tint val="40000"/>
              <a:hueOff val="0"/>
              <a:satOff val="0"/>
              <a:lumOff val="0"/>
              <a:alphaOff val="0"/>
            </a:srgbClr>
          </a:solidFill>
          <a:prstDash val="solid"/>
        </a:ln>
        <a:effectLst/>
      </dgm:spPr>
      <dgm:t>
        <a:bodyPr/>
        <a:lstStyle/>
        <a:p>
          <a:r>
            <a:rPr lang="en-US" sz="1800" dirty="0">
              <a:solidFill>
                <a:sysClr val="windowText" lastClr="000000">
                  <a:hueOff val="0"/>
                  <a:satOff val="0"/>
                  <a:lumOff val="0"/>
                  <a:alphaOff val="0"/>
                </a:sysClr>
              </a:solidFill>
              <a:latin typeface="+mj-lt"/>
              <a:ea typeface="+mn-ea"/>
              <a:cs typeface="+mn-cs"/>
            </a:rPr>
            <a:t>Data subject rights (12-22)</a:t>
          </a:r>
        </a:p>
      </dgm:t>
    </dgm:pt>
    <dgm:pt modelId="{FF6BB73A-5DF6-4CBB-8497-AFFB3D2BB3CC}" type="parTrans" cxnId="{484E496F-860D-416F-8CC4-07F92D234D8D}">
      <dgm:prSet/>
      <dgm:spPr/>
      <dgm:t>
        <a:bodyPr/>
        <a:lstStyle/>
        <a:p>
          <a:endParaRPr lang="en-US"/>
        </a:p>
      </dgm:t>
    </dgm:pt>
    <dgm:pt modelId="{C31B45D1-7233-437A-A5A5-75C565C8F40E}" type="sibTrans" cxnId="{484E496F-860D-416F-8CC4-07F92D234D8D}">
      <dgm:prSet/>
      <dgm:spPr/>
      <dgm:t>
        <a:bodyPr/>
        <a:lstStyle/>
        <a:p>
          <a:endParaRPr lang="en-US"/>
        </a:p>
      </dgm:t>
    </dgm:pt>
    <dgm:pt modelId="{EB28CCA0-5B57-4FE0-952F-745F55FE5C8B}">
      <dgm:prSet phldrT="[Text]" custT="1"/>
      <dgm:spPr>
        <a:xfrm rot="5400000">
          <a:off x="6198583" y="-68341"/>
          <a:ext cx="1673467" cy="6621475"/>
        </a:xfrm>
        <a:solidFill>
          <a:srgbClr val="99CB38">
            <a:alpha val="90000"/>
            <a:tint val="40000"/>
            <a:hueOff val="0"/>
            <a:satOff val="0"/>
            <a:lumOff val="0"/>
            <a:alphaOff val="0"/>
          </a:srgbClr>
        </a:solidFill>
        <a:ln w="15875" cap="flat" cmpd="sng" algn="ctr">
          <a:solidFill>
            <a:srgbClr val="99CB38">
              <a:alpha val="90000"/>
              <a:tint val="40000"/>
              <a:hueOff val="0"/>
              <a:satOff val="0"/>
              <a:lumOff val="0"/>
              <a:alphaOff val="0"/>
            </a:srgbClr>
          </a:solidFill>
          <a:prstDash val="solid"/>
        </a:ln>
        <a:effectLst/>
      </dgm:spPr>
      <dgm:t>
        <a:bodyPr/>
        <a:lstStyle/>
        <a:p>
          <a:r>
            <a:rPr lang="en-US" sz="1800" dirty="0">
              <a:solidFill>
                <a:sysClr val="windowText" lastClr="000000">
                  <a:hueOff val="0"/>
                  <a:satOff val="0"/>
                  <a:lumOff val="0"/>
                  <a:alphaOff val="0"/>
                </a:sysClr>
              </a:solidFill>
              <a:latin typeface="+mj-lt"/>
              <a:ea typeface="+mn-ea"/>
              <a:cs typeface="+mn-cs"/>
            </a:rPr>
            <a:t>Transfer of data (44-49)</a:t>
          </a:r>
        </a:p>
      </dgm:t>
    </dgm:pt>
    <dgm:pt modelId="{9246D48B-9D2B-4391-BFBB-A143A0C4B122}" type="parTrans" cxnId="{C27D7A5F-1A24-425A-94F9-6613797203BF}">
      <dgm:prSet/>
      <dgm:spPr/>
      <dgm:t>
        <a:bodyPr/>
        <a:lstStyle/>
        <a:p>
          <a:endParaRPr lang="en-US"/>
        </a:p>
      </dgm:t>
    </dgm:pt>
    <dgm:pt modelId="{0FE0FBE9-DD48-4016-A0AF-68B5CA249F07}" type="sibTrans" cxnId="{C27D7A5F-1A24-425A-94F9-6613797203BF}">
      <dgm:prSet/>
      <dgm:spPr/>
      <dgm:t>
        <a:bodyPr/>
        <a:lstStyle/>
        <a:p>
          <a:endParaRPr lang="en-US"/>
        </a:p>
      </dgm:t>
    </dgm:pt>
    <dgm:pt modelId="{3318839A-3EF4-4B18-929B-D74835B47805}">
      <dgm:prSet phldrT="[Text]" custT="1"/>
      <dgm:spPr>
        <a:xfrm rot="5400000">
          <a:off x="6198583" y="-68341"/>
          <a:ext cx="1673467" cy="6621475"/>
        </a:xfrm>
        <a:solidFill>
          <a:srgbClr val="99CB38">
            <a:alpha val="90000"/>
            <a:tint val="40000"/>
            <a:hueOff val="0"/>
            <a:satOff val="0"/>
            <a:lumOff val="0"/>
            <a:alphaOff val="0"/>
          </a:srgbClr>
        </a:solidFill>
        <a:ln w="15875" cap="flat" cmpd="sng" algn="ctr">
          <a:solidFill>
            <a:srgbClr val="99CB38">
              <a:alpha val="90000"/>
              <a:tint val="40000"/>
              <a:hueOff val="0"/>
              <a:satOff val="0"/>
              <a:lumOff val="0"/>
              <a:alphaOff val="0"/>
            </a:srgbClr>
          </a:solidFill>
          <a:prstDash val="solid"/>
        </a:ln>
        <a:effectLst/>
      </dgm:spPr>
      <dgm:t>
        <a:bodyPr/>
        <a:lstStyle/>
        <a:p>
          <a:r>
            <a:rPr lang="en-US" sz="1800" dirty="0">
              <a:solidFill>
                <a:sysClr val="windowText" lastClr="000000">
                  <a:hueOff val="0"/>
                  <a:satOff val="0"/>
                  <a:lumOff val="0"/>
                  <a:alphaOff val="0"/>
                </a:sysClr>
              </a:solidFill>
              <a:latin typeface="+mj-lt"/>
              <a:ea typeface="+mn-ea"/>
              <a:cs typeface="+mn-cs"/>
            </a:rPr>
            <a:t>Non-compliances with orders from a DPA for stopping data flows (58)</a:t>
          </a:r>
        </a:p>
      </dgm:t>
    </dgm:pt>
    <dgm:pt modelId="{9597A46A-D213-441E-B780-51C57F25A25A}" type="parTrans" cxnId="{ECF8DC27-DD4E-4615-868E-0259C5929606}">
      <dgm:prSet/>
      <dgm:spPr/>
      <dgm:t>
        <a:bodyPr/>
        <a:lstStyle/>
        <a:p>
          <a:endParaRPr lang="en-US"/>
        </a:p>
      </dgm:t>
    </dgm:pt>
    <dgm:pt modelId="{19DB2463-054F-4F26-9BCA-858BD5E7B54C}" type="sibTrans" cxnId="{ECF8DC27-DD4E-4615-868E-0259C5929606}">
      <dgm:prSet/>
      <dgm:spPr/>
      <dgm:t>
        <a:bodyPr/>
        <a:lstStyle/>
        <a:p>
          <a:endParaRPr lang="en-US"/>
        </a:p>
      </dgm:t>
    </dgm:pt>
    <dgm:pt modelId="{AE8AE591-BD05-4A43-AE27-F1768FC56189}" type="pres">
      <dgm:prSet presAssocID="{B7D77205-0185-48DD-BDDF-8628E2846564}" presName="Name0" presStyleCnt="0">
        <dgm:presLayoutVars>
          <dgm:dir/>
          <dgm:animLvl val="lvl"/>
          <dgm:resizeHandles val="exact"/>
        </dgm:presLayoutVars>
      </dgm:prSet>
      <dgm:spPr/>
    </dgm:pt>
    <dgm:pt modelId="{AF68D577-0203-422C-87DE-4C399B0CAC70}" type="pres">
      <dgm:prSet presAssocID="{1F523651-7C56-42A7-82B3-6CB6C6562C7E}" presName="linNode" presStyleCnt="0"/>
      <dgm:spPr/>
    </dgm:pt>
    <dgm:pt modelId="{40FE69A1-6B6C-4556-B8D3-5C8C6F6B4FF7}" type="pres">
      <dgm:prSet presAssocID="{1F523651-7C56-42A7-82B3-6CB6C6562C7E}" presName="parentText" presStyleLbl="node1" presStyleIdx="0" presStyleCnt="2">
        <dgm:presLayoutVars>
          <dgm:chMax val="1"/>
          <dgm:bulletEnabled val="1"/>
        </dgm:presLayoutVars>
      </dgm:prSet>
      <dgm:spPr>
        <a:prstGeom prst="roundRect">
          <a:avLst/>
        </a:prstGeom>
      </dgm:spPr>
    </dgm:pt>
    <dgm:pt modelId="{4AD62E6E-153A-4184-B937-2DED12405D0E}" type="pres">
      <dgm:prSet presAssocID="{1F523651-7C56-42A7-82B3-6CB6C6562C7E}" presName="descendantText" presStyleLbl="alignAccFollowNode1" presStyleIdx="0" presStyleCnt="2">
        <dgm:presLayoutVars>
          <dgm:bulletEnabled val="1"/>
        </dgm:presLayoutVars>
      </dgm:prSet>
      <dgm:spPr>
        <a:prstGeom prst="round2SameRect">
          <a:avLst/>
        </a:prstGeom>
      </dgm:spPr>
    </dgm:pt>
    <dgm:pt modelId="{AE731F06-AFA3-497D-A57D-CDB7E02B0771}" type="pres">
      <dgm:prSet presAssocID="{EEF94471-CCC5-4085-B615-FDD25C98B720}" presName="sp" presStyleCnt="0"/>
      <dgm:spPr/>
    </dgm:pt>
    <dgm:pt modelId="{4EE6DB94-F878-4BA1-AE72-1C57C281D28B}" type="pres">
      <dgm:prSet presAssocID="{30A76A9F-A990-4910-B6B5-D267ECB2DD28}" presName="linNode" presStyleCnt="0"/>
      <dgm:spPr/>
    </dgm:pt>
    <dgm:pt modelId="{52D7C7D6-A89A-423B-9553-6ACE9E8F650A}" type="pres">
      <dgm:prSet presAssocID="{30A76A9F-A990-4910-B6B5-D267ECB2DD28}" presName="parentText" presStyleLbl="node1" presStyleIdx="1" presStyleCnt="2">
        <dgm:presLayoutVars>
          <dgm:chMax val="1"/>
          <dgm:bulletEnabled val="1"/>
        </dgm:presLayoutVars>
      </dgm:prSet>
      <dgm:spPr>
        <a:prstGeom prst="roundRect">
          <a:avLst/>
        </a:prstGeom>
      </dgm:spPr>
    </dgm:pt>
    <dgm:pt modelId="{E2615C8C-6339-4B57-AB7E-CB4A0CC660C0}" type="pres">
      <dgm:prSet presAssocID="{30A76A9F-A990-4910-B6B5-D267ECB2DD28}" presName="descendantText" presStyleLbl="alignAccFollowNode1" presStyleIdx="1" presStyleCnt="2">
        <dgm:presLayoutVars>
          <dgm:bulletEnabled val="1"/>
        </dgm:presLayoutVars>
      </dgm:prSet>
      <dgm:spPr>
        <a:prstGeom prst="round2SameRect">
          <a:avLst/>
        </a:prstGeom>
      </dgm:spPr>
    </dgm:pt>
  </dgm:ptLst>
  <dgm:cxnLst>
    <dgm:cxn modelId="{2CA8AA0F-CFC7-492A-99D3-E2AD3136FDA4}" type="presOf" srcId="{EB28CCA0-5B57-4FE0-952F-745F55FE5C8B}" destId="{E2615C8C-6339-4B57-AB7E-CB4A0CC660C0}" srcOrd="0" destOrd="2" presId="urn:microsoft.com/office/officeart/2005/8/layout/vList5"/>
    <dgm:cxn modelId="{ECF8DC27-DD4E-4615-868E-0259C5929606}" srcId="{30A76A9F-A990-4910-B6B5-D267ECB2DD28}" destId="{3318839A-3EF4-4B18-929B-D74835B47805}" srcOrd="3" destOrd="0" parTransId="{9597A46A-D213-441E-B780-51C57F25A25A}" sibTransId="{19DB2463-054F-4F26-9BCA-858BD5E7B54C}"/>
    <dgm:cxn modelId="{C27D7A5F-1A24-425A-94F9-6613797203BF}" srcId="{30A76A9F-A990-4910-B6B5-D267ECB2DD28}" destId="{EB28CCA0-5B57-4FE0-952F-745F55FE5C8B}" srcOrd="2" destOrd="0" parTransId="{9246D48B-9D2B-4391-BFBB-A143A0C4B122}" sibTransId="{0FE0FBE9-DD48-4016-A0AF-68B5CA249F07}"/>
    <dgm:cxn modelId="{CC5EE741-2E36-4079-A981-C2120B0D32F4}" srcId="{1F523651-7C56-42A7-82B3-6CB6C6562C7E}" destId="{50DBA23F-C5D4-4EA1-B03E-7AF0CBE8CFC8}" srcOrd="0" destOrd="0" parTransId="{EA09D0C7-5C2C-4271-A982-E0629734986C}" sibTransId="{A7939516-65B2-418C-8739-55CF54E87F5E}"/>
    <dgm:cxn modelId="{B5702168-E1A7-4087-AE82-C18B2FCE7FF0}" srcId="{B7D77205-0185-48DD-BDDF-8628E2846564}" destId="{30A76A9F-A990-4910-B6B5-D267ECB2DD28}" srcOrd="1" destOrd="0" parTransId="{3E1D9BD3-B5F2-4681-A2F7-30E414510689}" sibTransId="{0A5F998C-4479-4F51-8075-0C9B08E4D19A}"/>
    <dgm:cxn modelId="{9F24F06B-7CAD-4BF1-BDBC-49DD35333D64}" srcId="{1F523651-7C56-42A7-82B3-6CB6C6562C7E}" destId="{A1692E78-28A7-4ABA-AA84-124895F03BB0}" srcOrd="1" destOrd="0" parTransId="{8B06D835-2DAA-47B5-AE28-1A632F74F3EF}" sibTransId="{26D958FE-D464-487B-BD31-04160C27BBF2}"/>
    <dgm:cxn modelId="{484E496F-860D-416F-8CC4-07F92D234D8D}" srcId="{30A76A9F-A990-4910-B6B5-D267ECB2DD28}" destId="{54F556B4-3A5F-4DBE-AFD3-05012EA4FD92}" srcOrd="1" destOrd="0" parTransId="{FF6BB73A-5DF6-4CBB-8497-AFFB3D2BB3CC}" sibTransId="{C31B45D1-7233-437A-A5A5-75C565C8F40E}"/>
    <dgm:cxn modelId="{B7C2506F-96B2-4A5A-BE70-7C57BC8D2D20}" type="presOf" srcId="{30A76A9F-A990-4910-B6B5-D267ECB2DD28}" destId="{52D7C7D6-A89A-423B-9553-6ACE9E8F650A}" srcOrd="0" destOrd="0" presId="urn:microsoft.com/office/officeart/2005/8/layout/vList5"/>
    <dgm:cxn modelId="{87FFC354-9A70-4F76-8B6B-FFC96671A416}" type="presOf" srcId="{0014DF7F-A4B0-4404-9B81-177CDE08FA91}" destId="{E2615C8C-6339-4B57-AB7E-CB4A0CC660C0}" srcOrd="0" destOrd="0" presId="urn:microsoft.com/office/officeart/2005/8/layout/vList5"/>
    <dgm:cxn modelId="{25EAE77A-1A46-42C3-92F7-62D688DEBAC1}" type="presOf" srcId="{54F556B4-3A5F-4DBE-AFD3-05012EA4FD92}" destId="{E2615C8C-6339-4B57-AB7E-CB4A0CC660C0}" srcOrd="0" destOrd="1" presId="urn:microsoft.com/office/officeart/2005/8/layout/vList5"/>
    <dgm:cxn modelId="{2183757D-88C7-49D8-B112-577A911DA292}" srcId="{30A76A9F-A990-4910-B6B5-D267ECB2DD28}" destId="{0014DF7F-A4B0-4404-9B81-177CDE08FA91}" srcOrd="0" destOrd="0" parTransId="{43D9D1E7-F6E2-4D0D-933A-917BE6434FB1}" sibTransId="{9EB78430-5E8D-4C4C-B10C-2B4221B3B540}"/>
    <dgm:cxn modelId="{9367019B-4B32-4533-8C2B-67319007F077}" srcId="{B7D77205-0185-48DD-BDDF-8628E2846564}" destId="{1F523651-7C56-42A7-82B3-6CB6C6562C7E}" srcOrd="0" destOrd="0" parTransId="{A70F82F0-F238-44E7-B6FB-0E327549C60A}" sibTransId="{EEF94471-CCC5-4085-B615-FDD25C98B720}"/>
    <dgm:cxn modelId="{AF7C8BB3-1A60-4380-AA73-43A40E5A7D54}" type="presOf" srcId="{B7D77205-0185-48DD-BDDF-8628E2846564}" destId="{AE8AE591-BD05-4A43-AE27-F1768FC56189}" srcOrd="0" destOrd="0" presId="urn:microsoft.com/office/officeart/2005/8/layout/vList5"/>
    <dgm:cxn modelId="{4EE509B6-3CEE-47FC-AB09-518F7DD9BB57}" type="presOf" srcId="{50DBA23F-C5D4-4EA1-B03E-7AF0CBE8CFC8}" destId="{4AD62E6E-153A-4184-B937-2DED12405D0E}" srcOrd="0" destOrd="0" presId="urn:microsoft.com/office/officeart/2005/8/layout/vList5"/>
    <dgm:cxn modelId="{F00A03C0-2563-4A85-9DCC-C0E82135576B}" type="presOf" srcId="{1F523651-7C56-42A7-82B3-6CB6C6562C7E}" destId="{40FE69A1-6B6C-4556-B8D3-5C8C6F6B4FF7}" srcOrd="0" destOrd="0" presId="urn:microsoft.com/office/officeart/2005/8/layout/vList5"/>
    <dgm:cxn modelId="{1BE199E6-A176-46FC-A38D-F1FB7D087709}" type="presOf" srcId="{3318839A-3EF4-4B18-929B-D74835B47805}" destId="{E2615C8C-6339-4B57-AB7E-CB4A0CC660C0}" srcOrd="0" destOrd="3" presId="urn:microsoft.com/office/officeart/2005/8/layout/vList5"/>
    <dgm:cxn modelId="{84EF70F5-1CDD-4E17-976B-B4344579CDE2}" type="presOf" srcId="{A1692E78-28A7-4ABA-AA84-124895F03BB0}" destId="{4AD62E6E-153A-4184-B937-2DED12405D0E}" srcOrd="0" destOrd="1" presId="urn:microsoft.com/office/officeart/2005/8/layout/vList5"/>
    <dgm:cxn modelId="{478E5549-5F12-4362-91E5-B0E7FFFF13D8}" type="presParOf" srcId="{AE8AE591-BD05-4A43-AE27-F1768FC56189}" destId="{AF68D577-0203-422C-87DE-4C399B0CAC70}" srcOrd="0" destOrd="0" presId="urn:microsoft.com/office/officeart/2005/8/layout/vList5"/>
    <dgm:cxn modelId="{647015F7-DEA8-4A3D-A375-4470F7720169}" type="presParOf" srcId="{AF68D577-0203-422C-87DE-4C399B0CAC70}" destId="{40FE69A1-6B6C-4556-B8D3-5C8C6F6B4FF7}" srcOrd="0" destOrd="0" presId="urn:microsoft.com/office/officeart/2005/8/layout/vList5"/>
    <dgm:cxn modelId="{91C3731E-33EA-437D-9A3B-EABF6BC9441D}" type="presParOf" srcId="{AF68D577-0203-422C-87DE-4C399B0CAC70}" destId="{4AD62E6E-153A-4184-B937-2DED12405D0E}" srcOrd="1" destOrd="0" presId="urn:microsoft.com/office/officeart/2005/8/layout/vList5"/>
    <dgm:cxn modelId="{A36120C4-B8D5-4374-97FE-522F0BF725BE}" type="presParOf" srcId="{AE8AE591-BD05-4A43-AE27-F1768FC56189}" destId="{AE731F06-AFA3-497D-A57D-CDB7E02B0771}" srcOrd="1" destOrd="0" presId="urn:microsoft.com/office/officeart/2005/8/layout/vList5"/>
    <dgm:cxn modelId="{D3BB9CF5-7F64-4F3F-8FEE-B5CD476EDD89}" type="presParOf" srcId="{AE8AE591-BD05-4A43-AE27-F1768FC56189}" destId="{4EE6DB94-F878-4BA1-AE72-1C57C281D28B}" srcOrd="2" destOrd="0" presId="urn:microsoft.com/office/officeart/2005/8/layout/vList5"/>
    <dgm:cxn modelId="{615E8B08-552F-4CEC-8341-99C10DF31F77}" type="presParOf" srcId="{4EE6DB94-F878-4BA1-AE72-1C57C281D28B}" destId="{52D7C7D6-A89A-423B-9553-6ACE9E8F650A}" srcOrd="0" destOrd="0" presId="urn:microsoft.com/office/officeart/2005/8/layout/vList5"/>
    <dgm:cxn modelId="{E35F20B3-09AD-4285-AD14-2DC711C6C7FC}" type="presParOf" srcId="{4EE6DB94-F878-4BA1-AE72-1C57C281D28B}" destId="{E2615C8C-6339-4B57-AB7E-CB4A0CC660C0}"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2111292-D501-4258-8EC9-EFAA7C87A0E2}" type="doc">
      <dgm:prSet loTypeId="urn:microsoft.com/office/officeart/2005/8/layout/pList1" loCatId="list" qsTypeId="urn:microsoft.com/office/officeart/2005/8/quickstyle/simple1" qsCatId="simple" csTypeId="urn:microsoft.com/office/officeart/2005/8/colors/accent1_2" csCatId="accent1" phldr="1"/>
      <dgm:spPr/>
      <dgm:t>
        <a:bodyPr/>
        <a:lstStyle/>
        <a:p>
          <a:endParaRPr lang="de-DE"/>
        </a:p>
      </dgm:t>
    </dgm:pt>
    <dgm:pt modelId="{1D81C6E5-9856-4254-A04A-A3CE7CB239FD}">
      <dgm:prSet/>
      <dgm:spPr/>
      <dgm:t>
        <a:bodyPr/>
        <a:lstStyle/>
        <a:p>
          <a:r>
            <a:rPr lang="de-DE" dirty="0">
              <a:hlinkClick xmlns:r="http://schemas.openxmlformats.org/officeDocument/2006/relationships" r:id="rId1"/>
            </a:rPr>
            <a:t>E</a:t>
          </a:r>
          <a:r>
            <a:rPr lang="en-FI" dirty="0" err="1">
              <a:hlinkClick xmlns:r="http://schemas.openxmlformats.org/officeDocument/2006/relationships" r:id="rId1"/>
            </a:rPr>
            <a:t>nforcement</a:t>
          </a:r>
          <a:r>
            <a:rPr lang="en-FI" dirty="0">
              <a:hlinkClick xmlns:r="http://schemas.openxmlformats.org/officeDocument/2006/relationships" r:id="rId1"/>
            </a:rPr>
            <a:t> tracker</a:t>
          </a:r>
          <a:r>
            <a:rPr lang="en-FI" dirty="0"/>
            <a:t>	</a:t>
          </a:r>
          <a:endParaRPr lang="de-DE" dirty="0"/>
        </a:p>
      </dgm:t>
    </dgm:pt>
    <dgm:pt modelId="{94F1BF75-FFDB-4A39-9B7F-C651836F2F38}" type="parTrans" cxnId="{43BD3453-9DC0-4303-9EA8-21A199C29CC5}">
      <dgm:prSet/>
      <dgm:spPr/>
      <dgm:t>
        <a:bodyPr/>
        <a:lstStyle/>
        <a:p>
          <a:endParaRPr lang="de-DE"/>
        </a:p>
      </dgm:t>
    </dgm:pt>
    <dgm:pt modelId="{05303C9E-11D0-4F74-BCC0-85E9DD0E1F20}" type="sibTrans" cxnId="{43BD3453-9DC0-4303-9EA8-21A199C29CC5}">
      <dgm:prSet/>
      <dgm:spPr/>
      <dgm:t>
        <a:bodyPr/>
        <a:lstStyle/>
        <a:p>
          <a:endParaRPr lang="de-DE"/>
        </a:p>
      </dgm:t>
    </dgm:pt>
    <dgm:pt modelId="{E3A0631B-E920-413E-8613-F6D62D682818}">
      <dgm:prSet/>
      <dgm:spPr/>
      <dgm:t>
        <a:bodyPr/>
        <a:lstStyle/>
        <a:p>
          <a:r>
            <a:rPr lang="en-FI" dirty="0">
              <a:hlinkClick xmlns:r="http://schemas.openxmlformats.org/officeDocument/2006/relationships" r:id="rId2"/>
            </a:rPr>
            <a:t>GDPR Hub</a:t>
          </a:r>
          <a:endParaRPr lang="de-DE" dirty="0"/>
        </a:p>
      </dgm:t>
    </dgm:pt>
    <dgm:pt modelId="{486F7754-E5D3-42CD-928A-340D02B91F33}" type="parTrans" cxnId="{B2DECA0B-8B5A-4C09-BE9E-379019E1B09E}">
      <dgm:prSet/>
      <dgm:spPr/>
      <dgm:t>
        <a:bodyPr/>
        <a:lstStyle/>
        <a:p>
          <a:endParaRPr lang="de-DE"/>
        </a:p>
      </dgm:t>
    </dgm:pt>
    <dgm:pt modelId="{4FCA4184-AECC-4D80-9583-D5F06A6398B1}" type="sibTrans" cxnId="{B2DECA0B-8B5A-4C09-BE9E-379019E1B09E}">
      <dgm:prSet/>
      <dgm:spPr/>
      <dgm:t>
        <a:bodyPr/>
        <a:lstStyle/>
        <a:p>
          <a:endParaRPr lang="de-DE"/>
        </a:p>
      </dgm:t>
    </dgm:pt>
    <dgm:pt modelId="{87670C3C-C438-420A-9DD3-D350E69B195D}" type="pres">
      <dgm:prSet presAssocID="{D2111292-D501-4258-8EC9-EFAA7C87A0E2}" presName="Name0" presStyleCnt="0">
        <dgm:presLayoutVars>
          <dgm:dir/>
          <dgm:resizeHandles val="exact"/>
        </dgm:presLayoutVars>
      </dgm:prSet>
      <dgm:spPr/>
    </dgm:pt>
    <dgm:pt modelId="{DCE3CD03-4199-489A-9EBF-16BC147EEAF2}" type="pres">
      <dgm:prSet presAssocID="{1D81C6E5-9856-4254-A04A-A3CE7CB239FD}" presName="compNode" presStyleCnt="0"/>
      <dgm:spPr/>
    </dgm:pt>
    <dgm:pt modelId="{C566E40C-C9C1-4E4D-8D2E-0DE96438FA56}" type="pres">
      <dgm:prSet presAssocID="{1D81C6E5-9856-4254-A04A-A3CE7CB239FD}" presName="pictRect" presStyleLbl="node1" presStyleIdx="0" presStyleCnt="2"/>
      <dgm:spPr>
        <a:blipFill rotWithShape="1">
          <a:blip xmlns:r="http://schemas.openxmlformats.org/officeDocument/2006/relationships" r:embed="rId3"/>
          <a:srcRect/>
          <a:stretch>
            <a:fillRect l="-31000" r="-31000"/>
          </a:stretch>
        </a:blipFill>
      </dgm:spPr>
    </dgm:pt>
    <dgm:pt modelId="{3661C5EB-F8EB-425D-8FAE-1F00209B49DE}" type="pres">
      <dgm:prSet presAssocID="{1D81C6E5-9856-4254-A04A-A3CE7CB239FD}" presName="textRect" presStyleLbl="revTx" presStyleIdx="0" presStyleCnt="2">
        <dgm:presLayoutVars>
          <dgm:bulletEnabled val="1"/>
        </dgm:presLayoutVars>
      </dgm:prSet>
      <dgm:spPr/>
    </dgm:pt>
    <dgm:pt modelId="{5E884E7A-DC5A-4983-A259-AD0C12B7BAAF}" type="pres">
      <dgm:prSet presAssocID="{05303C9E-11D0-4F74-BCC0-85E9DD0E1F20}" presName="sibTrans" presStyleLbl="sibTrans2D1" presStyleIdx="0" presStyleCnt="0"/>
      <dgm:spPr/>
    </dgm:pt>
    <dgm:pt modelId="{B2270C6D-5972-469C-AFFD-4CF375C682B4}" type="pres">
      <dgm:prSet presAssocID="{E3A0631B-E920-413E-8613-F6D62D682818}" presName="compNode" presStyleCnt="0"/>
      <dgm:spPr/>
    </dgm:pt>
    <dgm:pt modelId="{D305CA3C-4589-4C53-AD92-707A6C22514F}" type="pres">
      <dgm:prSet presAssocID="{E3A0631B-E920-413E-8613-F6D62D682818}" presName="pictRect" presStyleLbl="node1" presStyleIdx="1" presStyleCnt="2"/>
      <dgm:spPr>
        <a:blipFill rotWithShape="1">
          <a:blip xmlns:r="http://schemas.openxmlformats.org/officeDocument/2006/relationships" r:embed="rId4"/>
          <a:srcRect/>
          <a:stretch>
            <a:fillRect l="-16000" r="-16000"/>
          </a:stretch>
        </a:blipFill>
      </dgm:spPr>
    </dgm:pt>
    <dgm:pt modelId="{43469A4D-E0B4-474C-AA9C-B8A049BE23E8}" type="pres">
      <dgm:prSet presAssocID="{E3A0631B-E920-413E-8613-F6D62D682818}" presName="textRect" presStyleLbl="revTx" presStyleIdx="1" presStyleCnt="2">
        <dgm:presLayoutVars>
          <dgm:bulletEnabled val="1"/>
        </dgm:presLayoutVars>
      </dgm:prSet>
      <dgm:spPr/>
    </dgm:pt>
  </dgm:ptLst>
  <dgm:cxnLst>
    <dgm:cxn modelId="{64C5A601-1A63-47DB-9EC9-011C62FECDC2}" type="presOf" srcId="{E3A0631B-E920-413E-8613-F6D62D682818}" destId="{43469A4D-E0B4-474C-AA9C-B8A049BE23E8}" srcOrd="0" destOrd="0" presId="urn:microsoft.com/office/officeart/2005/8/layout/pList1"/>
    <dgm:cxn modelId="{B2DECA0B-8B5A-4C09-BE9E-379019E1B09E}" srcId="{D2111292-D501-4258-8EC9-EFAA7C87A0E2}" destId="{E3A0631B-E920-413E-8613-F6D62D682818}" srcOrd="1" destOrd="0" parTransId="{486F7754-E5D3-42CD-928A-340D02B91F33}" sibTransId="{4FCA4184-AECC-4D80-9583-D5F06A6398B1}"/>
    <dgm:cxn modelId="{4A4A8C16-3040-402C-908D-07A452077F9D}" type="presOf" srcId="{1D81C6E5-9856-4254-A04A-A3CE7CB239FD}" destId="{3661C5EB-F8EB-425D-8FAE-1F00209B49DE}" srcOrd="0" destOrd="0" presId="urn:microsoft.com/office/officeart/2005/8/layout/pList1"/>
    <dgm:cxn modelId="{0A91C936-55AF-4064-849B-FC25AB1D7A07}" type="presOf" srcId="{05303C9E-11D0-4F74-BCC0-85E9DD0E1F20}" destId="{5E884E7A-DC5A-4983-A259-AD0C12B7BAAF}" srcOrd="0" destOrd="0" presId="urn:microsoft.com/office/officeart/2005/8/layout/pList1"/>
    <dgm:cxn modelId="{621C4137-4300-4674-98F4-D2AE8C38BC7D}" type="presOf" srcId="{D2111292-D501-4258-8EC9-EFAA7C87A0E2}" destId="{87670C3C-C438-420A-9DD3-D350E69B195D}" srcOrd="0" destOrd="0" presId="urn:microsoft.com/office/officeart/2005/8/layout/pList1"/>
    <dgm:cxn modelId="{43BD3453-9DC0-4303-9EA8-21A199C29CC5}" srcId="{D2111292-D501-4258-8EC9-EFAA7C87A0E2}" destId="{1D81C6E5-9856-4254-A04A-A3CE7CB239FD}" srcOrd="0" destOrd="0" parTransId="{94F1BF75-FFDB-4A39-9B7F-C651836F2F38}" sibTransId="{05303C9E-11D0-4F74-BCC0-85E9DD0E1F20}"/>
    <dgm:cxn modelId="{1BF8DF27-6A7B-4EAE-B234-19571DDE3E52}" type="presParOf" srcId="{87670C3C-C438-420A-9DD3-D350E69B195D}" destId="{DCE3CD03-4199-489A-9EBF-16BC147EEAF2}" srcOrd="0" destOrd="0" presId="urn:microsoft.com/office/officeart/2005/8/layout/pList1"/>
    <dgm:cxn modelId="{CA65C517-0EB5-4629-A2F0-FB86F21B20EF}" type="presParOf" srcId="{DCE3CD03-4199-489A-9EBF-16BC147EEAF2}" destId="{C566E40C-C9C1-4E4D-8D2E-0DE96438FA56}" srcOrd="0" destOrd="0" presId="urn:microsoft.com/office/officeart/2005/8/layout/pList1"/>
    <dgm:cxn modelId="{B6F85540-41A5-41D0-9594-BBF487B1474F}" type="presParOf" srcId="{DCE3CD03-4199-489A-9EBF-16BC147EEAF2}" destId="{3661C5EB-F8EB-425D-8FAE-1F00209B49DE}" srcOrd="1" destOrd="0" presId="urn:microsoft.com/office/officeart/2005/8/layout/pList1"/>
    <dgm:cxn modelId="{FADE0F8E-4673-4958-BA6C-9BDA1E86F658}" type="presParOf" srcId="{87670C3C-C438-420A-9DD3-D350E69B195D}" destId="{5E884E7A-DC5A-4983-A259-AD0C12B7BAAF}" srcOrd="1" destOrd="0" presId="urn:microsoft.com/office/officeart/2005/8/layout/pList1"/>
    <dgm:cxn modelId="{7BF7F729-EFFA-473D-9E20-3DC9B79D3504}" type="presParOf" srcId="{87670C3C-C438-420A-9DD3-D350E69B195D}" destId="{B2270C6D-5972-469C-AFFD-4CF375C682B4}" srcOrd="2" destOrd="0" presId="urn:microsoft.com/office/officeart/2005/8/layout/pList1"/>
    <dgm:cxn modelId="{75583048-6691-41AB-BC1E-5ADC461D1D1C}" type="presParOf" srcId="{B2270C6D-5972-469C-AFFD-4CF375C682B4}" destId="{D305CA3C-4589-4C53-AD92-707A6C22514F}" srcOrd="0" destOrd="0" presId="urn:microsoft.com/office/officeart/2005/8/layout/pList1"/>
    <dgm:cxn modelId="{9B496320-DB92-499B-B37B-60DB6759AD06}" type="presParOf" srcId="{B2270C6D-5972-469C-AFFD-4CF375C682B4}" destId="{43469A4D-E0B4-474C-AA9C-B8A049BE23E8}" srcOrd="1" destOrd="0" presId="urn:microsoft.com/office/officeart/2005/8/layout/p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187B861-6525-483B-A03D-81021C976A6B}"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fi-FI"/>
        </a:p>
      </dgm:t>
    </dgm:pt>
    <dgm:pt modelId="{A6596B1E-928B-4A7C-B49A-AFB94CBFAC52}">
      <dgm:prSet/>
      <dgm:spPr/>
      <dgm:t>
        <a:bodyPr/>
        <a:lstStyle/>
        <a:p>
          <a:r>
            <a:rPr lang="de-DE" b="0" i="0" baseline="0"/>
            <a:t>Google</a:t>
          </a:r>
          <a:endParaRPr lang="fi-FI"/>
        </a:p>
      </dgm:t>
    </dgm:pt>
    <dgm:pt modelId="{0D5A4AAE-AAB2-4F55-874E-6CD3EECC564F}" type="parTrans" cxnId="{4F8E18A0-1BC4-4C6C-8726-22950D9C2F25}">
      <dgm:prSet/>
      <dgm:spPr/>
      <dgm:t>
        <a:bodyPr/>
        <a:lstStyle/>
        <a:p>
          <a:endParaRPr lang="fi-FI"/>
        </a:p>
      </dgm:t>
    </dgm:pt>
    <dgm:pt modelId="{80D4362A-9C63-4A0B-945D-DFF33C6FF775}" type="sibTrans" cxnId="{4F8E18A0-1BC4-4C6C-8726-22950D9C2F25}">
      <dgm:prSet/>
      <dgm:spPr/>
      <dgm:t>
        <a:bodyPr/>
        <a:lstStyle/>
        <a:p>
          <a:endParaRPr lang="fi-FI"/>
        </a:p>
      </dgm:t>
    </dgm:pt>
    <dgm:pt modelId="{8D81F284-2D37-427B-B3A1-F2276BA790AD}">
      <dgm:prSet/>
      <dgm:spPr/>
      <dgm:t>
        <a:bodyPr/>
        <a:lstStyle/>
        <a:p>
          <a:r>
            <a:rPr lang="de-DE" b="0" i="0" baseline="0"/>
            <a:t>In January 2019, the CNIL fined Google €50 million (about $57.26 million)</a:t>
          </a:r>
          <a:endParaRPr lang="fi-FI"/>
        </a:p>
      </dgm:t>
    </dgm:pt>
    <dgm:pt modelId="{DBB27B85-B64C-4092-BB77-AD45875EB99D}" type="parTrans" cxnId="{1DED4C65-7EE0-4FAD-AB7F-AC8D242C7274}">
      <dgm:prSet/>
      <dgm:spPr/>
      <dgm:t>
        <a:bodyPr/>
        <a:lstStyle/>
        <a:p>
          <a:endParaRPr lang="fi-FI"/>
        </a:p>
      </dgm:t>
    </dgm:pt>
    <dgm:pt modelId="{618BFEB5-1C84-412C-A450-729B58F7080D}" type="sibTrans" cxnId="{1DED4C65-7EE0-4FAD-AB7F-AC8D242C7274}">
      <dgm:prSet/>
      <dgm:spPr/>
      <dgm:t>
        <a:bodyPr/>
        <a:lstStyle/>
        <a:p>
          <a:endParaRPr lang="fi-FI"/>
        </a:p>
      </dgm:t>
    </dgm:pt>
    <dgm:pt modelId="{24F01548-822A-42EA-B0FF-804D729A5D31}">
      <dgm:prSet/>
      <dgm:spPr/>
      <dgm:t>
        <a:bodyPr/>
        <a:lstStyle/>
        <a:p>
          <a:r>
            <a:rPr lang="de-DE" b="0" i="0" baseline="0"/>
            <a:t>Google’s total revenues from 2019 was (more or less) $161,857 million </a:t>
          </a:r>
          <a:endParaRPr lang="fi-FI"/>
        </a:p>
      </dgm:t>
    </dgm:pt>
    <dgm:pt modelId="{499B0DF0-F556-476C-8BFF-DD035EE25BE1}" type="parTrans" cxnId="{3F410FD6-7F90-485C-886A-05457AC00F87}">
      <dgm:prSet/>
      <dgm:spPr/>
      <dgm:t>
        <a:bodyPr/>
        <a:lstStyle/>
        <a:p>
          <a:endParaRPr lang="fi-FI"/>
        </a:p>
      </dgm:t>
    </dgm:pt>
    <dgm:pt modelId="{B9B19298-7C97-4A0B-9C53-8976CE3828C6}" type="sibTrans" cxnId="{3F410FD6-7F90-485C-886A-05457AC00F87}">
      <dgm:prSet/>
      <dgm:spPr/>
      <dgm:t>
        <a:bodyPr/>
        <a:lstStyle/>
        <a:p>
          <a:endParaRPr lang="fi-FI"/>
        </a:p>
      </dgm:t>
    </dgm:pt>
    <dgm:pt modelId="{B2C58ED9-F4BA-4192-9F15-E42714B587FE}">
      <dgm:prSet/>
      <dgm:spPr/>
      <dgm:t>
        <a:bodyPr/>
        <a:lstStyle/>
        <a:p>
          <a:r>
            <a:rPr lang="de-DE" b="0" i="0" baseline="0"/>
            <a:t>The fine was about 0.035% of Google’s revenue. To put it another way, Google’s revenue was about 2,829.7 times higher than the fine</a:t>
          </a:r>
          <a:endParaRPr lang="fi-FI"/>
        </a:p>
      </dgm:t>
    </dgm:pt>
    <dgm:pt modelId="{18C88381-7B3D-44CC-BCAE-E390A86305DC}" type="parTrans" cxnId="{EFC80341-7163-4369-AA82-F97C077E3BAD}">
      <dgm:prSet/>
      <dgm:spPr/>
      <dgm:t>
        <a:bodyPr/>
        <a:lstStyle/>
        <a:p>
          <a:endParaRPr lang="fi-FI"/>
        </a:p>
      </dgm:t>
    </dgm:pt>
    <dgm:pt modelId="{A78D3CB0-EC2F-4159-8007-BB5B25CDFCF1}" type="sibTrans" cxnId="{EFC80341-7163-4369-AA82-F97C077E3BAD}">
      <dgm:prSet/>
      <dgm:spPr/>
      <dgm:t>
        <a:bodyPr/>
        <a:lstStyle/>
        <a:p>
          <a:endParaRPr lang="fi-FI"/>
        </a:p>
      </dgm:t>
    </dgm:pt>
    <dgm:pt modelId="{B3A4FB73-3C18-46D3-87E9-D837A8D45F09}">
      <dgm:prSet/>
      <dgm:spPr/>
      <dgm:t>
        <a:bodyPr/>
        <a:lstStyle/>
        <a:p>
          <a:r>
            <a:rPr lang="de-DE" b="0" i="0" baseline="0"/>
            <a:t>Facebook</a:t>
          </a:r>
          <a:endParaRPr lang="fi-FI"/>
        </a:p>
      </dgm:t>
    </dgm:pt>
    <dgm:pt modelId="{4636CFEE-7BB0-4CFC-A763-2E89DA7FD350}" type="parTrans" cxnId="{AF2AF741-41CD-4430-A99C-A313B0D8F2EA}">
      <dgm:prSet/>
      <dgm:spPr/>
      <dgm:t>
        <a:bodyPr/>
        <a:lstStyle/>
        <a:p>
          <a:endParaRPr lang="fi-FI"/>
        </a:p>
      </dgm:t>
    </dgm:pt>
    <dgm:pt modelId="{98D68672-3CBA-4CB7-93B7-98DB04F2C8FC}" type="sibTrans" cxnId="{AF2AF741-41CD-4430-A99C-A313B0D8F2EA}">
      <dgm:prSet/>
      <dgm:spPr/>
      <dgm:t>
        <a:bodyPr/>
        <a:lstStyle/>
        <a:p>
          <a:endParaRPr lang="fi-FI"/>
        </a:p>
      </dgm:t>
    </dgm:pt>
    <dgm:pt modelId="{2037E798-3D94-4A7B-B3E1-A1C12CC043CE}">
      <dgm:prSet/>
      <dgm:spPr/>
      <dgm:t>
        <a:bodyPr/>
        <a:lstStyle/>
        <a:p>
          <a:r>
            <a:rPr lang="de-DE" b="0" i="0" baseline="0"/>
            <a:t>In July 2019, the FTC fined Facebook $5 billion</a:t>
          </a:r>
          <a:endParaRPr lang="fi-FI"/>
        </a:p>
      </dgm:t>
    </dgm:pt>
    <dgm:pt modelId="{43DF1B2C-ADFC-4BC7-9141-3EB67809873E}" type="parTrans" cxnId="{1DF15572-D38B-466F-A4B9-6E48FF02FA39}">
      <dgm:prSet/>
      <dgm:spPr/>
      <dgm:t>
        <a:bodyPr/>
        <a:lstStyle/>
        <a:p>
          <a:endParaRPr lang="fi-FI"/>
        </a:p>
      </dgm:t>
    </dgm:pt>
    <dgm:pt modelId="{5249BF90-9E61-46DB-B089-61658673CAB3}" type="sibTrans" cxnId="{1DF15572-D38B-466F-A4B9-6E48FF02FA39}">
      <dgm:prSet/>
      <dgm:spPr/>
      <dgm:t>
        <a:bodyPr/>
        <a:lstStyle/>
        <a:p>
          <a:endParaRPr lang="fi-FI"/>
        </a:p>
      </dgm:t>
    </dgm:pt>
    <dgm:pt modelId="{6100CDCD-385D-4243-97AE-FDC71C14D3CA}">
      <dgm:prSet/>
      <dgm:spPr/>
      <dgm:t>
        <a:bodyPr/>
        <a:lstStyle/>
        <a:p>
          <a:r>
            <a:rPr lang="de-DE" b="0" i="0" baseline="0"/>
            <a:t>Facebook’s total revenue for 2019 was (more or less) $70.7 billion</a:t>
          </a:r>
          <a:endParaRPr lang="fi-FI"/>
        </a:p>
      </dgm:t>
    </dgm:pt>
    <dgm:pt modelId="{AA998FA5-2C78-467B-8CCA-4ABFFDEBE574}" type="parTrans" cxnId="{26820F5C-BDB6-43F8-A7B6-BA5EE46D6236}">
      <dgm:prSet/>
      <dgm:spPr/>
      <dgm:t>
        <a:bodyPr/>
        <a:lstStyle/>
        <a:p>
          <a:endParaRPr lang="fi-FI"/>
        </a:p>
      </dgm:t>
    </dgm:pt>
    <dgm:pt modelId="{5E94CA88-50BC-4402-B2B1-56311D4137C8}" type="sibTrans" cxnId="{26820F5C-BDB6-43F8-A7B6-BA5EE46D6236}">
      <dgm:prSet/>
      <dgm:spPr/>
      <dgm:t>
        <a:bodyPr/>
        <a:lstStyle/>
        <a:p>
          <a:endParaRPr lang="fi-FI"/>
        </a:p>
      </dgm:t>
    </dgm:pt>
    <dgm:pt modelId="{5A80E3F4-BCD4-4C41-8099-8FA8F96A5C72}">
      <dgm:prSet/>
      <dgm:spPr/>
      <dgm:t>
        <a:bodyPr/>
        <a:lstStyle/>
        <a:p>
          <a:r>
            <a:rPr lang="de-DE" b="0" i="0" baseline="0"/>
            <a:t>The fine was about 7% of Facebook’s revenue. To put it another way, Facebook’s revenue was about 14 times larger than the fine</a:t>
          </a:r>
          <a:endParaRPr lang="fi-FI"/>
        </a:p>
      </dgm:t>
    </dgm:pt>
    <dgm:pt modelId="{1E9D1AC2-A6CD-4D16-AC7C-1C820BD43D72}" type="parTrans" cxnId="{5EE5FAF4-A772-403A-A526-0AE95B39360B}">
      <dgm:prSet/>
      <dgm:spPr/>
      <dgm:t>
        <a:bodyPr/>
        <a:lstStyle/>
        <a:p>
          <a:endParaRPr lang="fi-FI"/>
        </a:p>
      </dgm:t>
    </dgm:pt>
    <dgm:pt modelId="{600B8831-7601-45DA-8184-E6F55A8689FC}" type="sibTrans" cxnId="{5EE5FAF4-A772-403A-A526-0AE95B39360B}">
      <dgm:prSet/>
      <dgm:spPr/>
      <dgm:t>
        <a:bodyPr/>
        <a:lstStyle/>
        <a:p>
          <a:endParaRPr lang="fi-FI"/>
        </a:p>
      </dgm:t>
    </dgm:pt>
    <dgm:pt modelId="{4E314CB7-80CB-4912-8DF0-83947C246450}" type="pres">
      <dgm:prSet presAssocID="{7187B861-6525-483B-A03D-81021C976A6B}" presName="linear" presStyleCnt="0">
        <dgm:presLayoutVars>
          <dgm:animLvl val="lvl"/>
          <dgm:resizeHandles val="exact"/>
        </dgm:presLayoutVars>
      </dgm:prSet>
      <dgm:spPr/>
    </dgm:pt>
    <dgm:pt modelId="{8569E96C-89E1-4872-B96A-68B3882FA074}" type="pres">
      <dgm:prSet presAssocID="{A6596B1E-928B-4A7C-B49A-AFB94CBFAC52}" presName="parentText" presStyleLbl="node1" presStyleIdx="0" presStyleCnt="2">
        <dgm:presLayoutVars>
          <dgm:chMax val="0"/>
          <dgm:bulletEnabled val="1"/>
        </dgm:presLayoutVars>
      </dgm:prSet>
      <dgm:spPr/>
    </dgm:pt>
    <dgm:pt modelId="{7C562574-90DE-413E-AF61-9589D75F3460}" type="pres">
      <dgm:prSet presAssocID="{A6596B1E-928B-4A7C-B49A-AFB94CBFAC52}" presName="childText" presStyleLbl="revTx" presStyleIdx="0" presStyleCnt="2">
        <dgm:presLayoutVars>
          <dgm:bulletEnabled val="1"/>
        </dgm:presLayoutVars>
      </dgm:prSet>
      <dgm:spPr/>
    </dgm:pt>
    <dgm:pt modelId="{D46949E3-D1D4-41A0-86EB-EA6883547214}" type="pres">
      <dgm:prSet presAssocID="{B3A4FB73-3C18-46D3-87E9-D837A8D45F09}" presName="parentText" presStyleLbl="node1" presStyleIdx="1" presStyleCnt="2">
        <dgm:presLayoutVars>
          <dgm:chMax val="0"/>
          <dgm:bulletEnabled val="1"/>
        </dgm:presLayoutVars>
      </dgm:prSet>
      <dgm:spPr/>
    </dgm:pt>
    <dgm:pt modelId="{15C2D8E5-4234-4D2F-83D7-2433D50BC48C}" type="pres">
      <dgm:prSet presAssocID="{B3A4FB73-3C18-46D3-87E9-D837A8D45F09}" presName="childText" presStyleLbl="revTx" presStyleIdx="1" presStyleCnt="2">
        <dgm:presLayoutVars>
          <dgm:bulletEnabled val="1"/>
        </dgm:presLayoutVars>
      </dgm:prSet>
      <dgm:spPr/>
    </dgm:pt>
  </dgm:ptLst>
  <dgm:cxnLst>
    <dgm:cxn modelId="{A0A9C125-911B-422F-A14F-A401B4E6E122}" type="presOf" srcId="{A6596B1E-928B-4A7C-B49A-AFB94CBFAC52}" destId="{8569E96C-89E1-4872-B96A-68B3882FA074}" srcOrd="0" destOrd="0" presId="urn:microsoft.com/office/officeart/2005/8/layout/vList2"/>
    <dgm:cxn modelId="{26820F5C-BDB6-43F8-A7B6-BA5EE46D6236}" srcId="{B3A4FB73-3C18-46D3-87E9-D837A8D45F09}" destId="{6100CDCD-385D-4243-97AE-FDC71C14D3CA}" srcOrd="1" destOrd="0" parTransId="{AA998FA5-2C78-467B-8CCA-4ABFFDEBE574}" sibTransId="{5E94CA88-50BC-4402-B2B1-56311D4137C8}"/>
    <dgm:cxn modelId="{EFC80341-7163-4369-AA82-F97C077E3BAD}" srcId="{A6596B1E-928B-4A7C-B49A-AFB94CBFAC52}" destId="{B2C58ED9-F4BA-4192-9F15-E42714B587FE}" srcOrd="2" destOrd="0" parTransId="{18C88381-7B3D-44CC-BCAE-E390A86305DC}" sibTransId="{A78D3CB0-EC2F-4159-8007-BB5B25CDFCF1}"/>
    <dgm:cxn modelId="{AF2AF741-41CD-4430-A99C-A313B0D8F2EA}" srcId="{7187B861-6525-483B-A03D-81021C976A6B}" destId="{B3A4FB73-3C18-46D3-87E9-D837A8D45F09}" srcOrd="1" destOrd="0" parTransId="{4636CFEE-7BB0-4CFC-A763-2E89DA7FD350}" sibTransId="{98D68672-3CBA-4CB7-93B7-98DB04F2C8FC}"/>
    <dgm:cxn modelId="{1DED4C65-7EE0-4FAD-AB7F-AC8D242C7274}" srcId="{A6596B1E-928B-4A7C-B49A-AFB94CBFAC52}" destId="{8D81F284-2D37-427B-B3A1-F2276BA790AD}" srcOrd="0" destOrd="0" parTransId="{DBB27B85-B64C-4092-BB77-AD45875EB99D}" sibTransId="{618BFEB5-1C84-412C-A450-729B58F7080D}"/>
    <dgm:cxn modelId="{3E910369-91AA-4EB1-8FFF-A4DEF0A7F4F0}" type="presOf" srcId="{B3A4FB73-3C18-46D3-87E9-D837A8D45F09}" destId="{D46949E3-D1D4-41A0-86EB-EA6883547214}" srcOrd="0" destOrd="0" presId="urn:microsoft.com/office/officeart/2005/8/layout/vList2"/>
    <dgm:cxn modelId="{E21E624E-9225-4D7A-8155-2A122C6E97D2}" type="presOf" srcId="{5A80E3F4-BCD4-4C41-8099-8FA8F96A5C72}" destId="{15C2D8E5-4234-4D2F-83D7-2433D50BC48C}" srcOrd="0" destOrd="2" presId="urn:microsoft.com/office/officeart/2005/8/layout/vList2"/>
    <dgm:cxn modelId="{3AE2B371-F7F1-4BCD-8444-BC5B40C342D3}" type="presOf" srcId="{8D81F284-2D37-427B-B3A1-F2276BA790AD}" destId="{7C562574-90DE-413E-AF61-9589D75F3460}" srcOrd="0" destOrd="0" presId="urn:microsoft.com/office/officeart/2005/8/layout/vList2"/>
    <dgm:cxn modelId="{1DF15572-D38B-466F-A4B9-6E48FF02FA39}" srcId="{B3A4FB73-3C18-46D3-87E9-D837A8D45F09}" destId="{2037E798-3D94-4A7B-B3E1-A1C12CC043CE}" srcOrd="0" destOrd="0" parTransId="{43DF1B2C-ADFC-4BC7-9141-3EB67809873E}" sibTransId="{5249BF90-9E61-46DB-B089-61658673CAB3}"/>
    <dgm:cxn modelId="{9634A97D-32C2-485D-BCFA-88CB4CB6AC63}" type="presOf" srcId="{2037E798-3D94-4A7B-B3E1-A1C12CC043CE}" destId="{15C2D8E5-4234-4D2F-83D7-2433D50BC48C}" srcOrd="0" destOrd="0" presId="urn:microsoft.com/office/officeart/2005/8/layout/vList2"/>
    <dgm:cxn modelId="{CFB84983-E4D9-4D80-9681-8720FA80359C}" type="presOf" srcId="{B2C58ED9-F4BA-4192-9F15-E42714B587FE}" destId="{7C562574-90DE-413E-AF61-9589D75F3460}" srcOrd="0" destOrd="2" presId="urn:microsoft.com/office/officeart/2005/8/layout/vList2"/>
    <dgm:cxn modelId="{4F8E18A0-1BC4-4C6C-8726-22950D9C2F25}" srcId="{7187B861-6525-483B-A03D-81021C976A6B}" destId="{A6596B1E-928B-4A7C-B49A-AFB94CBFAC52}" srcOrd="0" destOrd="0" parTransId="{0D5A4AAE-AAB2-4F55-874E-6CD3EECC564F}" sibTransId="{80D4362A-9C63-4A0B-945D-DFF33C6FF775}"/>
    <dgm:cxn modelId="{EC3CF0A5-34BB-48C3-8548-C21921FBB1E8}" type="presOf" srcId="{24F01548-822A-42EA-B0FF-804D729A5D31}" destId="{7C562574-90DE-413E-AF61-9589D75F3460}" srcOrd="0" destOrd="1" presId="urn:microsoft.com/office/officeart/2005/8/layout/vList2"/>
    <dgm:cxn modelId="{3F410FD6-7F90-485C-886A-05457AC00F87}" srcId="{A6596B1E-928B-4A7C-B49A-AFB94CBFAC52}" destId="{24F01548-822A-42EA-B0FF-804D729A5D31}" srcOrd="1" destOrd="0" parTransId="{499B0DF0-F556-476C-8BFF-DD035EE25BE1}" sibTransId="{B9B19298-7C97-4A0B-9C53-8976CE3828C6}"/>
    <dgm:cxn modelId="{EAE148D6-7CFA-4816-BB59-F7BD610BF49C}" type="presOf" srcId="{6100CDCD-385D-4243-97AE-FDC71C14D3CA}" destId="{15C2D8E5-4234-4D2F-83D7-2433D50BC48C}" srcOrd="0" destOrd="1" presId="urn:microsoft.com/office/officeart/2005/8/layout/vList2"/>
    <dgm:cxn modelId="{5EE5FAF4-A772-403A-A526-0AE95B39360B}" srcId="{B3A4FB73-3C18-46D3-87E9-D837A8D45F09}" destId="{5A80E3F4-BCD4-4C41-8099-8FA8F96A5C72}" srcOrd="2" destOrd="0" parTransId="{1E9D1AC2-A6CD-4D16-AC7C-1C820BD43D72}" sibTransId="{600B8831-7601-45DA-8184-E6F55A8689FC}"/>
    <dgm:cxn modelId="{486559F5-19D7-4084-82F4-DE863E031315}" type="presOf" srcId="{7187B861-6525-483B-A03D-81021C976A6B}" destId="{4E314CB7-80CB-4912-8DF0-83947C246450}" srcOrd="0" destOrd="0" presId="urn:microsoft.com/office/officeart/2005/8/layout/vList2"/>
    <dgm:cxn modelId="{AEA28672-092A-4A95-BE1F-D26F27D0AF2F}" type="presParOf" srcId="{4E314CB7-80CB-4912-8DF0-83947C246450}" destId="{8569E96C-89E1-4872-B96A-68B3882FA074}" srcOrd="0" destOrd="0" presId="urn:microsoft.com/office/officeart/2005/8/layout/vList2"/>
    <dgm:cxn modelId="{39F27A71-F1BD-4FD0-B9C6-975A7C536ADB}" type="presParOf" srcId="{4E314CB7-80CB-4912-8DF0-83947C246450}" destId="{7C562574-90DE-413E-AF61-9589D75F3460}" srcOrd="1" destOrd="0" presId="urn:microsoft.com/office/officeart/2005/8/layout/vList2"/>
    <dgm:cxn modelId="{74FC6FE1-EC63-4F75-80A1-C05107D83124}" type="presParOf" srcId="{4E314CB7-80CB-4912-8DF0-83947C246450}" destId="{D46949E3-D1D4-41A0-86EB-EA6883547214}" srcOrd="2" destOrd="0" presId="urn:microsoft.com/office/officeart/2005/8/layout/vList2"/>
    <dgm:cxn modelId="{1DBB61BE-6464-497E-AA8E-8322FCF105DD}" type="presParOf" srcId="{4E314CB7-80CB-4912-8DF0-83947C246450}" destId="{15C2D8E5-4234-4D2F-83D7-2433D50BC48C}" srcOrd="3"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945B0BB-C976-4E90-9DA6-641BC756A7BE}" type="doc">
      <dgm:prSet loTypeId="urn:microsoft.com/office/officeart/2008/layout/PictureAccentBlocks" loCatId="picture" qsTypeId="urn:microsoft.com/office/officeart/2005/8/quickstyle/simple1" qsCatId="simple" csTypeId="urn:microsoft.com/office/officeart/2005/8/colors/accent1_2" csCatId="accent1" phldr="1"/>
      <dgm:spPr/>
      <dgm:t>
        <a:bodyPr/>
        <a:lstStyle/>
        <a:p>
          <a:endParaRPr lang="fi-FI"/>
        </a:p>
      </dgm:t>
    </dgm:pt>
    <dgm:pt modelId="{9ABFD9BA-BEF4-40CA-8A25-8C571CD091D6}">
      <dgm:prSet/>
      <dgm:spPr/>
      <dgm:t>
        <a:bodyPr/>
        <a:lstStyle/>
        <a:p>
          <a:r>
            <a:rPr lang="de-DE"/>
            <a:t>Highest fine per country</a:t>
          </a:r>
          <a:endParaRPr lang="fi-FI"/>
        </a:p>
      </dgm:t>
    </dgm:pt>
    <dgm:pt modelId="{88DC981E-1C1A-44B1-9349-A5488935908D}" type="parTrans" cxnId="{6A1A4849-489B-4EA0-8040-5C45598CDA77}">
      <dgm:prSet/>
      <dgm:spPr/>
      <dgm:t>
        <a:bodyPr/>
        <a:lstStyle/>
        <a:p>
          <a:endParaRPr lang="fi-FI"/>
        </a:p>
      </dgm:t>
    </dgm:pt>
    <dgm:pt modelId="{C6094A93-1D14-4428-B514-0FAD0BFFDA47}" type="sibTrans" cxnId="{6A1A4849-489B-4EA0-8040-5C45598CDA77}">
      <dgm:prSet/>
      <dgm:spPr/>
      <dgm:t>
        <a:bodyPr/>
        <a:lstStyle/>
        <a:p>
          <a:endParaRPr lang="fi-FI"/>
        </a:p>
      </dgm:t>
    </dgm:pt>
    <dgm:pt modelId="{5F0CBEB4-CCEE-439F-ACC7-1839A9FA3972}">
      <dgm:prSet/>
      <dgm:spPr/>
      <dgm:t>
        <a:bodyPr/>
        <a:lstStyle/>
        <a:p>
          <a:r>
            <a:rPr lang="de-DE"/>
            <a:t>Total number of fines </a:t>
          </a:r>
          <a:endParaRPr lang="fi-FI"/>
        </a:p>
      </dgm:t>
    </dgm:pt>
    <dgm:pt modelId="{7311DBF4-208A-4000-A357-7C01547D1538}" type="parTrans" cxnId="{8BA3F43A-8563-49A7-8DF8-7F10CC464E7E}">
      <dgm:prSet/>
      <dgm:spPr/>
      <dgm:t>
        <a:bodyPr/>
        <a:lstStyle/>
        <a:p>
          <a:endParaRPr lang="fi-FI"/>
        </a:p>
      </dgm:t>
    </dgm:pt>
    <dgm:pt modelId="{08014B8A-FC15-4FC1-97C7-738C2FC3EFF7}" type="sibTrans" cxnId="{8BA3F43A-8563-49A7-8DF8-7F10CC464E7E}">
      <dgm:prSet/>
      <dgm:spPr/>
      <dgm:t>
        <a:bodyPr/>
        <a:lstStyle/>
        <a:p>
          <a:endParaRPr lang="fi-FI"/>
        </a:p>
      </dgm:t>
    </dgm:pt>
    <dgm:pt modelId="{6DA2A3C1-444E-428C-A022-7668035852B4}" type="pres">
      <dgm:prSet presAssocID="{7945B0BB-C976-4E90-9DA6-641BC756A7BE}" presName="Name0" presStyleCnt="0">
        <dgm:presLayoutVars>
          <dgm:dir/>
        </dgm:presLayoutVars>
      </dgm:prSet>
      <dgm:spPr/>
    </dgm:pt>
    <dgm:pt modelId="{1698B62A-4608-423F-8190-0B631CDF50E1}" type="pres">
      <dgm:prSet presAssocID="{9ABFD9BA-BEF4-40CA-8A25-8C571CD091D6}" presName="composite" presStyleCnt="0"/>
      <dgm:spPr/>
    </dgm:pt>
    <dgm:pt modelId="{7663A794-C124-47A3-8533-AEDFDC3F9D78}" type="pres">
      <dgm:prSet presAssocID="{9ABFD9BA-BEF4-40CA-8A25-8C571CD091D6}" presName="Image" presStyleLbl="alignNode1" presStyleIdx="0" presStyleCnt="2"/>
      <dgm:spPr>
        <a:blipFill rotWithShape="1">
          <a:blip xmlns:r="http://schemas.openxmlformats.org/officeDocument/2006/relationships" r:embed="rId1"/>
          <a:srcRect/>
          <a:stretch>
            <a:fillRect t="-2000" b="-2000"/>
          </a:stretch>
        </a:blipFill>
      </dgm:spPr>
    </dgm:pt>
    <dgm:pt modelId="{2D134D34-BC43-461A-9369-E111F80334B9}" type="pres">
      <dgm:prSet presAssocID="{9ABFD9BA-BEF4-40CA-8A25-8C571CD091D6}" presName="Parent" presStyleLbl="revTx" presStyleIdx="0" presStyleCnt="2">
        <dgm:presLayoutVars>
          <dgm:bulletEnabled val="1"/>
        </dgm:presLayoutVars>
      </dgm:prSet>
      <dgm:spPr/>
    </dgm:pt>
    <dgm:pt modelId="{D6D5003E-2524-46BF-A9FF-FEABDA3737F8}" type="pres">
      <dgm:prSet presAssocID="{C6094A93-1D14-4428-B514-0FAD0BFFDA47}" presName="sibTrans" presStyleCnt="0"/>
      <dgm:spPr/>
    </dgm:pt>
    <dgm:pt modelId="{69CB5B54-A8F3-4B05-8251-FCFFE9C72DBB}" type="pres">
      <dgm:prSet presAssocID="{5F0CBEB4-CCEE-439F-ACC7-1839A9FA3972}" presName="composite" presStyleCnt="0"/>
      <dgm:spPr/>
    </dgm:pt>
    <dgm:pt modelId="{CCB6AE63-4040-4C03-98C6-F5474E5DDE5A}" type="pres">
      <dgm:prSet presAssocID="{5F0CBEB4-CCEE-439F-ACC7-1839A9FA3972}" presName="Image" presStyleLbl="alignNode1" presStyleIdx="1" presStyleCnt="2"/>
      <dgm:spPr>
        <a:blipFill rotWithShape="1">
          <a:blip xmlns:r="http://schemas.openxmlformats.org/officeDocument/2006/relationships" r:embed="rId2"/>
          <a:srcRect/>
          <a:stretch>
            <a:fillRect l="-3000" r="-3000"/>
          </a:stretch>
        </a:blipFill>
      </dgm:spPr>
    </dgm:pt>
    <dgm:pt modelId="{320E6466-CF22-4634-97C5-CBFC44BEE88F}" type="pres">
      <dgm:prSet presAssocID="{5F0CBEB4-CCEE-439F-ACC7-1839A9FA3972}" presName="Parent" presStyleLbl="revTx" presStyleIdx="1" presStyleCnt="2">
        <dgm:presLayoutVars>
          <dgm:bulletEnabled val="1"/>
        </dgm:presLayoutVars>
      </dgm:prSet>
      <dgm:spPr/>
    </dgm:pt>
  </dgm:ptLst>
  <dgm:cxnLst>
    <dgm:cxn modelId="{8BA3F43A-8563-49A7-8DF8-7F10CC464E7E}" srcId="{7945B0BB-C976-4E90-9DA6-641BC756A7BE}" destId="{5F0CBEB4-CCEE-439F-ACC7-1839A9FA3972}" srcOrd="1" destOrd="0" parTransId="{7311DBF4-208A-4000-A357-7C01547D1538}" sibTransId="{08014B8A-FC15-4FC1-97C7-738C2FC3EFF7}"/>
    <dgm:cxn modelId="{6A1A4849-489B-4EA0-8040-5C45598CDA77}" srcId="{7945B0BB-C976-4E90-9DA6-641BC756A7BE}" destId="{9ABFD9BA-BEF4-40CA-8A25-8C571CD091D6}" srcOrd="0" destOrd="0" parTransId="{88DC981E-1C1A-44B1-9349-A5488935908D}" sibTransId="{C6094A93-1D14-4428-B514-0FAD0BFFDA47}"/>
    <dgm:cxn modelId="{FD267490-D1E7-41E7-9FD5-6B59B33523F3}" type="presOf" srcId="{7945B0BB-C976-4E90-9DA6-641BC756A7BE}" destId="{6DA2A3C1-444E-428C-A022-7668035852B4}" srcOrd="0" destOrd="0" presId="urn:microsoft.com/office/officeart/2008/layout/PictureAccentBlocks"/>
    <dgm:cxn modelId="{63F87BB2-DA66-4763-87F3-025140C6497D}" type="presOf" srcId="{9ABFD9BA-BEF4-40CA-8A25-8C571CD091D6}" destId="{2D134D34-BC43-461A-9369-E111F80334B9}" srcOrd="0" destOrd="0" presId="urn:microsoft.com/office/officeart/2008/layout/PictureAccentBlocks"/>
    <dgm:cxn modelId="{0E1D5CEC-42C0-41E2-B86E-58D7796A2B29}" type="presOf" srcId="{5F0CBEB4-CCEE-439F-ACC7-1839A9FA3972}" destId="{320E6466-CF22-4634-97C5-CBFC44BEE88F}" srcOrd="0" destOrd="0" presId="urn:microsoft.com/office/officeart/2008/layout/PictureAccentBlocks"/>
    <dgm:cxn modelId="{2F90E724-EBC6-4EC1-9AF6-9CDB4E40461A}" type="presParOf" srcId="{6DA2A3C1-444E-428C-A022-7668035852B4}" destId="{1698B62A-4608-423F-8190-0B631CDF50E1}" srcOrd="0" destOrd="0" presId="urn:microsoft.com/office/officeart/2008/layout/PictureAccentBlocks"/>
    <dgm:cxn modelId="{A587C54D-9A2E-4F0E-A6E6-70BDC1C5B146}" type="presParOf" srcId="{1698B62A-4608-423F-8190-0B631CDF50E1}" destId="{7663A794-C124-47A3-8533-AEDFDC3F9D78}" srcOrd="0" destOrd="0" presId="urn:microsoft.com/office/officeart/2008/layout/PictureAccentBlocks"/>
    <dgm:cxn modelId="{18ACDD3D-9756-4772-84B5-8B20B81E3867}" type="presParOf" srcId="{1698B62A-4608-423F-8190-0B631CDF50E1}" destId="{2D134D34-BC43-461A-9369-E111F80334B9}" srcOrd="1" destOrd="0" presId="urn:microsoft.com/office/officeart/2008/layout/PictureAccentBlocks"/>
    <dgm:cxn modelId="{1E0F2F83-103F-4221-AC61-5DDC666AD01B}" type="presParOf" srcId="{6DA2A3C1-444E-428C-A022-7668035852B4}" destId="{D6D5003E-2524-46BF-A9FF-FEABDA3737F8}" srcOrd="1" destOrd="0" presId="urn:microsoft.com/office/officeart/2008/layout/PictureAccentBlocks"/>
    <dgm:cxn modelId="{676C6AEF-1600-41F7-8CD2-40DB8A971F1F}" type="presParOf" srcId="{6DA2A3C1-444E-428C-A022-7668035852B4}" destId="{69CB5B54-A8F3-4B05-8251-FCFFE9C72DBB}" srcOrd="2" destOrd="0" presId="urn:microsoft.com/office/officeart/2008/layout/PictureAccentBlocks"/>
    <dgm:cxn modelId="{B91F4780-8B0D-4FDA-BFE7-8F4FCAC795DB}" type="presParOf" srcId="{69CB5B54-A8F3-4B05-8251-FCFFE9C72DBB}" destId="{CCB6AE63-4040-4C03-98C6-F5474E5DDE5A}" srcOrd="0" destOrd="0" presId="urn:microsoft.com/office/officeart/2008/layout/PictureAccentBlocks"/>
    <dgm:cxn modelId="{7047AC7A-17F5-49E7-8877-508498178ABC}" type="presParOf" srcId="{69CB5B54-A8F3-4B05-8251-FCFFE9C72DBB}" destId="{320E6466-CF22-4634-97C5-CBFC44BEE88F}" srcOrd="1" destOrd="0" presId="urn:microsoft.com/office/officeart/2008/layout/PictureAccentBlock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6EEED526-81DE-4760-81A6-C81092F0E3F8}"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AFA19B31-E9E7-4EE7-A36B-8A24CC78DDA2}">
      <dgm:prSet/>
      <dgm:spPr/>
      <dgm:t>
        <a:bodyPr/>
        <a:lstStyle/>
        <a:p>
          <a:pPr rtl="0"/>
          <a:r>
            <a:rPr lang="fi-FI" dirty="0"/>
            <a:t>Consent agreement</a:t>
          </a:r>
          <a:endParaRPr lang="en-GB" dirty="0"/>
        </a:p>
      </dgm:t>
    </dgm:pt>
    <dgm:pt modelId="{AEF6D2D7-5E31-4DB4-8F59-E68D366C1F0C}" type="parTrans" cxnId="{51E97201-B65E-465B-81A2-2B7ABF4F226B}">
      <dgm:prSet/>
      <dgm:spPr/>
      <dgm:t>
        <a:bodyPr/>
        <a:lstStyle/>
        <a:p>
          <a:endParaRPr lang="en-US"/>
        </a:p>
      </dgm:t>
    </dgm:pt>
    <dgm:pt modelId="{0FBF387C-C797-453D-923F-D96E197C5529}" type="sibTrans" cxnId="{51E97201-B65E-465B-81A2-2B7ABF4F226B}">
      <dgm:prSet/>
      <dgm:spPr/>
      <dgm:t>
        <a:bodyPr/>
        <a:lstStyle/>
        <a:p>
          <a:endParaRPr lang="en-US"/>
        </a:p>
      </dgm:t>
    </dgm:pt>
    <dgm:pt modelId="{5A8A049D-AF1E-4433-AA42-A953C984C11B}">
      <dgm:prSet/>
      <dgm:spPr/>
      <dgm:t>
        <a:bodyPr/>
        <a:lstStyle/>
        <a:p>
          <a:pPr rtl="0"/>
          <a:r>
            <a:rPr lang="fi-FI" dirty="0"/>
            <a:t>Usually mandatory audits for x years</a:t>
          </a:r>
          <a:endParaRPr lang="en-GB" dirty="0"/>
        </a:p>
      </dgm:t>
    </dgm:pt>
    <dgm:pt modelId="{F3C776DD-A531-422F-A2A2-090E6D11C5C2}" type="parTrans" cxnId="{41868E51-1AFC-40B1-8F80-1BFB4270E929}">
      <dgm:prSet/>
      <dgm:spPr/>
      <dgm:t>
        <a:bodyPr/>
        <a:lstStyle/>
        <a:p>
          <a:endParaRPr lang="en-US"/>
        </a:p>
      </dgm:t>
    </dgm:pt>
    <dgm:pt modelId="{19DB272D-7460-4894-8F14-70960DAF7E9A}" type="sibTrans" cxnId="{41868E51-1AFC-40B1-8F80-1BFB4270E929}">
      <dgm:prSet/>
      <dgm:spPr/>
      <dgm:t>
        <a:bodyPr/>
        <a:lstStyle/>
        <a:p>
          <a:endParaRPr lang="en-US"/>
        </a:p>
      </dgm:t>
    </dgm:pt>
    <dgm:pt modelId="{2CC92AA2-E0E1-475B-9E10-86C6DE7C1F7C}">
      <dgm:prSet/>
      <dgm:spPr/>
      <dgm:t>
        <a:bodyPr/>
        <a:lstStyle/>
        <a:p>
          <a:pPr rtl="0"/>
          <a:r>
            <a:rPr lang="fi-FI" dirty="0" err="1"/>
            <a:t>Usually</a:t>
          </a:r>
          <a:r>
            <a:rPr lang="fi-FI" dirty="0"/>
            <a:t> </a:t>
          </a:r>
          <a:r>
            <a:rPr lang="fi-FI" dirty="0" err="1"/>
            <a:t>agreement</a:t>
          </a:r>
          <a:r>
            <a:rPr lang="fi-FI" dirty="0"/>
            <a:t> to </a:t>
          </a:r>
          <a:r>
            <a:rPr lang="fi-FI" dirty="0" err="1"/>
            <a:t>cease</a:t>
          </a:r>
          <a:r>
            <a:rPr lang="fi-FI" dirty="0"/>
            <a:t> </a:t>
          </a:r>
          <a:r>
            <a:rPr lang="fi-FI" dirty="0" err="1"/>
            <a:t>doing</a:t>
          </a:r>
          <a:r>
            <a:rPr lang="fi-FI" dirty="0"/>
            <a:t> </a:t>
          </a:r>
          <a:r>
            <a:rPr lang="fi-FI" dirty="0" err="1"/>
            <a:t>something</a:t>
          </a:r>
          <a:r>
            <a:rPr lang="fi-FI" dirty="0"/>
            <a:t>.</a:t>
          </a:r>
          <a:endParaRPr lang="en-GB" dirty="0"/>
        </a:p>
      </dgm:t>
    </dgm:pt>
    <dgm:pt modelId="{77312D79-E4AD-4941-9CD6-D5737887492A}" type="parTrans" cxnId="{27D603D6-982C-432E-B245-DC472390258A}">
      <dgm:prSet/>
      <dgm:spPr/>
      <dgm:t>
        <a:bodyPr/>
        <a:lstStyle/>
        <a:p>
          <a:endParaRPr lang="en-US"/>
        </a:p>
      </dgm:t>
    </dgm:pt>
    <dgm:pt modelId="{2CA7C568-2B58-4CF9-849B-535E59DCE52E}" type="sibTrans" cxnId="{27D603D6-982C-432E-B245-DC472390258A}">
      <dgm:prSet/>
      <dgm:spPr/>
      <dgm:t>
        <a:bodyPr/>
        <a:lstStyle/>
        <a:p>
          <a:endParaRPr lang="en-US"/>
        </a:p>
      </dgm:t>
    </dgm:pt>
    <dgm:pt modelId="{658578E3-B9EF-4257-AC5C-9C95156E41A6}">
      <dgm:prSet/>
      <dgm:spPr/>
      <dgm:t>
        <a:bodyPr/>
        <a:lstStyle/>
        <a:p>
          <a:pPr rtl="0"/>
          <a:r>
            <a:rPr lang="fi-FI" dirty="0" err="1"/>
            <a:t>Start</a:t>
          </a:r>
          <a:r>
            <a:rPr lang="fi-FI" dirty="0"/>
            <a:t> </a:t>
          </a:r>
          <a:r>
            <a:rPr lang="fi-FI" dirty="0" err="1"/>
            <a:t>criminal</a:t>
          </a:r>
          <a:r>
            <a:rPr lang="fi-FI" dirty="0"/>
            <a:t> </a:t>
          </a:r>
          <a:r>
            <a:rPr lang="fi-FI" dirty="0" err="1"/>
            <a:t>proceedings</a:t>
          </a:r>
          <a:endParaRPr lang="en-GB" dirty="0"/>
        </a:p>
      </dgm:t>
    </dgm:pt>
    <dgm:pt modelId="{937134E1-D871-45D9-932D-22EB3E1453DC}" type="parTrans" cxnId="{7EFFE8C0-0E68-48A0-90E5-5BD348B314D3}">
      <dgm:prSet/>
      <dgm:spPr/>
      <dgm:t>
        <a:bodyPr/>
        <a:lstStyle/>
        <a:p>
          <a:endParaRPr lang="en-US"/>
        </a:p>
      </dgm:t>
    </dgm:pt>
    <dgm:pt modelId="{64101D2D-E56C-4B3F-BDC9-8793FA069AC5}" type="sibTrans" cxnId="{7EFFE8C0-0E68-48A0-90E5-5BD348B314D3}">
      <dgm:prSet/>
      <dgm:spPr/>
      <dgm:t>
        <a:bodyPr/>
        <a:lstStyle/>
        <a:p>
          <a:endParaRPr lang="en-US"/>
        </a:p>
      </dgm:t>
    </dgm:pt>
    <dgm:pt modelId="{0FF36C01-4A58-4833-8FF7-EDD374600D3A}">
      <dgm:prSet/>
      <dgm:spPr/>
      <dgm:t>
        <a:bodyPr/>
        <a:lstStyle/>
        <a:p>
          <a:pPr rtl="0"/>
          <a:r>
            <a:rPr lang="en-GB" dirty="0">
              <a:latin typeface="Euphemia" panose="020B0503040102020104" pitchFamily="34" charset="0"/>
            </a:rPr>
            <a:t>Raise objections </a:t>
          </a:r>
        </a:p>
      </dgm:t>
    </dgm:pt>
    <dgm:pt modelId="{08713FB2-D4EE-4B7D-9C99-1FA8A12F07DD}" type="parTrans" cxnId="{6C3BDD74-D18D-49ED-92C6-907A1E18BE6F}">
      <dgm:prSet/>
      <dgm:spPr/>
      <dgm:t>
        <a:bodyPr/>
        <a:lstStyle/>
        <a:p>
          <a:endParaRPr lang="en-US"/>
        </a:p>
      </dgm:t>
    </dgm:pt>
    <dgm:pt modelId="{3E9B19F0-5634-4434-AD40-D52342D9D77B}" type="sibTrans" cxnId="{6C3BDD74-D18D-49ED-92C6-907A1E18BE6F}">
      <dgm:prSet/>
      <dgm:spPr/>
      <dgm:t>
        <a:bodyPr/>
        <a:lstStyle/>
        <a:p>
          <a:endParaRPr lang="en-US"/>
        </a:p>
      </dgm:t>
    </dgm:pt>
    <dgm:pt modelId="{A5695F40-CCDB-45CF-AF6B-2339BC4EB72A}">
      <dgm:prSet/>
      <dgm:spPr/>
      <dgm:t>
        <a:bodyPr/>
        <a:lstStyle/>
        <a:p>
          <a:pPr rtl="0"/>
          <a:r>
            <a:rPr lang="en-FI" dirty="0"/>
            <a:t>Conduct investigations</a:t>
          </a:r>
          <a:endParaRPr lang="en-GB" dirty="0"/>
        </a:p>
      </dgm:t>
    </dgm:pt>
    <dgm:pt modelId="{BA8D7EF7-07F9-46BB-A47B-16997A21C298}" type="parTrans" cxnId="{E6367C25-E49A-4A40-A608-BD2C0B402BC4}">
      <dgm:prSet/>
      <dgm:spPr/>
    </dgm:pt>
    <dgm:pt modelId="{DD63BFFF-C00A-49EA-AF46-8344FAA76268}" type="sibTrans" cxnId="{E6367C25-E49A-4A40-A608-BD2C0B402BC4}">
      <dgm:prSet/>
      <dgm:spPr/>
    </dgm:pt>
    <dgm:pt modelId="{F6B994D7-AE68-47D2-BDE3-73B2D162543F}">
      <dgm:prSet/>
      <dgm:spPr/>
      <dgm:t>
        <a:bodyPr/>
        <a:lstStyle/>
        <a:p>
          <a:pPr rtl="0"/>
          <a:r>
            <a:rPr lang="en-FI" dirty="0"/>
            <a:t>Forbid certain </a:t>
          </a:r>
          <a:r>
            <a:rPr lang="en-FI" dirty="0" err="1"/>
            <a:t>processings</a:t>
          </a:r>
          <a:r>
            <a:rPr lang="en-FI" dirty="0"/>
            <a:t> </a:t>
          </a:r>
          <a:endParaRPr lang="en-GB" dirty="0"/>
        </a:p>
      </dgm:t>
    </dgm:pt>
    <dgm:pt modelId="{4E25530D-1984-4B8E-8988-1CA7FBCAA200}" type="parTrans" cxnId="{3DCDBF39-AE40-4027-A43F-C50C4D19C128}">
      <dgm:prSet/>
      <dgm:spPr/>
    </dgm:pt>
    <dgm:pt modelId="{8AEDB08D-67EA-410E-A0D9-51A8851B07B3}" type="sibTrans" cxnId="{3DCDBF39-AE40-4027-A43F-C50C4D19C128}">
      <dgm:prSet/>
      <dgm:spPr/>
    </dgm:pt>
    <dgm:pt modelId="{0D5614B0-FA59-41D3-88B9-BF58A8154B4D}" type="pres">
      <dgm:prSet presAssocID="{6EEED526-81DE-4760-81A6-C81092F0E3F8}" presName="linear" presStyleCnt="0">
        <dgm:presLayoutVars>
          <dgm:animLvl val="lvl"/>
          <dgm:resizeHandles val="exact"/>
        </dgm:presLayoutVars>
      </dgm:prSet>
      <dgm:spPr/>
    </dgm:pt>
    <dgm:pt modelId="{AEC3F00A-ECBA-4069-B652-723FC480390E}" type="pres">
      <dgm:prSet presAssocID="{0FF36C01-4A58-4833-8FF7-EDD374600D3A}" presName="parentText" presStyleLbl="node1" presStyleIdx="0" presStyleCnt="5">
        <dgm:presLayoutVars>
          <dgm:chMax val="0"/>
          <dgm:bulletEnabled val="1"/>
        </dgm:presLayoutVars>
      </dgm:prSet>
      <dgm:spPr/>
    </dgm:pt>
    <dgm:pt modelId="{E9204410-BA18-4151-B52F-B06D7855CE43}" type="pres">
      <dgm:prSet presAssocID="{3E9B19F0-5634-4434-AD40-D52342D9D77B}" presName="spacer" presStyleCnt="0"/>
      <dgm:spPr/>
    </dgm:pt>
    <dgm:pt modelId="{389D75F7-B452-4D8E-A9ED-0D07DC12A796}" type="pres">
      <dgm:prSet presAssocID="{A5695F40-CCDB-45CF-AF6B-2339BC4EB72A}" presName="parentText" presStyleLbl="node1" presStyleIdx="1" presStyleCnt="5">
        <dgm:presLayoutVars>
          <dgm:chMax val="0"/>
          <dgm:bulletEnabled val="1"/>
        </dgm:presLayoutVars>
      </dgm:prSet>
      <dgm:spPr/>
    </dgm:pt>
    <dgm:pt modelId="{F66205C7-21F6-42E0-B1B4-1FACAFB83C86}" type="pres">
      <dgm:prSet presAssocID="{DD63BFFF-C00A-49EA-AF46-8344FAA76268}" presName="spacer" presStyleCnt="0"/>
      <dgm:spPr/>
    </dgm:pt>
    <dgm:pt modelId="{28E696A5-A59F-46D8-B356-4113F5E1B39C}" type="pres">
      <dgm:prSet presAssocID="{F6B994D7-AE68-47D2-BDE3-73B2D162543F}" presName="parentText" presStyleLbl="node1" presStyleIdx="2" presStyleCnt="5">
        <dgm:presLayoutVars>
          <dgm:chMax val="0"/>
          <dgm:bulletEnabled val="1"/>
        </dgm:presLayoutVars>
      </dgm:prSet>
      <dgm:spPr/>
    </dgm:pt>
    <dgm:pt modelId="{33A2E3BD-4740-4213-9D4C-703D61245A19}" type="pres">
      <dgm:prSet presAssocID="{8AEDB08D-67EA-410E-A0D9-51A8851B07B3}" presName="spacer" presStyleCnt="0"/>
      <dgm:spPr/>
    </dgm:pt>
    <dgm:pt modelId="{2817B7BA-1FDF-4F4A-B073-6D3366318E1A}" type="pres">
      <dgm:prSet presAssocID="{AFA19B31-E9E7-4EE7-A36B-8A24CC78DDA2}" presName="parentText" presStyleLbl="node1" presStyleIdx="3" presStyleCnt="5">
        <dgm:presLayoutVars>
          <dgm:chMax val="0"/>
          <dgm:bulletEnabled val="1"/>
        </dgm:presLayoutVars>
      </dgm:prSet>
      <dgm:spPr/>
    </dgm:pt>
    <dgm:pt modelId="{78A0BF52-EBEF-42B3-95A7-9BE5ED8DE374}" type="pres">
      <dgm:prSet presAssocID="{AFA19B31-E9E7-4EE7-A36B-8A24CC78DDA2}" presName="childText" presStyleLbl="revTx" presStyleIdx="0" presStyleCnt="1">
        <dgm:presLayoutVars>
          <dgm:bulletEnabled val="1"/>
        </dgm:presLayoutVars>
      </dgm:prSet>
      <dgm:spPr/>
    </dgm:pt>
    <dgm:pt modelId="{C613DCAD-CBA7-480E-BDB2-DF4F1E969A79}" type="pres">
      <dgm:prSet presAssocID="{658578E3-B9EF-4257-AC5C-9C95156E41A6}" presName="parentText" presStyleLbl="node1" presStyleIdx="4" presStyleCnt="5">
        <dgm:presLayoutVars>
          <dgm:chMax val="0"/>
          <dgm:bulletEnabled val="1"/>
        </dgm:presLayoutVars>
      </dgm:prSet>
      <dgm:spPr/>
    </dgm:pt>
  </dgm:ptLst>
  <dgm:cxnLst>
    <dgm:cxn modelId="{51E97201-B65E-465B-81A2-2B7ABF4F226B}" srcId="{6EEED526-81DE-4760-81A6-C81092F0E3F8}" destId="{AFA19B31-E9E7-4EE7-A36B-8A24CC78DDA2}" srcOrd="3" destOrd="0" parTransId="{AEF6D2D7-5E31-4DB4-8F59-E68D366C1F0C}" sibTransId="{0FBF387C-C797-453D-923F-D96E197C5529}"/>
    <dgm:cxn modelId="{9CC00412-E01B-4B4D-BD2E-1B60E09E90E4}" type="presOf" srcId="{0FF36C01-4A58-4833-8FF7-EDD374600D3A}" destId="{AEC3F00A-ECBA-4069-B652-723FC480390E}" srcOrd="0" destOrd="0" presId="urn:microsoft.com/office/officeart/2005/8/layout/vList2"/>
    <dgm:cxn modelId="{48630820-967D-4714-B9E5-23728A8BA1CC}" type="presOf" srcId="{658578E3-B9EF-4257-AC5C-9C95156E41A6}" destId="{C613DCAD-CBA7-480E-BDB2-DF4F1E969A79}" srcOrd="0" destOrd="0" presId="urn:microsoft.com/office/officeart/2005/8/layout/vList2"/>
    <dgm:cxn modelId="{E6367C25-E49A-4A40-A608-BD2C0B402BC4}" srcId="{6EEED526-81DE-4760-81A6-C81092F0E3F8}" destId="{A5695F40-CCDB-45CF-AF6B-2339BC4EB72A}" srcOrd="1" destOrd="0" parTransId="{BA8D7EF7-07F9-46BB-A47B-16997A21C298}" sibTransId="{DD63BFFF-C00A-49EA-AF46-8344FAA76268}"/>
    <dgm:cxn modelId="{AE64832D-D91F-4819-94B1-A71F4C4471BE}" type="presOf" srcId="{2CC92AA2-E0E1-475B-9E10-86C6DE7C1F7C}" destId="{78A0BF52-EBEF-42B3-95A7-9BE5ED8DE374}" srcOrd="0" destOrd="1" presId="urn:microsoft.com/office/officeart/2005/8/layout/vList2"/>
    <dgm:cxn modelId="{3DCDBF39-AE40-4027-A43F-C50C4D19C128}" srcId="{6EEED526-81DE-4760-81A6-C81092F0E3F8}" destId="{F6B994D7-AE68-47D2-BDE3-73B2D162543F}" srcOrd="2" destOrd="0" parTransId="{4E25530D-1984-4B8E-8988-1CA7FBCAA200}" sibTransId="{8AEDB08D-67EA-410E-A0D9-51A8851B07B3}"/>
    <dgm:cxn modelId="{41868E51-1AFC-40B1-8F80-1BFB4270E929}" srcId="{AFA19B31-E9E7-4EE7-A36B-8A24CC78DDA2}" destId="{5A8A049D-AF1E-4433-AA42-A953C984C11B}" srcOrd="0" destOrd="0" parTransId="{F3C776DD-A531-422F-A2A2-090E6D11C5C2}" sibTransId="{19DB272D-7460-4894-8F14-70960DAF7E9A}"/>
    <dgm:cxn modelId="{7B579873-50F1-4D6D-B267-DD05A49366A3}" type="presOf" srcId="{6EEED526-81DE-4760-81A6-C81092F0E3F8}" destId="{0D5614B0-FA59-41D3-88B9-BF58A8154B4D}" srcOrd="0" destOrd="0" presId="urn:microsoft.com/office/officeart/2005/8/layout/vList2"/>
    <dgm:cxn modelId="{6C3BDD74-D18D-49ED-92C6-907A1E18BE6F}" srcId="{6EEED526-81DE-4760-81A6-C81092F0E3F8}" destId="{0FF36C01-4A58-4833-8FF7-EDD374600D3A}" srcOrd="0" destOrd="0" parTransId="{08713FB2-D4EE-4B7D-9C99-1FA8A12F07DD}" sibTransId="{3E9B19F0-5634-4434-AD40-D52342D9D77B}"/>
    <dgm:cxn modelId="{7ADAF376-7130-4D92-BA54-61B647D3BF84}" type="presOf" srcId="{A5695F40-CCDB-45CF-AF6B-2339BC4EB72A}" destId="{389D75F7-B452-4D8E-A9ED-0D07DC12A796}" srcOrd="0" destOrd="0" presId="urn:microsoft.com/office/officeart/2005/8/layout/vList2"/>
    <dgm:cxn modelId="{AADCB8B9-20A0-4161-9933-FA16EB22452F}" type="presOf" srcId="{F6B994D7-AE68-47D2-BDE3-73B2D162543F}" destId="{28E696A5-A59F-46D8-B356-4113F5E1B39C}" srcOrd="0" destOrd="0" presId="urn:microsoft.com/office/officeart/2005/8/layout/vList2"/>
    <dgm:cxn modelId="{7EFFE8C0-0E68-48A0-90E5-5BD348B314D3}" srcId="{6EEED526-81DE-4760-81A6-C81092F0E3F8}" destId="{658578E3-B9EF-4257-AC5C-9C95156E41A6}" srcOrd="4" destOrd="0" parTransId="{937134E1-D871-45D9-932D-22EB3E1453DC}" sibTransId="{64101D2D-E56C-4B3F-BDC9-8793FA069AC5}"/>
    <dgm:cxn modelId="{27D603D6-982C-432E-B245-DC472390258A}" srcId="{AFA19B31-E9E7-4EE7-A36B-8A24CC78DDA2}" destId="{2CC92AA2-E0E1-475B-9E10-86C6DE7C1F7C}" srcOrd="1" destOrd="0" parTransId="{77312D79-E4AD-4941-9CD6-D5737887492A}" sibTransId="{2CA7C568-2B58-4CF9-849B-535E59DCE52E}"/>
    <dgm:cxn modelId="{C663CFE8-287E-4A92-A8D3-7A0C275B32A7}" type="presOf" srcId="{5A8A049D-AF1E-4433-AA42-A953C984C11B}" destId="{78A0BF52-EBEF-42B3-95A7-9BE5ED8DE374}" srcOrd="0" destOrd="0" presId="urn:microsoft.com/office/officeart/2005/8/layout/vList2"/>
    <dgm:cxn modelId="{242177ED-3865-4251-8FC1-CB8B8CC844E9}" type="presOf" srcId="{AFA19B31-E9E7-4EE7-A36B-8A24CC78DDA2}" destId="{2817B7BA-1FDF-4F4A-B073-6D3366318E1A}" srcOrd="0" destOrd="0" presId="urn:microsoft.com/office/officeart/2005/8/layout/vList2"/>
    <dgm:cxn modelId="{B31BE89A-6F9D-4E26-A45D-EA0CFC529B82}" type="presParOf" srcId="{0D5614B0-FA59-41D3-88B9-BF58A8154B4D}" destId="{AEC3F00A-ECBA-4069-B652-723FC480390E}" srcOrd="0" destOrd="0" presId="urn:microsoft.com/office/officeart/2005/8/layout/vList2"/>
    <dgm:cxn modelId="{06BD09D6-CC5F-4831-995E-CF7BD8F27F0B}" type="presParOf" srcId="{0D5614B0-FA59-41D3-88B9-BF58A8154B4D}" destId="{E9204410-BA18-4151-B52F-B06D7855CE43}" srcOrd="1" destOrd="0" presId="urn:microsoft.com/office/officeart/2005/8/layout/vList2"/>
    <dgm:cxn modelId="{2943422C-B503-49A4-AD94-5F42C79725A6}" type="presParOf" srcId="{0D5614B0-FA59-41D3-88B9-BF58A8154B4D}" destId="{389D75F7-B452-4D8E-A9ED-0D07DC12A796}" srcOrd="2" destOrd="0" presId="urn:microsoft.com/office/officeart/2005/8/layout/vList2"/>
    <dgm:cxn modelId="{65EDDBAD-1FF1-4702-8273-90F4C7F32765}" type="presParOf" srcId="{0D5614B0-FA59-41D3-88B9-BF58A8154B4D}" destId="{F66205C7-21F6-42E0-B1B4-1FACAFB83C86}" srcOrd="3" destOrd="0" presId="urn:microsoft.com/office/officeart/2005/8/layout/vList2"/>
    <dgm:cxn modelId="{3C1549D8-5251-44B0-8682-4E0E594408AE}" type="presParOf" srcId="{0D5614B0-FA59-41D3-88B9-BF58A8154B4D}" destId="{28E696A5-A59F-46D8-B356-4113F5E1B39C}" srcOrd="4" destOrd="0" presId="urn:microsoft.com/office/officeart/2005/8/layout/vList2"/>
    <dgm:cxn modelId="{8285C21D-D20A-4F86-8663-77255D0CD488}" type="presParOf" srcId="{0D5614B0-FA59-41D3-88B9-BF58A8154B4D}" destId="{33A2E3BD-4740-4213-9D4C-703D61245A19}" srcOrd="5" destOrd="0" presId="urn:microsoft.com/office/officeart/2005/8/layout/vList2"/>
    <dgm:cxn modelId="{86612E17-9406-4D9E-8242-67B674E71177}" type="presParOf" srcId="{0D5614B0-FA59-41D3-88B9-BF58A8154B4D}" destId="{2817B7BA-1FDF-4F4A-B073-6D3366318E1A}" srcOrd="6" destOrd="0" presId="urn:microsoft.com/office/officeart/2005/8/layout/vList2"/>
    <dgm:cxn modelId="{80D628A0-EA02-4D43-A159-DCF2B799C5E8}" type="presParOf" srcId="{0D5614B0-FA59-41D3-88B9-BF58A8154B4D}" destId="{78A0BF52-EBEF-42B3-95A7-9BE5ED8DE374}" srcOrd="7" destOrd="0" presId="urn:microsoft.com/office/officeart/2005/8/layout/vList2"/>
    <dgm:cxn modelId="{B253BC0C-C639-41B7-A766-AE0D43677EDF}" type="presParOf" srcId="{0D5614B0-FA59-41D3-88B9-BF58A8154B4D}" destId="{C613DCAD-CBA7-480E-BDB2-DF4F1E969A79}"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9FFCDE55-D44A-4AFE-AE2D-ACBBDFE23319}" type="doc">
      <dgm:prSet loTypeId="urn:microsoft.com/office/officeart/2005/8/layout/vList5" loCatId="list" qsTypeId="urn:microsoft.com/office/officeart/2005/8/quickstyle/simple1" qsCatId="simple" csTypeId="urn:microsoft.com/office/officeart/2005/8/colors/accent1_2" csCatId="accent1"/>
      <dgm:spPr/>
      <dgm:t>
        <a:bodyPr/>
        <a:lstStyle/>
        <a:p>
          <a:endParaRPr lang="en-US"/>
        </a:p>
      </dgm:t>
    </dgm:pt>
    <dgm:pt modelId="{5771C99C-7257-42C2-8848-AAF0A7CA4C04}">
      <dgm:prSet/>
      <dgm:spPr/>
      <dgm:t>
        <a:bodyPr/>
        <a:lstStyle/>
        <a:p>
          <a:pPr rtl="0"/>
          <a:r>
            <a:rPr lang="fi-FI"/>
            <a:t>Secrets</a:t>
          </a:r>
          <a:endParaRPr lang="en-GB"/>
        </a:p>
      </dgm:t>
    </dgm:pt>
    <dgm:pt modelId="{58EE7C02-BFB5-49F7-84C8-85187D847EAD}" type="parTrans" cxnId="{7314FAA6-F76B-44DF-904F-BC48F153551A}">
      <dgm:prSet/>
      <dgm:spPr/>
      <dgm:t>
        <a:bodyPr/>
        <a:lstStyle/>
        <a:p>
          <a:endParaRPr lang="en-US"/>
        </a:p>
      </dgm:t>
    </dgm:pt>
    <dgm:pt modelId="{3E7C23B0-979D-4B29-8FC7-36B0AE465EC8}" type="sibTrans" cxnId="{7314FAA6-F76B-44DF-904F-BC48F153551A}">
      <dgm:prSet/>
      <dgm:spPr/>
      <dgm:t>
        <a:bodyPr/>
        <a:lstStyle/>
        <a:p>
          <a:endParaRPr lang="en-US"/>
        </a:p>
      </dgm:t>
    </dgm:pt>
    <dgm:pt modelId="{95DBCF6F-AC6E-46C3-AA38-985A1A2B46AD}">
      <dgm:prSet/>
      <dgm:spPr/>
      <dgm:t>
        <a:bodyPr/>
        <a:lstStyle/>
        <a:p>
          <a:pPr rtl="0"/>
          <a:r>
            <a:rPr lang="fi-FI"/>
            <a:t>Violation of business secrets (Ch. 30, Sec.5)</a:t>
          </a:r>
          <a:endParaRPr lang="en-GB"/>
        </a:p>
      </dgm:t>
    </dgm:pt>
    <dgm:pt modelId="{2F83FC84-37E3-4C16-97E7-503E1FF11815}" type="parTrans" cxnId="{1004D874-F332-4B60-910E-EB8709F58DDF}">
      <dgm:prSet/>
      <dgm:spPr/>
      <dgm:t>
        <a:bodyPr/>
        <a:lstStyle/>
        <a:p>
          <a:endParaRPr lang="en-US"/>
        </a:p>
      </dgm:t>
    </dgm:pt>
    <dgm:pt modelId="{B27E6516-A5DA-4946-8E78-1221A4C7F564}" type="sibTrans" cxnId="{1004D874-F332-4B60-910E-EB8709F58DDF}">
      <dgm:prSet/>
      <dgm:spPr/>
      <dgm:t>
        <a:bodyPr/>
        <a:lstStyle/>
        <a:p>
          <a:endParaRPr lang="en-US"/>
        </a:p>
      </dgm:t>
    </dgm:pt>
    <dgm:pt modelId="{ACD6F159-BCB8-4EA1-93F9-D7B9680F660A}">
      <dgm:prSet/>
      <dgm:spPr/>
      <dgm:t>
        <a:bodyPr/>
        <a:lstStyle/>
        <a:p>
          <a:pPr rtl="0"/>
          <a:r>
            <a:rPr lang="fi-FI"/>
            <a:t>Dissemination of private information (Ch. 24, Sec. 9)</a:t>
          </a:r>
          <a:endParaRPr lang="en-GB"/>
        </a:p>
      </dgm:t>
    </dgm:pt>
    <dgm:pt modelId="{D6C8D481-AAEA-4E7F-AEC5-F068A24198DB}" type="parTrans" cxnId="{6F214901-6F28-4728-8CB9-71C75CD4E0AC}">
      <dgm:prSet/>
      <dgm:spPr/>
      <dgm:t>
        <a:bodyPr/>
        <a:lstStyle/>
        <a:p>
          <a:endParaRPr lang="en-US"/>
        </a:p>
      </dgm:t>
    </dgm:pt>
    <dgm:pt modelId="{34693E02-35CA-4FD3-891E-24A98C20CD35}" type="sibTrans" cxnId="{6F214901-6F28-4728-8CB9-71C75CD4E0AC}">
      <dgm:prSet/>
      <dgm:spPr/>
      <dgm:t>
        <a:bodyPr/>
        <a:lstStyle/>
        <a:p>
          <a:endParaRPr lang="en-US"/>
        </a:p>
      </dgm:t>
    </dgm:pt>
    <dgm:pt modelId="{91A522A8-09CA-4093-AA54-6019AE58D937}">
      <dgm:prSet/>
      <dgm:spPr/>
      <dgm:t>
        <a:bodyPr/>
        <a:lstStyle/>
        <a:p>
          <a:pPr rtl="0"/>
          <a:r>
            <a:rPr lang="en-GB" dirty="0"/>
            <a:t>Breaking professional secrecy (Ch. 40, Sec 5)</a:t>
          </a:r>
        </a:p>
      </dgm:t>
    </dgm:pt>
    <dgm:pt modelId="{C00088CD-6DEE-460F-9F46-A843513DDA67}" type="parTrans" cxnId="{0864A56B-21CB-41C1-B347-CC6F85E8E72B}">
      <dgm:prSet/>
      <dgm:spPr/>
      <dgm:t>
        <a:bodyPr/>
        <a:lstStyle/>
        <a:p>
          <a:endParaRPr lang="en-US"/>
        </a:p>
      </dgm:t>
    </dgm:pt>
    <dgm:pt modelId="{E8564625-C738-45F7-B7F7-3F32295540BB}" type="sibTrans" cxnId="{0864A56B-21CB-41C1-B347-CC6F85E8E72B}">
      <dgm:prSet/>
      <dgm:spPr/>
      <dgm:t>
        <a:bodyPr/>
        <a:lstStyle/>
        <a:p>
          <a:endParaRPr lang="en-US"/>
        </a:p>
      </dgm:t>
    </dgm:pt>
    <dgm:pt modelId="{F31A11C4-A234-463F-AEFE-EA32559B986D}">
      <dgm:prSet/>
      <dgm:spPr/>
      <dgm:t>
        <a:bodyPr/>
        <a:lstStyle/>
        <a:p>
          <a:pPr rtl="0"/>
          <a:r>
            <a:rPr lang="en-GB"/>
            <a:t>Official leak secrets (Ch. 38, Sec. 1)</a:t>
          </a:r>
        </a:p>
      </dgm:t>
    </dgm:pt>
    <dgm:pt modelId="{7C279B0D-78DC-460D-A0E8-E7B85D0B6E46}" type="parTrans" cxnId="{022A01A1-FD2B-4667-B5C9-BFF4A3692F08}">
      <dgm:prSet/>
      <dgm:spPr/>
      <dgm:t>
        <a:bodyPr/>
        <a:lstStyle/>
        <a:p>
          <a:endParaRPr lang="en-US"/>
        </a:p>
      </dgm:t>
    </dgm:pt>
    <dgm:pt modelId="{533E8A7E-D531-4FCB-9974-357DEEDAD5BA}" type="sibTrans" cxnId="{022A01A1-FD2B-4667-B5C9-BFF4A3692F08}">
      <dgm:prSet/>
      <dgm:spPr/>
      <dgm:t>
        <a:bodyPr/>
        <a:lstStyle/>
        <a:p>
          <a:endParaRPr lang="en-US"/>
        </a:p>
      </dgm:t>
    </dgm:pt>
    <dgm:pt modelId="{11D43EDB-F7ED-4447-9968-6D025E47EC15}">
      <dgm:prSet/>
      <dgm:spPr/>
      <dgm:t>
        <a:bodyPr/>
        <a:lstStyle/>
        <a:p>
          <a:pPr rtl="0"/>
          <a:r>
            <a:rPr lang="fi-FI"/>
            <a:t>Communication invasion</a:t>
          </a:r>
          <a:endParaRPr lang="en-GB"/>
        </a:p>
      </dgm:t>
    </dgm:pt>
    <dgm:pt modelId="{D504BB1E-EB03-4F9C-BDA2-5D657555859B}" type="parTrans" cxnId="{A14AF52E-02A1-4D49-ACC9-C31EBC4F0C3E}">
      <dgm:prSet/>
      <dgm:spPr/>
      <dgm:t>
        <a:bodyPr/>
        <a:lstStyle/>
        <a:p>
          <a:endParaRPr lang="en-US"/>
        </a:p>
      </dgm:t>
    </dgm:pt>
    <dgm:pt modelId="{6A8DD9AB-92AD-493E-B092-061749A28898}" type="sibTrans" cxnId="{A14AF52E-02A1-4D49-ACC9-C31EBC4F0C3E}">
      <dgm:prSet/>
      <dgm:spPr/>
      <dgm:t>
        <a:bodyPr/>
        <a:lstStyle/>
        <a:p>
          <a:endParaRPr lang="en-US"/>
        </a:p>
      </dgm:t>
    </dgm:pt>
    <dgm:pt modelId="{6BB22DF1-1D99-4A41-A267-4862E3A6B058}">
      <dgm:prSet/>
      <dgm:spPr/>
      <dgm:t>
        <a:bodyPr/>
        <a:lstStyle/>
        <a:p>
          <a:pPr rtl="0"/>
          <a:r>
            <a:rPr lang="fi-FI"/>
            <a:t>Eaveesdroping (e.g. Ch.24, Sec. 5 )</a:t>
          </a:r>
          <a:endParaRPr lang="en-GB"/>
        </a:p>
      </dgm:t>
    </dgm:pt>
    <dgm:pt modelId="{D3111571-0EF6-4F41-A799-497A3AB16FF5}" type="parTrans" cxnId="{5DC44846-C36F-45B2-B1BF-AD5C9115BE3F}">
      <dgm:prSet/>
      <dgm:spPr/>
      <dgm:t>
        <a:bodyPr/>
        <a:lstStyle/>
        <a:p>
          <a:endParaRPr lang="en-US"/>
        </a:p>
      </dgm:t>
    </dgm:pt>
    <dgm:pt modelId="{A8F7F8F4-AA35-4748-B0AD-D398D37E0292}" type="sibTrans" cxnId="{5DC44846-C36F-45B2-B1BF-AD5C9115BE3F}">
      <dgm:prSet/>
      <dgm:spPr/>
      <dgm:t>
        <a:bodyPr/>
        <a:lstStyle/>
        <a:p>
          <a:endParaRPr lang="en-US"/>
        </a:p>
      </dgm:t>
    </dgm:pt>
    <dgm:pt modelId="{63C2FAB1-F31D-453C-8D60-D6DA858AF00C}">
      <dgm:prSet/>
      <dgm:spPr/>
      <dgm:t>
        <a:bodyPr/>
        <a:lstStyle/>
        <a:p>
          <a:pPr rtl="0"/>
          <a:r>
            <a:rPr lang="en-GB" dirty="0"/>
            <a:t>Message interception (Ch. 38, Sec. 3)</a:t>
          </a:r>
        </a:p>
      </dgm:t>
    </dgm:pt>
    <dgm:pt modelId="{6BB74874-8BDC-42F9-9AC9-5254D9C650ED}" type="parTrans" cxnId="{A84A81E6-EA16-4491-8623-3BE877D95D33}">
      <dgm:prSet/>
      <dgm:spPr/>
      <dgm:t>
        <a:bodyPr/>
        <a:lstStyle/>
        <a:p>
          <a:endParaRPr lang="en-US"/>
        </a:p>
      </dgm:t>
    </dgm:pt>
    <dgm:pt modelId="{78D24AD6-BEA9-490C-BAE7-32A2CC6CABDA}" type="sibTrans" cxnId="{A84A81E6-EA16-4491-8623-3BE877D95D33}">
      <dgm:prSet/>
      <dgm:spPr/>
      <dgm:t>
        <a:bodyPr/>
        <a:lstStyle/>
        <a:p>
          <a:endParaRPr lang="en-US"/>
        </a:p>
      </dgm:t>
    </dgm:pt>
    <dgm:pt modelId="{EEF8AC67-CDB3-41CC-9384-D62B15EAD4ED}">
      <dgm:prSet/>
      <dgm:spPr/>
      <dgm:t>
        <a:bodyPr/>
        <a:lstStyle/>
        <a:p>
          <a:pPr rtl="0"/>
          <a:r>
            <a:rPr lang="fi-FI"/>
            <a:t>Hacking and etc.</a:t>
          </a:r>
          <a:endParaRPr lang="en-GB"/>
        </a:p>
      </dgm:t>
    </dgm:pt>
    <dgm:pt modelId="{34BFE8A6-0A01-46F4-9F5B-B94AA64D109B}" type="parTrans" cxnId="{65C41ADE-2CC4-4022-87B0-46A9E97E6AAB}">
      <dgm:prSet/>
      <dgm:spPr/>
      <dgm:t>
        <a:bodyPr/>
        <a:lstStyle/>
        <a:p>
          <a:endParaRPr lang="en-US"/>
        </a:p>
      </dgm:t>
    </dgm:pt>
    <dgm:pt modelId="{2C975B5B-F3D1-451F-8C2F-748FC4F91E63}" type="sibTrans" cxnId="{65C41ADE-2CC4-4022-87B0-46A9E97E6AAB}">
      <dgm:prSet/>
      <dgm:spPr/>
      <dgm:t>
        <a:bodyPr/>
        <a:lstStyle/>
        <a:p>
          <a:endParaRPr lang="en-US"/>
        </a:p>
      </dgm:t>
    </dgm:pt>
    <dgm:pt modelId="{8E013884-A1B2-4304-831B-F14C5140E323}">
      <dgm:prSet/>
      <dgm:spPr/>
      <dgm:t>
        <a:bodyPr/>
        <a:lstStyle/>
        <a:p>
          <a:pPr rtl="0"/>
          <a:r>
            <a:rPr lang="en-GB"/>
            <a:t>Interference in a computer system (Ch. 38, Sec. 7a)</a:t>
          </a:r>
        </a:p>
      </dgm:t>
    </dgm:pt>
    <dgm:pt modelId="{1E38BA37-646D-4D13-9E53-4F2B953E2096}" type="parTrans" cxnId="{D1D45E66-76E7-454B-8345-696B368A793D}">
      <dgm:prSet/>
      <dgm:spPr/>
      <dgm:t>
        <a:bodyPr/>
        <a:lstStyle/>
        <a:p>
          <a:endParaRPr lang="en-US"/>
        </a:p>
      </dgm:t>
    </dgm:pt>
    <dgm:pt modelId="{EE3FA5B4-5B13-4881-9BA0-E4A4A1974D3C}" type="sibTrans" cxnId="{D1D45E66-76E7-454B-8345-696B368A793D}">
      <dgm:prSet/>
      <dgm:spPr/>
      <dgm:t>
        <a:bodyPr/>
        <a:lstStyle/>
        <a:p>
          <a:endParaRPr lang="en-US"/>
        </a:p>
      </dgm:t>
    </dgm:pt>
    <dgm:pt modelId="{1A182AEE-D5A1-4D43-A961-F304012CC999}">
      <dgm:prSet/>
      <dgm:spPr/>
      <dgm:t>
        <a:bodyPr/>
        <a:lstStyle/>
        <a:p>
          <a:pPr rtl="0"/>
          <a:r>
            <a:rPr lang="fi-FI"/>
            <a:t>Endangerment of data processing (Ch. 34, Sec.9a)</a:t>
          </a:r>
          <a:endParaRPr lang="en-GB"/>
        </a:p>
      </dgm:t>
    </dgm:pt>
    <dgm:pt modelId="{31D89E7C-F39A-4294-848B-2B4D65AD0E75}" type="parTrans" cxnId="{AE97E102-4664-4B68-A1F7-0515DB207FB8}">
      <dgm:prSet/>
      <dgm:spPr/>
      <dgm:t>
        <a:bodyPr/>
        <a:lstStyle/>
        <a:p>
          <a:endParaRPr lang="en-US"/>
        </a:p>
      </dgm:t>
    </dgm:pt>
    <dgm:pt modelId="{F412F449-07D3-431C-830A-67A70C89B801}" type="sibTrans" cxnId="{AE97E102-4664-4B68-A1F7-0515DB207FB8}">
      <dgm:prSet/>
      <dgm:spPr/>
      <dgm:t>
        <a:bodyPr/>
        <a:lstStyle/>
        <a:p>
          <a:endParaRPr lang="en-US"/>
        </a:p>
      </dgm:t>
    </dgm:pt>
    <dgm:pt modelId="{42A773E7-55F6-4E3C-AE86-F21D7D1FF532}">
      <dgm:prSet/>
      <dgm:spPr/>
      <dgm:t>
        <a:bodyPr/>
        <a:lstStyle/>
        <a:p>
          <a:pPr rtl="0"/>
          <a:r>
            <a:rPr lang="fi-FI"/>
            <a:t>Other</a:t>
          </a:r>
          <a:endParaRPr lang="en-GB"/>
        </a:p>
      </dgm:t>
    </dgm:pt>
    <dgm:pt modelId="{C78A8622-3414-414E-A667-BA14A3C1A566}" type="parTrans" cxnId="{AE6A45E0-F912-4310-9EA6-8AE5E565151D}">
      <dgm:prSet/>
      <dgm:spPr/>
      <dgm:t>
        <a:bodyPr/>
        <a:lstStyle/>
        <a:p>
          <a:endParaRPr lang="en-US"/>
        </a:p>
      </dgm:t>
    </dgm:pt>
    <dgm:pt modelId="{57179905-B7A7-43A5-8B96-6843958AEF60}" type="sibTrans" cxnId="{AE6A45E0-F912-4310-9EA6-8AE5E565151D}">
      <dgm:prSet/>
      <dgm:spPr/>
      <dgm:t>
        <a:bodyPr/>
        <a:lstStyle/>
        <a:p>
          <a:endParaRPr lang="en-US"/>
        </a:p>
      </dgm:t>
    </dgm:pt>
    <dgm:pt modelId="{091B923F-A938-4CD0-870C-4ED4BF95FAA9}">
      <dgm:prSet/>
      <dgm:spPr/>
      <dgm:t>
        <a:bodyPr/>
        <a:lstStyle/>
        <a:p>
          <a:pPr rtl="0"/>
          <a:r>
            <a:rPr lang="fi-FI"/>
            <a:t>Crimes against national security (e.g. Ch. 12, Sec. 7)</a:t>
          </a:r>
          <a:endParaRPr lang="en-GB"/>
        </a:p>
      </dgm:t>
    </dgm:pt>
    <dgm:pt modelId="{AD415D0C-C4C8-4DDC-BA4C-526E2964F101}" type="parTrans" cxnId="{31D21406-C866-477C-8386-A2F033DFD7EF}">
      <dgm:prSet/>
      <dgm:spPr/>
      <dgm:t>
        <a:bodyPr/>
        <a:lstStyle/>
        <a:p>
          <a:endParaRPr lang="en-US"/>
        </a:p>
      </dgm:t>
    </dgm:pt>
    <dgm:pt modelId="{5BB87795-D329-4FA1-B1B2-00370E9FAAC3}" type="sibTrans" cxnId="{31D21406-C866-477C-8386-A2F033DFD7EF}">
      <dgm:prSet/>
      <dgm:spPr/>
      <dgm:t>
        <a:bodyPr/>
        <a:lstStyle/>
        <a:p>
          <a:endParaRPr lang="en-US"/>
        </a:p>
      </dgm:t>
    </dgm:pt>
    <dgm:pt modelId="{627F8FAE-C89C-4C58-8A5A-E448AF244B2C}">
      <dgm:prSet/>
      <dgm:spPr/>
      <dgm:t>
        <a:bodyPr/>
        <a:lstStyle/>
        <a:p>
          <a:pPr rtl="0"/>
          <a:r>
            <a:rPr lang="fi-FI" dirty="0" err="1"/>
            <a:t>Invasion</a:t>
          </a:r>
          <a:r>
            <a:rPr lang="fi-FI" dirty="0"/>
            <a:t> of </a:t>
          </a:r>
          <a:r>
            <a:rPr lang="fi-FI" dirty="0" err="1"/>
            <a:t>privacy</a:t>
          </a:r>
          <a:r>
            <a:rPr lang="fi-FI" dirty="0"/>
            <a:t> (</a:t>
          </a:r>
          <a:r>
            <a:rPr lang="fi-FI" dirty="0" err="1"/>
            <a:t>e.g</a:t>
          </a:r>
          <a:r>
            <a:rPr lang="fi-FI" dirty="0"/>
            <a:t>. Ch.24, </a:t>
          </a:r>
          <a:r>
            <a:rPr lang="fi-FI" dirty="0" err="1"/>
            <a:t>Sec</a:t>
          </a:r>
          <a:r>
            <a:rPr lang="fi-FI" dirty="0"/>
            <a:t>. 1)</a:t>
          </a:r>
          <a:endParaRPr lang="en-GB" dirty="0"/>
        </a:p>
      </dgm:t>
    </dgm:pt>
    <dgm:pt modelId="{9E81077F-21FD-4361-846B-AE35C7D64D45}" type="parTrans" cxnId="{AE4E29B9-BC81-4287-B678-8E34DCA30E60}">
      <dgm:prSet/>
      <dgm:spPr/>
      <dgm:t>
        <a:bodyPr/>
        <a:lstStyle/>
        <a:p>
          <a:endParaRPr lang="en-US"/>
        </a:p>
      </dgm:t>
    </dgm:pt>
    <dgm:pt modelId="{78165783-0E88-4538-9BFA-9ED2A083960B}" type="sibTrans" cxnId="{AE4E29B9-BC81-4287-B678-8E34DCA30E60}">
      <dgm:prSet/>
      <dgm:spPr/>
      <dgm:t>
        <a:bodyPr/>
        <a:lstStyle/>
        <a:p>
          <a:endParaRPr lang="en-US"/>
        </a:p>
      </dgm:t>
    </dgm:pt>
    <dgm:pt modelId="{95E31CAE-236E-4871-8392-D65070FEBB8D}">
      <dgm:prSet/>
      <dgm:spPr/>
      <dgm:t>
        <a:bodyPr/>
        <a:lstStyle/>
        <a:p>
          <a:pPr rtl="0"/>
          <a:r>
            <a:rPr lang="en-GB"/>
            <a:t>Data protection offence (e.g. export of data) (Ch. 38, Sec. 9)</a:t>
          </a:r>
        </a:p>
      </dgm:t>
    </dgm:pt>
    <dgm:pt modelId="{4DF34969-408D-4AAE-9567-4C205819DEB8}" type="parTrans" cxnId="{CE9B469E-507F-4308-BB4D-7C70F2E9F775}">
      <dgm:prSet/>
      <dgm:spPr/>
      <dgm:t>
        <a:bodyPr/>
        <a:lstStyle/>
        <a:p>
          <a:endParaRPr lang="en-US"/>
        </a:p>
      </dgm:t>
    </dgm:pt>
    <dgm:pt modelId="{1EA643EA-4943-4399-B764-EEF3A4C9D247}" type="sibTrans" cxnId="{CE9B469E-507F-4308-BB4D-7C70F2E9F775}">
      <dgm:prSet/>
      <dgm:spPr/>
      <dgm:t>
        <a:bodyPr/>
        <a:lstStyle/>
        <a:p>
          <a:endParaRPr lang="en-US"/>
        </a:p>
      </dgm:t>
    </dgm:pt>
    <dgm:pt modelId="{A26D8111-BBE4-4BA7-A7C8-E244AB5A62B2}" type="pres">
      <dgm:prSet presAssocID="{9FFCDE55-D44A-4AFE-AE2D-ACBBDFE23319}" presName="Name0" presStyleCnt="0">
        <dgm:presLayoutVars>
          <dgm:dir/>
          <dgm:animLvl val="lvl"/>
          <dgm:resizeHandles val="exact"/>
        </dgm:presLayoutVars>
      </dgm:prSet>
      <dgm:spPr/>
    </dgm:pt>
    <dgm:pt modelId="{71421223-EF43-4E4C-BB9C-D729649BBFDD}" type="pres">
      <dgm:prSet presAssocID="{5771C99C-7257-42C2-8848-AAF0A7CA4C04}" presName="linNode" presStyleCnt="0"/>
      <dgm:spPr/>
    </dgm:pt>
    <dgm:pt modelId="{48BBFBF4-4011-45A0-A2DB-ED0F795087B0}" type="pres">
      <dgm:prSet presAssocID="{5771C99C-7257-42C2-8848-AAF0A7CA4C04}" presName="parentText" presStyleLbl="node1" presStyleIdx="0" presStyleCnt="4">
        <dgm:presLayoutVars>
          <dgm:chMax val="1"/>
          <dgm:bulletEnabled val="1"/>
        </dgm:presLayoutVars>
      </dgm:prSet>
      <dgm:spPr/>
    </dgm:pt>
    <dgm:pt modelId="{39244723-11C3-4F44-A88F-69385C856A37}" type="pres">
      <dgm:prSet presAssocID="{5771C99C-7257-42C2-8848-AAF0A7CA4C04}" presName="descendantText" presStyleLbl="alignAccFollowNode1" presStyleIdx="0" presStyleCnt="4">
        <dgm:presLayoutVars>
          <dgm:bulletEnabled val="1"/>
        </dgm:presLayoutVars>
      </dgm:prSet>
      <dgm:spPr/>
    </dgm:pt>
    <dgm:pt modelId="{59E74C37-802A-4D8F-BD10-C511D58CB4B7}" type="pres">
      <dgm:prSet presAssocID="{3E7C23B0-979D-4B29-8FC7-36B0AE465EC8}" presName="sp" presStyleCnt="0"/>
      <dgm:spPr/>
    </dgm:pt>
    <dgm:pt modelId="{9654B330-BAAE-441B-BB59-0D0BD98D3FCB}" type="pres">
      <dgm:prSet presAssocID="{11D43EDB-F7ED-4447-9968-6D025E47EC15}" presName="linNode" presStyleCnt="0"/>
      <dgm:spPr/>
    </dgm:pt>
    <dgm:pt modelId="{182828C9-23FE-4A0B-94C4-ACD677801481}" type="pres">
      <dgm:prSet presAssocID="{11D43EDB-F7ED-4447-9968-6D025E47EC15}" presName="parentText" presStyleLbl="node1" presStyleIdx="1" presStyleCnt="4">
        <dgm:presLayoutVars>
          <dgm:chMax val="1"/>
          <dgm:bulletEnabled val="1"/>
        </dgm:presLayoutVars>
      </dgm:prSet>
      <dgm:spPr/>
    </dgm:pt>
    <dgm:pt modelId="{F3FC28E5-FC43-43D7-9821-FE644DF76E58}" type="pres">
      <dgm:prSet presAssocID="{11D43EDB-F7ED-4447-9968-6D025E47EC15}" presName="descendantText" presStyleLbl="alignAccFollowNode1" presStyleIdx="1" presStyleCnt="4">
        <dgm:presLayoutVars>
          <dgm:bulletEnabled val="1"/>
        </dgm:presLayoutVars>
      </dgm:prSet>
      <dgm:spPr/>
    </dgm:pt>
    <dgm:pt modelId="{0495F1DB-5D27-4482-933A-6E7607503AD4}" type="pres">
      <dgm:prSet presAssocID="{6A8DD9AB-92AD-493E-B092-061749A28898}" presName="sp" presStyleCnt="0"/>
      <dgm:spPr/>
    </dgm:pt>
    <dgm:pt modelId="{CD5E3FA4-5CD7-4EFD-B08C-77048739DE74}" type="pres">
      <dgm:prSet presAssocID="{EEF8AC67-CDB3-41CC-9384-D62B15EAD4ED}" presName="linNode" presStyleCnt="0"/>
      <dgm:spPr/>
    </dgm:pt>
    <dgm:pt modelId="{3301E6EC-B870-40A6-AF8F-42D2034C26D4}" type="pres">
      <dgm:prSet presAssocID="{EEF8AC67-CDB3-41CC-9384-D62B15EAD4ED}" presName="parentText" presStyleLbl="node1" presStyleIdx="2" presStyleCnt="4">
        <dgm:presLayoutVars>
          <dgm:chMax val="1"/>
          <dgm:bulletEnabled val="1"/>
        </dgm:presLayoutVars>
      </dgm:prSet>
      <dgm:spPr/>
    </dgm:pt>
    <dgm:pt modelId="{5B7A5422-C44E-4739-8E00-7EFB54C3B367}" type="pres">
      <dgm:prSet presAssocID="{EEF8AC67-CDB3-41CC-9384-D62B15EAD4ED}" presName="descendantText" presStyleLbl="alignAccFollowNode1" presStyleIdx="2" presStyleCnt="4">
        <dgm:presLayoutVars>
          <dgm:bulletEnabled val="1"/>
        </dgm:presLayoutVars>
      </dgm:prSet>
      <dgm:spPr/>
    </dgm:pt>
    <dgm:pt modelId="{3AC5276C-3F09-4F75-BDA5-803231422729}" type="pres">
      <dgm:prSet presAssocID="{2C975B5B-F3D1-451F-8C2F-748FC4F91E63}" presName="sp" presStyleCnt="0"/>
      <dgm:spPr/>
    </dgm:pt>
    <dgm:pt modelId="{24FB70C2-0987-47CE-8ECF-C5B169A5512F}" type="pres">
      <dgm:prSet presAssocID="{42A773E7-55F6-4E3C-AE86-F21D7D1FF532}" presName="linNode" presStyleCnt="0"/>
      <dgm:spPr/>
    </dgm:pt>
    <dgm:pt modelId="{31283B14-5E84-4BED-9A0E-49C2AAE20172}" type="pres">
      <dgm:prSet presAssocID="{42A773E7-55F6-4E3C-AE86-F21D7D1FF532}" presName="parentText" presStyleLbl="node1" presStyleIdx="3" presStyleCnt="4">
        <dgm:presLayoutVars>
          <dgm:chMax val="1"/>
          <dgm:bulletEnabled val="1"/>
        </dgm:presLayoutVars>
      </dgm:prSet>
      <dgm:spPr/>
    </dgm:pt>
    <dgm:pt modelId="{B85093D1-4BA1-49A0-9DC2-0D8CE2AE6786}" type="pres">
      <dgm:prSet presAssocID="{42A773E7-55F6-4E3C-AE86-F21D7D1FF532}" presName="descendantText" presStyleLbl="alignAccFollowNode1" presStyleIdx="3" presStyleCnt="4">
        <dgm:presLayoutVars>
          <dgm:bulletEnabled val="1"/>
        </dgm:presLayoutVars>
      </dgm:prSet>
      <dgm:spPr/>
    </dgm:pt>
  </dgm:ptLst>
  <dgm:cxnLst>
    <dgm:cxn modelId="{6F214901-6F28-4728-8CB9-71C75CD4E0AC}" srcId="{5771C99C-7257-42C2-8848-AAF0A7CA4C04}" destId="{ACD6F159-BCB8-4EA1-93F9-D7B9680F660A}" srcOrd="1" destOrd="0" parTransId="{D6C8D481-AAEA-4E7F-AEC5-F068A24198DB}" sibTransId="{34693E02-35CA-4FD3-891E-24A98C20CD35}"/>
    <dgm:cxn modelId="{AE97E102-4664-4B68-A1F7-0515DB207FB8}" srcId="{EEF8AC67-CDB3-41CC-9384-D62B15EAD4ED}" destId="{1A182AEE-D5A1-4D43-A961-F304012CC999}" srcOrd="1" destOrd="0" parTransId="{31D89E7C-F39A-4294-848B-2B4D65AD0E75}" sibTransId="{F412F449-07D3-431C-830A-67A70C89B801}"/>
    <dgm:cxn modelId="{31D21406-C866-477C-8386-A2F033DFD7EF}" srcId="{42A773E7-55F6-4E3C-AE86-F21D7D1FF532}" destId="{091B923F-A938-4CD0-870C-4ED4BF95FAA9}" srcOrd="0" destOrd="0" parTransId="{AD415D0C-C4C8-4DDC-BA4C-526E2964F101}" sibTransId="{5BB87795-D329-4FA1-B1B2-00370E9FAAC3}"/>
    <dgm:cxn modelId="{06C8DA10-2032-4614-8CB2-B0B993BDD5F5}" type="presOf" srcId="{1A182AEE-D5A1-4D43-A961-F304012CC999}" destId="{5B7A5422-C44E-4739-8E00-7EFB54C3B367}" srcOrd="0" destOrd="1" presId="urn:microsoft.com/office/officeart/2005/8/layout/vList5"/>
    <dgm:cxn modelId="{58D75723-DBF1-46EB-918D-E7F815BC283A}" type="presOf" srcId="{91A522A8-09CA-4093-AA54-6019AE58D937}" destId="{39244723-11C3-4F44-A88F-69385C856A37}" srcOrd="0" destOrd="2" presId="urn:microsoft.com/office/officeart/2005/8/layout/vList5"/>
    <dgm:cxn modelId="{FDC2CC23-2C21-4A20-8648-E8FC6BFE8D98}" type="presOf" srcId="{63C2FAB1-F31D-453C-8D60-D6DA858AF00C}" destId="{F3FC28E5-FC43-43D7-9821-FE644DF76E58}" srcOrd="0" destOrd="1" presId="urn:microsoft.com/office/officeart/2005/8/layout/vList5"/>
    <dgm:cxn modelId="{EEE1B625-1BF8-4D83-AF90-2FC2EDFE45C3}" type="presOf" srcId="{9FFCDE55-D44A-4AFE-AE2D-ACBBDFE23319}" destId="{A26D8111-BBE4-4BA7-A7C8-E244AB5A62B2}" srcOrd="0" destOrd="0" presId="urn:microsoft.com/office/officeart/2005/8/layout/vList5"/>
    <dgm:cxn modelId="{A14AF52E-02A1-4D49-ACC9-C31EBC4F0C3E}" srcId="{9FFCDE55-D44A-4AFE-AE2D-ACBBDFE23319}" destId="{11D43EDB-F7ED-4447-9968-6D025E47EC15}" srcOrd="1" destOrd="0" parTransId="{D504BB1E-EB03-4F9C-BDA2-5D657555859B}" sibTransId="{6A8DD9AB-92AD-493E-B092-061749A28898}"/>
    <dgm:cxn modelId="{350E3162-CDEB-4A3F-B173-C0FFDE509BBC}" type="presOf" srcId="{8E013884-A1B2-4304-831B-F14C5140E323}" destId="{5B7A5422-C44E-4739-8E00-7EFB54C3B367}" srcOrd="0" destOrd="0" presId="urn:microsoft.com/office/officeart/2005/8/layout/vList5"/>
    <dgm:cxn modelId="{D1D45E66-76E7-454B-8345-696B368A793D}" srcId="{EEF8AC67-CDB3-41CC-9384-D62B15EAD4ED}" destId="{8E013884-A1B2-4304-831B-F14C5140E323}" srcOrd="0" destOrd="0" parTransId="{1E38BA37-646D-4D13-9E53-4F2B953E2096}" sibTransId="{EE3FA5B4-5B13-4881-9BA0-E4A4A1974D3C}"/>
    <dgm:cxn modelId="{5DC44846-C36F-45B2-B1BF-AD5C9115BE3F}" srcId="{11D43EDB-F7ED-4447-9968-6D025E47EC15}" destId="{6BB22DF1-1D99-4A41-A267-4862E3A6B058}" srcOrd="0" destOrd="0" parTransId="{D3111571-0EF6-4F41-A799-497A3AB16FF5}" sibTransId="{A8F7F8F4-AA35-4748-B0AD-D398D37E0292}"/>
    <dgm:cxn modelId="{F686C347-5081-4F54-8A96-05C08F5433B3}" type="presOf" srcId="{6BB22DF1-1D99-4A41-A267-4862E3A6B058}" destId="{F3FC28E5-FC43-43D7-9821-FE644DF76E58}" srcOrd="0" destOrd="0" presId="urn:microsoft.com/office/officeart/2005/8/layout/vList5"/>
    <dgm:cxn modelId="{0864A56B-21CB-41C1-B347-CC6F85E8E72B}" srcId="{5771C99C-7257-42C2-8848-AAF0A7CA4C04}" destId="{91A522A8-09CA-4093-AA54-6019AE58D937}" srcOrd="2" destOrd="0" parTransId="{C00088CD-6DEE-460F-9F46-A843513DDA67}" sibTransId="{E8564625-C738-45F7-B7F7-3F32295540BB}"/>
    <dgm:cxn modelId="{650DE953-41E4-4995-AD09-C8C84248CDE0}" type="presOf" srcId="{5771C99C-7257-42C2-8848-AAF0A7CA4C04}" destId="{48BBFBF4-4011-45A0-A2DB-ED0F795087B0}" srcOrd="0" destOrd="0" presId="urn:microsoft.com/office/officeart/2005/8/layout/vList5"/>
    <dgm:cxn modelId="{1004D874-F332-4B60-910E-EB8709F58DDF}" srcId="{5771C99C-7257-42C2-8848-AAF0A7CA4C04}" destId="{95DBCF6F-AC6E-46C3-AA38-985A1A2B46AD}" srcOrd="0" destOrd="0" parTransId="{2F83FC84-37E3-4C16-97E7-503E1FF11815}" sibTransId="{B27E6516-A5DA-4946-8E78-1221A4C7F564}"/>
    <dgm:cxn modelId="{AC44237D-00E0-4F19-9B2D-506C07E77ECC}" type="presOf" srcId="{42A773E7-55F6-4E3C-AE86-F21D7D1FF532}" destId="{31283B14-5E84-4BED-9A0E-49C2AAE20172}" srcOrd="0" destOrd="0" presId="urn:microsoft.com/office/officeart/2005/8/layout/vList5"/>
    <dgm:cxn modelId="{DA7C8584-CC53-497D-BBCC-9E39AC4BCDE9}" type="presOf" srcId="{11D43EDB-F7ED-4447-9968-6D025E47EC15}" destId="{182828C9-23FE-4A0B-94C4-ACD677801481}" srcOrd="0" destOrd="0" presId="urn:microsoft.com/office/officeart/2005/8/layout/vList5"/>
    <dgm:cxn modelId="{8632FF88-FA94-46A0-BAD0-46B955509312}" type="presOf" srcId="{ACD6F159-BCB8-4EA1-93F9-D7B9680F660A}" destId="{39244723-11C3-4F44-A88F-69385C856A37}" srcOrd="0" destOrd="1" presId="urn:microsoft.com/office/officeart/2005/8/layout/vList5"/>
    <dgm:cxn modelId="{A2836E8B-67F5-4BF6-935E-EF1F1A3B795A}" type="presOf" srcId="{95E31CAE-236E-4871-8392-D65070FEBB8D}" destId="{B85093D1-4BA1-49A0-9DC2-0D8CE2AE6786}" srcOrd="0" destOrd="2" presId="urn:microsoft.com/office/officeart/2005/8/layout/vList5"/>
    <dgm:cxn modelId="{CE9B469E-507F-4308-BB4D-7C70F2E9F775}" srcId="{42A773E7-55F6-4E3C-AE86-F21D7D1FF532}" destId="{95E31CAE-236E-4871-8392-D65070FEBB8D}" srcOrd="2" destOrd="0" parTransId="{4DF34969-408D-4AAE-9567-4C205819DEB8}" sibTransId="{1EA643EA-4943-4399-B764-EEF3A4C9D247}"/>
    <dgm:cxn modelId="{022A01A1-FD2B-4667-B5C9-BFF4A3692F08}" srcId="{5771C99C-7257-42C2-8848-AAF0A7CA4C04}" destId="{F31A11C4-A234-463F-AEFE-EA32559B986D}" srcOrd="3" destOrd="0" parTransId="{7C279B0D-78DC-460D-A0E8-E7B85D0B6E46}" sibTransId="{533E8A7E-D531-4FCB-9974-357DEEDAD5BA}"/>
    <dgm:cxn modelId="{7314FAA6-F76B-44DF-904F-BC48F153551A}" srcId="{9FFCDE55-D44A-4AFE-AE2D-ACBBDFE23319}" destId="{5771C99C-7257-42C2-8848-AAF0A7CA4C04}" srcOrd="0" destOrd="0" parTransId="{58EE7C02-BFB5-49F7-84C8-85187D847EAD}" sibTransId="{3E7C23B0-979D-4B29-8FC7-36B0AE465EC8}"/>
    <dgm:cxn modelId="{2F19FEA6-6CD4-450D-BF07-3C731548E934}" type="presOf" srcId="{95DBCF6F-AC6E-46C3-AA38-985A1A2B46AD}" destId="{39244723-11C3-4F44-A88F-69385C856A37}" srcOrd="0" destOrd="0" presId="urn:microsoft.com/office/officeart/2005/8/layout/vList5"/>
    <dgm:cxn modelId="{C120DEAB-013D-4901-B324-9D10E32626F0}" type="presOf" srcId="{627F8FAE-C89C-4C58-8A5A-E448AF244B2C}" destId="{B85093D1-4BA1-49A0-9DC2-0D8CE2AE6786}" srcOrd="0" destOrd="1" presId="urn:microsoft.com/office/officeart/2005/8/layout/vList5"/>
    <dgm:cxn modelId="{FDCE1DB9-CB97-4721-AAB9-8A30601F6F13}" type="presOf" srcId="{F31A11C4-A234-463F-AEFE-EA32559B986D}" destId="{39244723-11C3-4F44-A88F-69385C856A37}" srcOrd="0" destOrd="3" presId="urn:microsoft.com/office/officeart/2005/8/layout/vList5"/>
    <dgm:cxn modelId="{AE4E29B9-BC81-4287-B678-8E34DCA30E60}" srcId="{42A773E7-55F6-4E3C-AE86-F21D7D1FF532}" destId="{627F8FAE-C89C-4C58-8A5A-E448AF244B2C}" srcOrd="1" destOrd="0" parTransId="{9E81077F-21FD-4361-846B-AE35C7D64D45}" sibTransId="{78165783-0E88-4538-9BFA-9ED2A083960B}"/>
    <dgm:cxn modelId="{D5D2AAD8-6999-4D9B-A6A8-302B6473763E}" type="presOf" srcId="{091B923F-A938-4CD0-870C-4ED4BF95FAA9}" destId="{B85093D1-4BA1-49A0-9DC2-0D8CE2AE6786}" srcOrd="0" destOrd="0" presId="urn:microsoft.com/office/officeart/2005/8/layout/vList5"/>
    <dgm:cxn modelId="{65C41ADE-2CC4-4022-87B0-46A9E97E6AAB}" srcId="{9FFCDE55-D44A-4AFE-AE2D-ACBBDFE23319}" destId="{EEF8AC67-CDB3-41CC-9384-D62B15EAD4ED}" srcOrd="2" destOrd="0" parTransId="{34BFE8A6-0A01-46F4-9F5B-B94AA64D109B}" sibTransId="{2C975B5B-F3D1-451F-8C2F-748FC4F91E63}"/>
    <dgm:cxn modelId="{AE6A45E0-F912-4310-9EA6-8AE5E565151D}" srcId="{9FFCDE55-D44A-4AFE-AE2D-ACBBDFE23319}" destId="{42A773E7-55F6-4E3C-AE86-F21D7D1FF532}" srcOrd="3" destOrd="0" parTransId="{C78A8622-3414-414E-A667-BA14A3C1A566}" sibTransId="{57179905-B7A7-43A5-8B96-6843958AEF60}"/>
    <dgm:cxn modelId="{A84A81E6-EA16-4491-8623-3BE877D95D33}" srcId="{11D43EDB-F7ED-4447-9968-6D025E47EC15}" destId="{63C2FAB1-F31D-453C-8D60-D6DA858AF00C}" srcOrd="1" destOrd="0" parTransId="{6BB74874-8BDC-42F9-9AC9-5254D9C650ED}" sibTransId="{78D24AD6-BEA9-490C-BAE7-32A2CC6CABDA}"/>
    <dgm:cxn modelId="{445664EC-01D7-4AB5-9245-659E05AA4FEE}" type="presOf" srcId="{EEF8AC67-CDB3-41CC-9384-D62B15EAD4ED}" destId="{3301E6EC-B870-40A6-AF8F-42D2034C26D4}" srcOrd="0" destOrd="0" presId="urn:microsoft.com/office/officeart/2005/8/layout/vList5"/>
    <dgm:cxn modelId="{9E95160C-6BB2-4D9F-BE87-37901D32CB40}" type="presParOf" srcId="{A26D8111-BBE4-4BA7-A7C8-E244AB5A62B2}" destId="{71421223-EF43-4E4C-BB9C-D729649BBFDD}" srcOrd="0" destOrd="0" presId="urn:microsoft.com/office/officeart/2005/8/layout/vList5"/>
    <dgm:cxn modelId="{0352F8E1-A7C8-4119-8F82-5D419EF9BE51}" type="presParOf" srcId="{71421223-EF43-4E4C-BB9C-D729649BBFDD}" destId="{48BBFBF4-4011-45A0-A2DB-ED0F795087B0}" srcOrd="0" destOrd="0" presId="urn:microsoft.com/office/officeart/2005/8/layout/vList5"/>
    <dgm:cxn modelId="{2AD92303-253E-44F3-A31F-1B26C16092BD}" type="presParOf" srcId="{71421223-EF43-4E4C-BB9C-D729649BBFDD}" destId="{39244723-11C3-4F44-A88F-69385C856A37}" srcOrd="1" destOrd="0" presId="urn:microsoft.com/office/officeart/2005/8/layout/vList5"/>
    <dgm:cxn modelId="{A27C0AF4-F30B-4651-A7AD-E8F8A8C4F7E6}" type="presParOf" srcId="{A26D8111-BBE4-4BA7-A7C8-E244AB5A62B2}" destId="{59E74C37-802A-4D8F-BD10-C511D58CB4B7}" srcOrd="1" destOrd="0" presId="urn:microsoft.com/office/officeart/2005/8/layout/vList5"/>
    <dgm:cxn modelId="{823C9F79-B462-43AB-A893-7918E2A0B656}" type="presParOf" srcId="{A26D8111-BBE4-4BA7-A7C8-E244AB5A62B2}" destId="{9654B330-BAAE-441B-BB59-0D0BD98D3FCB}" srcOrd="2" destOrd="0" presId="urn:microsoft.com/office/officeart/2005/8/layout/vList5"/>
    <dgm:cxn modelId="{41785E73-7AEC-497B-8A0D-E3ADCC41B197}" type="presParOf" srcId="{9654B330-BAAE-441B-BB59-0D0BD98D3FCB}" destId="{182828C9-23FE-4A0B-94C4-ACD677801481}" srcOrd="0" destOrd="0" presId="urn:microsoft.com/office/officeart/2005/8/layout/vList5"/>
    <dgm:cxn modelId="{83EF0D7E-53FC-4036-B34B-48D8BF484AC7}" type="presParOf" srcId="{9654B330-BAAE-441B-BB59-0D0BD98D3FCB}" destId="{F3FC28E5-FC43-43D7-9821-FE644DF76E58}" srcOrd="1" destOrd="0" presId="urn:microsoft.com/office/officeart/2005/8/layout/vList5"/>
    <dgm:cxn modelId="{0C4A98AD-2E2B-4BE4-9868-896AC53CF358}" type="presParOf" srcId="{A26D8111-BBE4-4BA7-A7C8-E244AB5A62B2}" destId="{0495F1DB-5D27-4482-933A-6E7607503AD4}" srcOrd="3" destOrd="0" presId="urn:microsoft.com/office/officeart/2005/8/layout/vList5"/>
    <dgm:cxn modelId="{91F913E6-3D0D-4D60-8878-765C427586A8}" type="presParOf" srcId="{A26D8111-BBE4-4BA7-A7C8-E244AB5A62B2}" destId="{CD5E3FA4-5CD7-4EFD-B08C-77048739DE74}" srcOrd="4" destOrd="0" presId="urn:microsoft.com/office/officeart/2005/8/layout/vList5"/>
    <dgm:cxn modelId="{D758DD0F-8621-4546-86DB-55A4EB910F85}" type="presParOf" srcId="{CD5E3FA4-5CD7-4EFD-B08C-77048739DE74}" destId="{3301E6EC-B870-40A6-AF8F-42D2034C26D4}" srcOrd="0" destOrd="0" presId="urn:microsoft.com/office/officeart/2005/8/layout/vList5"/>
    <dgm:cxn modelId="{53298370-5176-4E2C-A00F-2DF6DB76F68B}" type="presParOf" srcId="{CD5E3FA4-5CD7-4EFD-B08C-77048739DE74}" destId="{5B7A5422-C44E-4739-8E00-7EFB54C3B367}" srcOrd="1" destOrd="0" presId="urn:microsoft.com/office/officeart/2005/8/layout/vList5"/>
    <dgm:cxn modelId="{778B7514-CE7C-4090-B606-C6E74A5AA749}" type="presParOf" srcId="{A26D8111-BBE4-4BA7-A7C8-E244AB5A62B2}" destId="{3AC5276C-3F09-4F75-BDA5-803231422729}" srcOrd="5" destOrd="0" presId="urn:microsoft.com/office/officeart/2005/8/layout/vList5"/>
    <dgm:cxn modelId="{ACD54AD1-34D9-426A-8994-DC4074064765}" type="presParOf" srcId="{A26D8111-BBE4-4BA7-A7C8-E244AB5A62B2}" destId="{24FB70C2-0987-47CE-8ECF-C5B169A5512F}" srcOrd="6" destOrd="0" presId="urn:microsoft.com/office/officeart/2005/8/layout/vList5"/>
    <dgm:cxn modelId="{35F2D587-6393-409D-869A-6E7D4E862E51}" type="presParOf" srcId="{24FB70C2-0987-47CE-8ECF-C5B169A5512F}" destId="{31283B14-5E84-4BED-9A0E-49C2AAE20172}" srcOrd="0" destOrd="0" presId="urn:microsoft.com/office/officeart/2005/8/layout/vList5"/>
    <dgm:cxn modelId="{E8233B28-49C2-42EF-8420-7787DCDE5102}" type="presParOf" srcId="{24FB70C2-0987-47CE-8ECF-C5B169A5512F}" destId="{B85093D1-4BA1-49A0-9DC2-0D8CE2AE6786}"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BE454DA4-9EEC-4862-B50E-732DB33CF4AD}"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C42E4A6F-7893-4EF5-94F4-2F2EF67784DE}">
      <dgm:prSet/>
      <dgm:spPr/>
      <dgm:t>
        <a:bodyPr/>
        <a:lstStyle/>
        <a:p>
          <a:r>
            <a:rPr lang="de-DE">
              <a:latin typeface="Euphemia" panose="020B0503040102020104" pitchFamily="34" charset="0"/>
            </a:rPr>
            <a:t>Direct actions</a:t>
          </a:r>
          <a:endParaRPr lang="en-FI">
            <a:latin typeface="Euphemia" panose="020B0503040102020104" pitchFamily="34" charset="0"/>
          </a:endParaRPr>
        </a:p>
      </dgm:t>
    </dgm:pt>
    <dgm:pt modelId="{139A5D69-7EC8-4394-8378-377CE4FF1BE7}" type="parTrans" cxnId="{AC63D10C-C198-4A27-AFF2-E901A0613B9C}">
      <dgm:prSet/>
      <dgm:spPr/>
      <dgm:t>
        <a:bodyPr/>
        <a:lstStyle/>
        <a:p>
          <a:endParaRPr lang="en-US"/>
        </a:p>
      </dgm:t>
    </dgm:pt>
    <dgm:pt modelId="{874DC5C1-C53F-4D6B-BE67-94E54F0C1635}" type="sibTrans" cxnId="{AC63D10C-C198-4A27-AFF2-E901A0613B9C}">
      <dgm:prSet/>
      <dgm:spPr/>
      <dgm:t>
        <a:bodyPr/>
        <a:lstStyle/>
        <a:p>
          <a:endParaRPr lang="en-US"/>
        </a:p>
      </dgm:t>
    </dgm:pt>
    <dgm:pt modelId="{F92450D7-EF02-41AD-BFFE-F0A6268923DA}">
      <dgm:prSet/>
      <dgm:spPr/>
      <dgm:t>
        <a:bodyPr/>
        <a:lstStyle/>
        <a:p>
          <a:r>
            <a:rPr lang="de-DE" dirty="0" err="1"/>
            <a:t>Using</a:t>
          </a:r>
          <a:r>
            <a:rPr lang="de-DE" dirty="0"/>
            <a:t> </a:t>
          </a:r>
          <a:r>
            <a:rPr lang="de-DE" dirty="0" err="1"/>
            <a:t>third</a:t>
          </a:r>
          <a:r>
            <a:rPr lang="de-DE" dirty="0"/>
            <a:t> </a:t>
          </a:r>
          <a:r>
            <a:rPr lang="de-DE" dirty="0" err="1"/>
            <a:t>parties</a:t>
          </a:r>
          <a:endParaRPr lang="de-DE" dirty="0"/>
        </a:p>
      </dgm:t>
    </dgm:pt>
    <dgm:pt modelId="{6E3E4828-4D57-4AA2-8045-DC4439D7BE6B}" type="parTrans" cxnId="{D5280B6A-BF3B-46EB-B0A1-D6564AD71158}">
      <dgm:prSet/>
      <dgm:spPr/>
      <dgm:t>
        <a:bodyPr/>
        <a:lstStyle/>
        <a:p>
          <a:endParaRPr lang="en-US"/>
        </a:p>
      </dgm:t>
    </dgm:pt>
    <dgm:pt modelId="{506FDEF8-9F2F-402C-AC6E-37F884CA50B6}" type="sibTrans" cxnId="{D5280B6A-BF3B-46EB-B0A1-D6564AD71158}">
      <dgm:prSet/>
      <dgm:spPr/>
      <dgm:t>
        <a:bodyPr/>
        <a:lstStyle/>
        <a:p>
          <a:endParaRPr lang="en-US"/>
        </a:p>
      </dgm:t>
    </dgm:pt>
    <dgm:pt modelId="{852D864A-B80D-447C-9E57-86193042D384}">
      <dgm:prSet/>
      <dgm:spPr/>
      <dgm:t>
        <a:bodyPr/>
        <a:lstStyle/>
        <a:p>
          <a:r>
            <a:rPr lang="en-US" dirty="0"/>
            <a:t>Art. 77: DPAs</a:t>
          </a:r>
        </a:p>
      </dgm:t>
    </dgm:pt>
    <dgm:pt modelId="{9E190F9A-2A36-4602-A58A-5AF43C588EA0}" type="parTrans" cxnId="{BE9C56D6-E0E4-47E7-9807-590A500F51AB}">
      <dgm:prSet/>
      <dgm:spPr/>
      <dgm:t>
        <a:bodyPr/>
        <a:lstStyle/>
        <a:p>
          <a:endParaRPr lang="en-US"/>
        </a:p>
      </dgm:t>
    </dgm:pt>
    <dgm:pt modelId="{06728F8B-C064-4A10-8D79-AA1A94E8A3D3}" type="sibTrans" cxnId="{BE9C56D6-E0E4-47E7-9807-590A500F51AB}">
      <dgm:prSet/>
      <dgm:spPr/>
      <dgm:t>
        <a:bodyPr/>
        <a:lstStyle/>
        <a:p>
          <a:endParaRPr lang="en-US"/>
        </a:p>
      </dgm:t>
    </dgm:pt>
    <dgm:pt modelId="{4E1F3BB9-3B19-4DF2-9B01-B26869459470}">
      <dgm:prSet/>
      <dgm:spPr/>
      <dgm:t>
        <a:bodyPr/>
        <a:lstStyle/>
        <a:p>
          <a:r>
            <a:rPr lang="en-US" dirty="0"/>
            <a:t>Art. 80: NGOs</a:t>
          </a:r>
        </a:p>
      </dgm:t>
    </dgm:pt>
    <dgm:pt modelId="{948C4516-5CA0-462A-ADFF-767CBDCA97DE}" type="parTrans" cxnId="{546626D3-7263-48C9-A2B0-984D644297E5}">
      <dgm:prSet/>
      <dgm:spPr/>
      <dgm:t>
        <a:bodyPr/>
        <a:lstStyle/>
        <a:p>
          <a:endParaRPr lang="en-US"/>
        </a:p>
      </dgm:t>
    </dgm:pt>
    <dgm:pt modelId="{20D119A4-8BF5-4374-A5B9-8D42129BF5D5}" type="sibTrans" cxnId="{546626D3-7263-48C9-A2B0-984D644297E5}">
      <dgm:prSet/>
      <dgm:spPr/>
      <dgm:t>
        <a:bodyPr/>
        <a:lstStyle/>
        <a:p>
          <a:endParaRPr lang="en-US"/>
        </a:p>
      </dgm:t>
    </dgm:pt>
    <dgm:pt modelId="{17A79948-8202-4841-BA15-BF7F85E4C819}">
      <dgm:prSet/>
      <dgm:spPr/>
      <dgm:t>
        <a:bodyPr/>
        <a:lstStyle/>
        <a:p>
          <a:r>
            <a:rPr lang="en-US" dirty="0"/>
            <a:t>Controllers/processors (Art. 79 + 82)</a:t>
          </a:r>
        </a:p>
      </dgm:t>
    </dgm:pt>
    <dgm:pt modelId="{6B52083B-157C-4E25-82BC-CF6CF4C94F3F}" type="parTrans" cxnId="{1B081DD1-F6A9-443B-8B76-AB14F633EF56}">
      <dgm:prSet/>
      <dgm:spPr/>
      <dgm:t>
        <a:bodyPr/>
        <a:lstStyle/>
        <a:p>
          <a:endParaRPr lang="en-US"/>
        </a:p>
      </dgm:t>
    </dgm:pt>
    <dgm:pt modelId="{0AD04F6A-A33B-43B0-BB7D-DD301AB0679A}" type="sibTrans" cxnId="{1B081DD1-F6A9-443B-8B76-AB14F633EF56}">
      <dgm:prSet/>
      <dgm:spPr/>
      <dgm:t>
        <a:bodyPr/>
        <a:lstStyle/>
        <a:p>
          <a:endParaRPr lang="en-US"/>
        </a:p>
      </dgm:t>
    </dgm:pt>
    <dgm:pt modelId="{C19BCDD4-D004-4645-B979-5D981B205CC5}">
      <dgm:prSet/>
      <dgm:spPr/>
      <dgm:t>
        <a:bodyPr/>
        <a:lstStyle/>
        <a:p>
          <a:r>
            <a:rPr lang="de-DE" dirty="0"/>
            <a:t>A</a:t>
          </a:r>
          <a:r>
            <a:rPr lang="en-FI" dirty="0" err="1"/>
            <a:t>gainst</a:t>
          </a:r>
          <a:r>
            <a:rPr lang="en-FI" dirty="0"/>
            <a:t> </a:t>
          </a:r>
          <a:r>
            <a:rPr lang="en-US" dirty="0"/>
            <a:t>DPAs (Art. 78)</a:t>
          </a:r>
        </a:p>
      </dgm:t>
    </dgm:pt>
    <dgm:pt modelId="{722ED35B-ECD7-4F2B-BD3B-12765A597E69}" type="parTrans" cxnId="{175AD40E-AE96-4A0F-BBCC-29A8EF7E4B84}">
      <dgm:prSet/>
      <dgm:spPr/>
      <dgm:t>
        <a:bodyPr/>
        <a:lstStyle/>
        <a:p>
          <a:endParaRPr lang="en-US"/>
        </a:p>
      </dgm:t>
    </dgm:pt>
    <dgm:pt modelId="{47F1C14B-02B6-449C-BDF1-44A1BD665945}" type="sibTrans" cxnId="{175AD40E-AE96-4A0F-BBCC-29A8EF7E4B84}">
      <dgm:prSet/>
      <dgm:spPr/>
      <dgm:t>
        <a:bodyPr/>
        <a:lstStyle/>
        <a:p>
          <a:endParaRPr lang="en-US"/>
        </a:p>
      </dgm:t>
    </dgm:pt>
    <dgm:pt modelId="{5D0C172E-1C23-44CB-9417-951AB22D62D6}" type="pres">
      <dgm:prSet presAssocID="{BE454DA4-9EEC-4862-B50E-732DB33CF4AD}" presName="Name0" presStyleCnt="0">
        <dgm:presLayoutVars>
          <dgm:dir/>
          <dgm:animLvl val="lvl"/>
          <dgm:resizeHandles val="exact"/>
        </dgm:presLayoutVars>
      </dgm:prSet>
      <dgm:spPr/>
    </dgm:pt>
    <dgm:pt modelId="{2A7E764E-DD1D-49F3-BBD4-592443F27E7B}" type="pres">
      <dgm:prSet presAssocID="{C42E4A6F-7893-4EF5-94F4-2F2EF67784DE}" presName="composite" presStyleCnt="0"/>
      <dgm:spPr/>
    </dgm:pt>
    <dgm:pt modelId="{192012AD-64E8-428F-8F2D-BEA078561909}" type="pres">
      <dgm:prSet presAssocID="{C42E4A6F-7893-4EF5-94F4-2F2EF67784DE}" presName="parTx" presStyleLbl="alignNode1" presStyleIdx="0" presStyleCnt="2" custFlipHor="1" custScaleX="100002">
        <dgm:presLayoutVars>
          <dgm:chMax val="0"/>
          <dgm:chPref val="0"/>
          <dgm:bulletEnabled val="1"/>
        </dgm:presLayoutVars>
      </dgm:prSet>
      <dgm:spPr/>
    </dgm:pt>
    <dgm:pt modelId="{82C8FBBD-DAF0-49A3-808B-6D211D6E0F65}" type="pres">
      <dgm:prSet presAssocID="{C42E4A6F-7893-4EF5-94F4-2F2EF67784DE}" presName="desTx" presStyleLbl="alignAccFollowNode1" presStyleIdx="0" presStyleCnt="2" custLinFactNeighborX="-1605">
        <dgm:presLayoutVars>
          <dgm:bulletEnabled val="1"/>
        </dgm:presLayoutVars>
      </dgm:prSet>
      <dgm:spPr/>
    </dgm:pt>
    <dgm:pt modelId="{C122A6C9-85EE-43DF-83B7-C1582D5B8D98}" type="pres">
      <dgm:prSet presAssocID="{874DC5C1-C53F-4D6B-BE67-94E54F0C1635}" presName="space" presStyleCnt="0"/>
      <dgm:spPr/>
    </dgm:pt>
    <dgm:pt modelId="{971FB798-7466-4B7B-9C6F-245FBFB7C71F}" type="pres">
      <dgm:prSet presAssocID="{F92450D7-EF02-41AD-BFFE-F0A6268923DA}" presName="composite" presStyleCnt="0"/>
      <dgm:spPr/>
    </dgm:pt>
    <dgm:pt modelId="{48017AF2-ABA2-4CFC-A315-BE45AB07C723}" type="pres">
      <dgm:prSet presAssocID="{F92450D7-EF02-41AD-BFFE-F0A6268923DA}" presName="parTx" presStyleLbl="alignNode1" presStyleIdx="1" presStyleCnt="2">
        <dgm:presLayoutVars>
          <dgm:chMax val="0"/>
          <dgm:chPref val="0"/>
          <dgm:bulletEnabled val="1"/>
        </dgm:presLayoutVars>
      </dgm:prSet>
      <dgm:spPr/>
    </dgm:pt>
    <dgm:pt modelId="{A8E8D2E8-3B7E-45BB-964B-98DD8C4BF7CB}" type="pres">
      <dgm:prSet presAssocID="{F92450D7-EF02-41AD-BFFE-F0A6268923DA}" presName="desTx" presStyleLbl="alignAccFollowNode1" presStyleIdx="1" presStyleCnt="2" custLinFactNeighborX="1605">
        <dgm:presLayoutVars>
          <dgm:bulletEnabled val="1"/>
        </dgm:presLayoutVars>
      </dgm:prSet>
      <dgm:spPr/>
    </dgm:pt>
  </dgm:ptLst>
  <dgm:cxnLst>
    <dgm:cxn modelId="{411FCA05-69BC-4DDE-9BC7-C49BD8E2CDD3}" type="presOf" srcId="{17A79948-8202-4841-BA15-BF7F85E4C819}" destId="{82C8FBBD-DAF0-49A3-808B-6D211D6E0F65}" srcOrd="0" destOrd="0" presId="urn:microsoft.com/office/officeart/2005/8/layout/hList1"/>
    <dgm:cxn modelId="{AC63D10C-C198-4A27-AFF2-E901A0613B9C}" srcId="{BE454DA4-9EEC-4862-B50E-732DB33CF4AD}" destId="{C42E4A6F-7893-4EF5-94F4-2F2EF67784DE}" srcOrd="0" destOrd="0" parTransId="{139A5D69-7EC8-4394-8378-377CE4FF1BE7}" sibTransId="{874DC5C1-C53F-4D6B-BE67-94E54F0C1635}"/>
    <dgm:cxn modelId="{175AD40E-AE96-4A0F-BBCC-29A8EF7E4B84}" srcId="{C42E4A6F-7893-4EF5-94F4-2F2EF67784DE}" destId="{C19BCDD4-D004-4645-B979-5D981B205CC5}" srcOrd="1" destOrd="0" parTransId="{722ED35B-ECD7-4F2B-BD3B-12765A597E69}" sibTransId="{47F1C14B-02B6-449C-BDF1-44A1BD665945}"/>
    <dgm:cxn modelId="{486EF119-3B84-4AFB-9EA2-53BC89FECA82}" type="presOf" srcId="{C42E4A6F-7893-4EF5-94F4-2F2EF67784DE}" destId="{192012AD-64E8-428F-8F2D-BEA078561909}" srcOrd="0" destOrd="0" presId="urn:microsoft.com/office/officeart/2005/8/layout/hList1"/>
    <dgm:cxn modelId="{A407E725-2453-472B-80FE-527337E47AF0}" type="presOf" srcId="{BE454DA4-9EEC-4862-B50E-732DB33CF4AD}" destId="{5D0C172E-1C23-44CB-9417-951AB22D62D6}" srcOrd="0" destOrd="0" presId="urn:microsoft.com/office/officeart/2005/8/layout/hList1"/>
    <dgm:cxn modelId="{62BEB42A-FD6C-47AF-9972-879380622D6A}" type="presOf" srcId="{F92450D7-EF02-41AD-BFFE-F0A6268923DA}" destId="{48017AF2-ABA2-4CFC-A315-BE45AB07C723}" srcOrd="0" destOrd="0" presId="urn:microsoft.com/office/officeart/2005/8/layout/hList1"/>
    <dgm:cxn modelId="{D5280B6A-BF3B-46EB-B0A1-D6564AD71158}" srcId="{BE454DA4-9EEC-4862-B50E-732DB33CF4AD}" destId="{F92450D7-EF02-41AD-BFFE-F0A6268923DA}" srcOrd="1" destOrd="0" parTransId="{6E3E4828-4D57-4AA2-8045-DC4439D7BE6B}" sibTransId="{506FDEF8-9F2F-402C-AC6E-37F884CA50B6}"/>
    <dgm:cxn modelId="{EC5B687E-4C04-4363-868C-79F430E4D7FC}" type="presOf" srcId="{4E1F3BB9-3B19-4DF2-9B01-B26869459470}" destId="{A8E8D2E8-3B7E-45BB-964B-98DD8C4BF7CB}" srcOrd="0" destOrd="1" presId="urn:microsoft.com/office/officeart/2005/8/layout/hList1"/>
    <dgm:cxn modelId="{8C7EDAB3-E313-4A00-8272-4B1D8F32B493}" type="presOf" srcId="{C19BCDD4-D004-4645-B979-5D981B205CC5}" destId="{82C8FBBD-DAF0-49A3-808B-6D211D6E0F65}" srcOrd="0" destOrd="1" presId="urn:microsoft.com/office/officeart/2005/8/layout/hList1"/>
    <dgm:cxn modelId="{039EA4BF-9C25-4137-A279-EF4D0B52D2AD}" type="presOf" srcId="{852D864A-B80D-447C-9E57-86193042D384}" destId="{A8E8D2E8-3B7E-45BB-964B-98DD8C4BF7CB}" srcOrd="0" destOrd="0" presId="urn:microsoft.com/office/officeart/2005/8/layout/hList1"/>
    <dgm:cxn modelId="{1B081DD1-F6A9-443B-8B76-AB14F633EF56}" srcId="{C42E4A6F-7893-4EF5-94F4-2F2EF67784DE}" destId="{17A79948-8202-4841-BA15-BF7F85E4C819}" srcOrd="0" destOrd="0" parTransId="{6B52083B-157C-4E25-82BC-CF6CF4C94F3F}" sibTransId="{0AD04F6A-A33B-43B0-BB7D-DD301AB0679A}"/>
    <dgm:cxn modelId="{546626D3-7263-48C9-A2B0-984D644297E5}" srcId="{F92450D7-EF02-41AD-BFFE-F0A6268923DA}" destId="{4E1F3BB9-3B19-4DF2-9B01-B26869459470}" srcOrd="1" destOrd="0" parTransId="{948C4516-5CA0-462A-ADFF-767CBDCA97DE}" sibTransId="{20D119A4-8BF5-4374-A5B9-8D42129BF5D5}"/>
    <dgm:cxn modelId="{BE9C56D6-E0E4-47E7-9807-590A500F51AB}" srcId="{F92450D7-EF02-41AD-BFFE-F0A6268923DA}" destId="{852D864A-B80D-447C-9E57-86193042D384}" srcOrd="0" destOrd="0" parTransId="{9E190F9A-2A36-4602-A58A-5AF43C588EA0}" sibTransId="{06728F8B-C064-4A10-8D79-AA1A94E8A3D3}"/>
    <dgm:cxn modelId="{1334AEB2-B4F8-4368-BBDB-62D67383E5FE}" type="presParOf" srcId="{5D0C172E-1C23-44CB-9417-951AB22D62D6}" destId="{2A7E764E-DD1D-49F3-BBD4-592443F27E7B}" srcOrd="0" destOrd="0" presId="urn:microsoft.com/office/officeart/2005/8/layout/hList1"/>
    <dgm:cxn modelId="{D6D20F7E-1DB6-4C2D-988A-AF3CC3A7BA16}" type="presParOf" srcId="{2A7E764E-DD1D-49F3-BBD4-592443F27E7B}" destId="{192012AD-64E8-428F-8F2D-BEA078561909}" srcOrd="0" destOrd="0" presId="urn:microsoft.com/office/officeart/2005/8/layout/hList1"/>
    <dgm:cxn modelId="{2355A2F8-2B52-473F-84A4-6DA69BE3F016}" type="presParOf" srcId="{2A7E764E-DD1D-49F3-BBD4-592443F27E7B}" destId="{82C8FBBD-DAF0-49A3-808B-6D211D6E0F65}" srcOrd="1" destOrd="0" presId="urn:microsoft.com/office/officeart/2005/8/layout/hList1"/>
    <dgm:cxn modelId="{25E72CD6-1379-40CF-B63D-D47FFEA0D7E1}" type="presParOf" srcId="{5D0C172E-1C23-44CB-9417-951AB22D62D6}" destId="{C122A6C9-85EE-43DF-83B7-C1582D5B8D98}" srcOrd="1" destOrd="0" presId="urn:microsoft.com/office/officeart/2005/8/layout/hList1"/>
    <dgm:cxn modelId="{A2061951-3CA7-4CBD-8A62-40D0DE78694E}" type="presParOf" srcId="{5D0C172E-1C23-44CB-9417-951AB22D62D6}" destId="{971FB798-7466-4B7B-9C6F-245FBFB7C71F}" srcOrd="2" destOrd="0" presId="urn:microsoft.com/office/officeart/2005/8/layout/hList1"/>
    <dgm:cxn modelId="{5DC61136-95E9-4A58-9F54-2109ED14D390}" type="presParOf" srcId="{971FB798-7466-4B7B-9C6F-245FBFB7C71F}" destId="{48017AF2-ABA2-4CFC-A315-BE45AB07C723}" srcOrd="0" destOrd="0" presId="urn:microsoft.com/office/officeart/2005/8/layout/hList1"/>
    <dgm:cxn modelId="{0732D13A-205E-4481-84F5-C03372DC8FFB}" type="presParOf" srcId="{971FB798-7466-4B7B-9C6F-245FBFB7C71F}" destId="{A8E8D2E8-3B7E-45BB-964B-98DD8C4BF7CB}"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BE454DA4-9EEC-4862-B50E-732DB33CF4AD}"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en-US"/>
        </a:p>
      </dgm:t>
    </dgm:pt>
    <dgm:pt modelId="{C42E4A6F-7893-4EF5-94F4-2F2EF67784DE}">
      <dgm:prSet/>
      <dgm:spPr/>
      <dgm:t>
        <a:bodyPr/>
        <a:lstStyle/>
        <a:p>
          <a:r>
            <a:rPr lang="de-DE" dirty="0"/>
            <a:t>Art. 77: DPAs</a:t>
          </a:r>
          <a:endParaRPr lang="en-FI" dirty="0"/>
        </a:p>
      </dgm:t>
    </dgm:pt>
    <dgm:pt modelId="{139A5D69-7EC8-4394-8378-377CE4FF1BE7}" type="parTrans" cxnId="{AC63D10C-C198-4A27-AFF2-E901A0613B9C}">
      <dgm:prSet/>
      <dgm:spPr/>
      <dgm:t>
        <a:bodyPr/>
        <a:lstStyle/>
        <a:p>
          <a:endParaRPr lang="en-US"/>
        </a:p>
      </dgm:t>
    </dgm:pt>
    <dgm:pt modelId="{874DC5C1-C53F-4D6B-BE67-94E54F0C1635}" type="sibTrans" cxnId="{AC63D10C-C198-4A27-AFF2-E901A0613B9C}">
      <dgm:prSet/>
      <dgm:spPr/>
      <dgm:t>
        <a:bodyPr/>
        <a:lstStyle/>
        <a:p>
          <a:endParaRPr lang="en-US"/>
        </a:p>
      </dgm:t>
    </dgm:pt>
    <dgm:pt modelId="{F92450D7-EF02-41AD-BFFE-F0A6268923DA}">
      <dgm:prSet/>
      <dgm:spPr/>
      <dgm:t>
        <a:bodyPr/>
        <a:lstStyle/>
        <a:p>
          <a:r>
            <a:rPr lang="de-DE" dirty="0"/>
            <a:t>Art. 80 NGOs</a:t>
          </a:r>
          <a:endParaRPr lang="en-FI" dirty="0"/>
        </a:p>
      </dgm:t>
    </dgm:pt>
    <dgm:pt modelId="{6E3E4828-4D57-4AA2-8045-DC4439D7BE6B}" type="parTrans" cxnId="{D5280B6A-BF3B-46EB-B0A1-D6564AD71158}">
      <dgm:prSet/>
      <dgm:spPr/>
      <dgm:t>
        <a:bodyPr/>
        <a:lstStyle/>
        <a:p>
          <a:endParaRPr lang="en-US"/>
        </a:p>
      </dgm:t>
    </dgm:pt>
    <dgm:pt modelId="{506FDEF8-9F2F-402C-AC6E-37F884CA50B6}" type="sibTrans" cxnId="{D5280B6A-BF3B-46EB-B0A1-D6564AD71158}">
      <dgm:prSet/>
      <dgm:spPr/>
      <dgm:t>
        <a:bodyPr/>
        <a:lstStyle/>
        <a:p>
          <a:endParaRPr lang="en-US"/>
        </a:p>
      </dgm:t>
    </dgm:pt>
    <dgm:pt modelId="{852D864A-B80D-447C-9E57-86193042D384}">
      <dgm:prSet/>
      <dgm:spPr/>
      <dgm:t>
        <a:bodyPr/>
        <a:lstStyle/>
        <a:p>
          <a:r>
            <a:rPr lang="en-US" dirty="0"/>
            <a:t>Non-profits can exercise rights for individuals</a:t>
          </a:r>
        </a:p>
      </dgm:t>
    </dgm:pt>
    <dgm:pt modelId="{9E190F9A-2A36-4602-A58A-5AF43C588EA0}" type="parTrans" cxnId="{BE9C56D6-E0E4-47E7-9807-590A500F51AB}">
      <dgm:prSet/>
      <dgm:spPr/>
      <dgm:t>
        <a:bodyPr/>
        <a:lstStyle/>
        <a:p>
          <a:endParaRPr lang="en-US"/>
        </a:p>
      </dgm:t>
    </dgm:pt>
    <dgm:pt modelId="{06728F8B-C064-4A10-8D79-AA1A94E8A3D3}" type="sibTrans" cxnId="{BE9C56D6-E0E4-47E7-9807-590A500F51AB}">
      <dgm:prSet/>
      <dgm:spPr/>
      <dgm:t>
        <a:bodyPr/>
        <a:lstStyle/>
        <a:p>
          <a:endParaRPr lang="en-US"/>
        </a:p>
      </dgm:t>
    </dgm:pt>
    <dgm:pt modelId="{17A79948-8202-4841-BA15-BF7F85E4C819}">
      <dgm:prSet/>
      <dgm:spPr/>
      <dgm:t>
        <a:bodyPr/>
        <a:lstStyle/>
        <a:p>
          <a:r>
            <a:rPr lang="en-US" dirty="0"/>
            <a:t>Place of living, working or alleged infringement</a:t>
          </a:r>
        </a:p>
      </dgm:t>
    </dgm:pt>
    <dgm:pt modelId="{6B52083B-157C-4E25-82BC-CF6CF4C94F3F}" type="parTrans" cxnId="{1B081DD1-F6A9-443B-8B76-AB14F633EF56}">
      <dgm:prSet/>
      <dgm:spPr/>
      <dgm:t>
        <a:bodyPr/>
        <a:lstStyle/>
        <a:p>
          <a:endParaRPr lang="en-US"/>
        </a:p>
      </dgm:t>
    </dgm:pt>
    <dgm:pt modelId="{0AD04F6A-A33B-43B0-BB7D-DD301AB0679A}" type="sibTrans" cxnId="{1B081DD1-F6A9-443B-8B76-AB14F633EF56}">
      <dgm:prSet/>
      <dgm:spPr/>
      <dgm:t>
        <a:bodyPr/>
        <a:lstStyle/>
        <a:p>
          <a:endParaRPr lang="en-US"/>
        </a:p>
      </dgm:t>
    </dgm:pt>
    <dgm:pt modelId="{A4319C43-EA25-4149-9A1E-7DDC56FEEDE2}">
      <dgm:prSet/>
      <dgm:spPr/>
      <dgm:t>
        <a:bodyPr/>
        <a:lstStyle/>
        <a:p>
          <a:r>
            <a:rPr lang="en-US" dirty="0"/>
            <a:t>DPAs must investigate (=&gt; 78)</a:t>
          </a:r>
        </a:p>
      </dgm:t>
    </dgm:pt>
    <dgm:pt modelId="{21540CA5-E8F6-4E89-9E4E-A3296DA96026}" type="parTrans" cxnId="{65622FB9-D30A-4575-9996-F5E51FF26989}">
      <dgm:prSet/>
      <dgm:spPr/>
      <dgm:t>
        <a:bodyPr/>
        <a:lstStyle/>
        <a:p>
          <a:endParaRPr lang="de-DE"/>
        </a:p>
      </dgm:t>
    </dgm:pt>
    <dgm:pt modelId="{5497FBD6-AC9D-432F-B9AF-79A24E7725E0}" type="sibTrans" cxnId="{65622FB9-D30A-4575-9996-F5E51FF26989}">
      <dgm:prSet/>
      <dgm:spPr/>
      <dgm:t>
        <a:bodyPr/>
        <a:lstStyle/>
        <a:p>
          <a:endParaRPr lang="de-DE"/>
        </a:p>
      </dgm:t>
    </dgm:pt>
    <dgm:pt modelId="{FB3072E5-6209-465A-9FF0-00A75D76AC78}">
      <dgm:prSet/>
      <dgm:spPr/>
      <dgm:t>
        <a:bodyPr/>
        <a:lstStyle/>
        <a:p>
          <a:endParaRPr lang="en-US" dirty="0"/>
        </a:p>
      </dgm:t>
    </dgm:pt>
    <dgm:pt modelId="{AE6604F6-ADE2-4DE2-A1D3-8CE5EAF29BF5}" type="parTrans" cxnId="{2045F624-8D9D-4999-878A-52780CB4EAD3}">
      <dgm:prSet/>
      <dgm:spPr/>
      <dgm:t>
        <a:bodyPr/>
        <a:lstStyle/>
        <a:p>
          <a:endParaRPr lang="de-DE"/>
        </a:p>
      </dgm:t>
    </dgm:pt>
    <dgm:pt modelId="{A9D597FC-1E5A-48E0-95BC-FF4A7A5737DF}" type="sibTrans" cxnId="{2045F624-8D9D-4999-878A-52780CB4EAD3}">
      <dgm:prSet/>
      <dgm:spPr/>
      <dgm:t>
        <a:bodyPr/>
        <a:lstStyle/>
        <a:p>
          <a:endParaRPr lang="de-DE"/>
        </a:p>
      </dgm:t>
    </dgm:pt>
    <dgm:pt modelId="{BC879D67-240F-46AF-AC1E-7C8FCE5B5144}">
      <dgm:prSet/>
      <dgm:spPr/>
      <dgm:t>
        <a:bodyPr/>
        <a:lstStyle/>
        <a:p>
          <a:r>
            <a:rPr lang="en-US" dirty="0"/>
            <a:t>DPA must inform about outcome</a:t>
          </a:r>
        </a:p>
      </dgm:t>
    </dgm:pt>
    <dgm:pt modelId="{CAA23B50-203D-4C92-8B33-E8D28B934EE1}" type="parTrans" cxnId="{28545731-5BD0-4758-A4F6-8CD57A1C13F3}">
      <dgm:prSet/>
      <dgm:spPr/>
      <dgm:t>
        <a:bodyPr/>
        <a:lstStyle/>
        <a:p>
          <a:endParaRPr lang="de-DE"/>
        </a:p>
      </dgm:t>
    </dgm:pt>
    <dgm:pt modelId="{DAA9B2A8-687C-4AF9-BC4C-AC6B37C3E96B}" type="sibTrans" cxnId="{28545731-5BD0-4758-A4F6-8CD57A1C13F3}">
      <dgm:prSet/>
      <dgm:spPr/>
      <dgm:t>
        <a:bodyPr/>
        <a:lstStyle/>
        <a:p>
          <a:endParaRPr lang="de-DE"/>
        </a:p>
      </dgm:t>
    </dgm:pt>
    <dgm:pt modelId="{DFCF70D6-4C4D-47DF-BB94-2015821F274D}">
      <dgm:prSet/>
      <dgm:spPr/>
      <dgm:t>
        <a:bodyPr/>
        <a:lstStyle/>
        <a:p>
          <a:r>
            <a:rPr lang="en-US" dirty="0"/>
            <a:t>With mandate</a:t>
          </a:r>
        </a:p>
      </dgm:t>
    </dgm:pt>
    <dgm:pt modelId="{AB1E48F8-5587-4F0F-8182-0067C7DFC291}" type="parTrans" cxnId="{DD669281-1E09-435B-8976-B91F9D49A894}">
      <dgm:prSet/>
      <dgm:spPr/>
      <dgm:t>
        <a:bodyPr/>
        <a:lstStyle/>
        <a:p>
          <a:endParaRPr lang="de-DE"/>
        </a:p>
      </dgm:t>
    </dgm:pt>
    <dgm:pt modelId="{A5EE8CB0-C07F-46D4-A417-ADF3B71EADC9}" type="sibTrans" cxnId="{DD669281-1E09-435B-8976-B91F9D49A894}">
      <dgm:prSet/>
      <dgm:spPr/>
      <dgm:t>
        <a:bodyPr/>
        <a:lstStyle/>
        <a:p>
          <a:endParaRPr lang="de-DE"/>
        </a:p>
      </dgm:t>
    </dgm:pt>
    <dgm:pt modelId="{1FF1E03D-B84C-4F7A-A56C-52F623066E94}">
      <dgm:prSet/>
      <dgm:spPr/>
      <dgm:t>
        <a:bodyPr/>
        <a:lstStyle/>
        <a:p>
          <a:r>
            <a:rPr lang="en-US" dirty="0"/>
            <a:t>Without mandate! Where provided by MS law. </a:t>
          </a:r>
        </a:p>
      </dgm:t>
    </dgm:pt>
    <dgm:pt modelId="{D1971156-6299-4690-BE21-CB904F737F71}" type="parTrans" cxnId="{00393D92-17D3-439B-885E-B7E03C267BAE}">
      <dgm:prSet/>
      <dgm:spPr/>
      <dgm:t>
        <a:bodyPr/>
        <a:lstStyle/>
        <a:p>
          <a:endParaRPr lang="de-DE"/>
        </a:p>
      </dgm:t>
    </dgm:pt>
    <dgm:pt modelId="{808B9440-4208-48FD-9F8D-B312A734B733}" type="sibTrans" cxnId="{00393D92-17D3-439B-885E-B7E03C267BAE}">
      <dgm:prSet/>
      <dgm:spPr/>
      <dgm:t>
        <a:bodyPr/>
        <a:lstStyle/>
        <a:p>
          <a:endParaRPr lang="de-DE"/>
        </a:p>
      </dgm:t>
    </dgm:pt>
    <dgm:pt modelId="{5D0C172E-1C23-44CB-9417-951AB22D62D6}" type="pres">
      <dgm:prSet presAssocID="{BE454DA4-9EEC-4862-B50E-732DB33CF4AD}" presName="Name0" presStyleCnt="0">
        <dgm:presLayoutVars>
          <dgm:dir/>
          <dgm:animLvl val="lvl"/>
          <dgm:resizeHandles val="exact"/>
        </dgm:presLayoutVars>
      </dgm:prSet>
      <dgm:spPr/>
    </dgm:pt>
    <dgm:pt modelId="{2A7E764E-DD1D-49F3-BBD4-592443F27E7B}" type="pres">
      <dgm:prSet presAssocID="{C42E4A6F-7893-4EF5-94F4-2F2EF67784DE}" presName="composite" presStyleCnt="0"/>
      <dgm:spPr/>
    </dgm:pt>
    <dgm:pt modelId="{192012AD-64E8-428F-8F2D-BEA078561909}" type="pres">
      <dgm:prSet presAssocID="{C42E4A6F-7893-4EF5-94F4-2F2EF67784DE}" presName="parTx" presStyleLbl="alignNode1" presStyleIdx="0" presStyleCnt="2">
        <dgm:presLayoutVars>
          <dgm:chMax val="0"/>
          <dgm:chPref val="0"/>
          <dgm:bulletEnabled val="1"/>
        </dgm:presLayoutVars>
      </dgm:prSet>
      <dgm:spPr/>
    </dgm:pt>
    <dgm:pt modelId="{82C8FBBD-DAF0-49A3-808B-6D211D6E0F65}" type="pres">
      <dgm:prSet presAssocID="{C42E4A6F-7893-4EF5-94F4-2F2EF67784DE}" presName="desTx" presStyleLbl="alignAccFollowNode1" presStyleIdx="0" presStyleCnt="2" custScaleX="100885" custScaleY="103637" custLinFactNeighborX="-1605">
        <dgm:presLayoutVars>
          <dgm:bulletEnabled val="1"/>
        </dgm:presLayoutVars>
      </dgm:prSet>
      <dgm:spPr/>
    </dgm:pt>
    <dgm:pt modelId="{C122A6C9-85EE-43DF-83B7-C1582D5B8D98}" type="pres">
      <dgm:prSet presAssocID="{874DC5C1-C53F-4D6B-BE67-94E54F0C1635}" presName="space" presStyleCnt="0"/>
      <dgm:spPr/>
    </dgm:pt>
    <dgm:pt modelId="{971FB798-7466-4B7B-9C6F-245FBFB7C71F}" type="pres">
      <dgm:prSet presAssocID="{F92450D7-EF02-41AD-BFFE-F0A6268923DA}" presName="composite" presStyleCnt="0"/>
      <dgm:spPr/>
    </dgm:pt>
    <dgm:pt modelId="{48017AF2-ABA2-4CFC-A315-BE45AB07C723}" type="pres">
      <dgm:prSet presAssocID="{F92450D7-EF02-41AD-BFFE-F0A6268923DA}" presName="parTx" presStyleLbl="alignNode1" presStyleIdx="1" presStyleCnt="2">
        <dgm:presLayoutVars>
          <dgm:chMax val="0"/>
          <dgm:chPref val="0"/>
          <dgm:bulletEnabled val="1"/>
        </dgm:presLayoutVars>
      </dgm:prSet>
      <dgm:spPr/>
    </dgm:pt>
    <dgm:pt modelId="{A8E8D2E8-3B7E-45BB-964B-98DD8C4BF7CB}" type="pres">
      <dgm:prSet presAssocID="{F92450D7-EF02-41AD-BFFE-F0A6268923DA}" presName="desTx" presStyleLbl="alignAccFollowNode1" presStyleIdx="1" presStyleCnt="2" custLinFactNeighborX="1874" custLinFactNeighborY="354">
        <dgm:presLayoutVars>
          <dgm:bulletEnabled val="1"/>
        </dgm:presLayoutVars>
      </dgm:prSet>
      <dgm:spPr/>
    </dgm:pt>
  </dgm:ptLst>
  <dgm:cxnLst>
    <dgm:cxn modelId="{38EFB502-B789-40CD-B2D5-7296847E78A8}" type="presOf" srcId="{1FF1E03D-B84C-4F7A-A56C-52F623066E94}" destId="{A8E8D2E8-3B7E-45BB-964B-98DD8C4BF7CB}" srcOrd="0" destOrd="2" presId="urn:microsoft.com/office/officeart/2005/8/layout/hList1"/>
    <dgm:cxn modelId="{411FCA05-69BC-4DDE-9BC7-C49BD8E2CDD3}" type="presOf" srcId="{17A79948-8202-4841-BA15-BF7F85E4C819}" destId="{82C8FBBD-DAF0-49A3-808B-6D211D6E0F65}" srcOrd="0" destOrd="0" presId="urn:microsoft.com/office/officeart/2005/8/layout/hList1"/>
    <dgm:cxn modelId="{AC63D10C-C198-4A27-AFF2-E901A0613B9C}" srcId="{BE454DA4-9EEC-4862-B50E-732DB33CF4AD}" destId="{C42E4A6F-7893-4EF5-94F4-2F2EF67784DE}" srcOrd="0" destOrd="0" parTransId="{139A5D69-7EC8-4394-8378-377CE4FF1BE7}" sibTransId="{874DC5C1-C53F-4D6B-BE67-94E54F0C1635}"/>
    <dgm:cxn modelId="{044A6511-0DCC-4C69-9241-99E1CA338160}" type="presOf" srcId="{FB3072E5-6209-465A-9FF0-00A75D76AC78}" destId="{82C8FBBD-DAF0-49A3-808B-6D211D6E0F65}" srcOrd="0" destOrd="3" presId="urn:microsoft.com/office/officeart/2005/8/layout/hList1"/>
    <dgm:cxn modelId="{C2858D11-6AB3-4316-B0D8-ADD71280188A}" type="presOf" srcId="{BC879D67-240F-46AF-AC1E-7C8FCE5B5144}" destId="{82C8FBBD-DAF0-49A3-808B-6D211D6E0F65}" srcOrd="0" destOrd="2" presId="urn:microsoft.com/office/officeart/2005/8/layout/hList1"/>
    <dgm:cxn modelId="{486EF119-3B84-4AFB-9EA2-53BC89FECA82}" type="presOf" srcId="{C42E4A6F-7893-4EF5-94F4-2F2EF67784DE}" destId="{192012AD-64E8-428F-8F2D-BEA078561909}" srcOrd="0" destOrd="0" presId="urn:microsoft.com/office/officeart/2005/8/layout/hList1"/>
    <dgm:cxn modelId="{2045F624-8D9D-4999-878A-52780CB4EAD3}" srcId="{C42E4A6F-7893-4EF5-94F4-2F2EF67784DE}" destId="{FB3072E5-6209-465A-9FF0-00A75D76AC78}" srcOrd="3" destOrd="0" parTransId="{AE6604F6-ADE2-4DE2-A1D3-8CE5EAF29BF5}" sibTransId="{A9D597FC-1E5A-48E0-95BC-FF4A7A5737DF}"/>
    <dgm:cxn modelId="{A407E725-2453-472B-80FE-527337E47AF0}" type="presOf" srcId="{BE454DA4-9EEC-4862-B50E-732DB33CF4AD}" destId="{5D0C172E-1C23-44CB-9417-951AB22D62D6}" srcOrd="0" destOrd="0" presId="urn:microsoft.com/office/officeart/2005/8/layout/hList1"/>
    <dgm:cxn modelId="{62BEB42A-FD6C-47AF-9972-879380622D6A}" type="presOf" srcId="{F92450D7-EF02-41AD-BFFE-F0A6268923DA}" destId="{48017AF2-ABA2-4CFC-A315-BE45AB07C723}" srcOrd="0" destOrd="0" presId="urn:microsoft.com/office/officeart/2005/8/layout/hList1"/>
    <dgm:cxn modelId="{28545731-5BD0-4758-A4F6-8CD57A1C13F3}" srcId="{C42E4A6F-7893-4EF5-94F4-2F2EF67784DE}" destId="{BC879D67-240F-46AF-AC1E-7C8FCE5B5144}" srcOrd="2" destOrd="0" parTransId="{CAA23B50-203D-4C92-8B33-E8D28B934EE1}" sibTransId="{DAA9B2A8-687C-4AF9-BC4C-AC6B37C3E96B}"/>
    <dgm:cxn modelId="{D5280B6A-BF3B-46EB-B0A1-D6564AD71158}" srcId="{BE454DA4-9EEC-4862-B50E-732DB33CF4AD}" destId="{F92450D7-EF02-41AD-BFFE-F0A6268923DA}" srcOrd="1" destOrd="0" parTransId="{6E3E4828-4D57-4AA2-8045-DC4439D7BE6B}" sibTransId="{506FDEF8-9F2F-402C-AC6E-37F884CA50B6}"/>
    <dgm:cxn modelId="{03F9A852-0EF5-43C5-B251-46346506FFF1}" type="presOf" srcId="{A4319C43-EA25-4149-9A1E-7DDC56FEEDE2}" destId="{82C8FBBD-DAF0-49A3-808B-6D211D6E0F65}" srcOrd="0" destOrd="1" presId="urn:microsoft.com/office/officeart/2005/8/layout/hList1"/>
    <dgm:cxn modelId="{DD669281-1E09-435B-8976-B91F9D49A894}" srcId="{F92450D7-EF02-41AD-BFFE-F0A6268923DA}" destId="{DFCF70D6-4C4D-47DF-BB94-2015821F274D}" srcOrd="1" destOrd="0" parTransId="{AB1E48F8-5587-4F0F-8182-0067C7DFC291}" sibTransId="{A5EE8CB0-C07F-46D4-A417-ADF3B71EADC9}"/>
    <dgm:cxn modelId="{00393D92-17D3-439B-885E-B7E03C267BAE}" srcId="{F92450D7-EF02-41AD-BFFE-F0A6268923DA}" destId="{1FF1E03D-B84C-4F7A-A56C-52F623066E94}" srcOrd="2" destOrd="0" parTransId="{D1971156-6299-4690-BE21-CB904F737F71}" sibTransId="{808B9440-4208-48FD-9F8D-B312A734B733}"/>
    <dgm:cxn modelId="{65622FB9-D30A-4575-9996-F5E51FF26989}" srcId="{C42E4A6F-7893-4EF5-94F4-2F2EF67784DE}" destId="{A4319C43-EA25-4149-9A1E-7DDC56FEEDE2}" srcOrd="1" destOrd="0" parTransId="{21540CA5-E8F6-4E89-9E4E-A3296DA96026}" sibTransId="{5497FBD6-AC9D-432F-B9AF-79A24E7725E0}"/>
    <dgm:cxn modelId="{039EA4BF-9C25-4137-A279-EF4D0B52D2AD}" type="presOf" srcId="{852D864A-B80D-447C-9E57-86193042D384}" destId="{A8E8D2E8-3B7E-45BB-964B-98DD8C4BF7CB}" srcOrd="0" destOrd="0" presId="urn:microsoft.com/office/officeart/2005/8/layout/hList1"/>
    <dgm:cxn modelId="{8B7C11C4-A7ED-4F90-B01D-A984B9EB3057}" type="presOf" srcId="{DFCF70D6-4C4D-47DF-BB94-2015821F274D}" destId="{A8E8D2E8-3B7E-45BB-964B-98DD8C4BF7CB}" srcOrd="0" destOrd="1" presId="urn:microsoft.com/office/officeart/2005/8/layout/hList1"/>
    <dgm:cxn modelId="{1B081DD1-F6A9-443B-8B76-AB14F633EF56}" srcId="{C42E4A6F-7893-4EF5-94F4-2F2EF67784DE}" destId="{17A79948-8202-4841-BA15-BF7F85E4C819}" srcOrd="0" destOrd="0" parTransId="{6B52083B-157C-4E25-82BC-CF6CF4C94F3F}" sibTransId="{0AD04F6A-A33B-43B0-BB7D-DD301AB0679A}"/>
    <dgm:cxn modelId="{BE9C56D6-E0E4-47E7-9807-590A500F51AB}" srcId="{F92450D7-EF02-41AD-BFFE-F0A6268923DA}" destId="{852D864A-B80D-447C-9E57-86193042D384}" srcOrd="0" destOrd="0" parTransId="{9E190F9A-2A36-4602-A58A-5AF43C588EA0}" sibTransId="{06728F8B-C064-4A10-8D79-AA1A94E8A3D3}"/>
    <dgm:cxn modelId="{1334AEB2-B4F8-4368-BBDB-62D67383E5FE}" type="presParOf" srcId="{5D0C172E-1C23-44CB-9417-951AB22D62D6}" destId="{2A7E764E-DD1D-49F3-BBD4-592443F27E7B}" srcOrd="0" destOrd="0" presId="urn:microsoft.com/office/officeart/2005/8/layout/hList1"/>
    <dgm:cxn modelId="{D6D20F7E-1DB6-4C2D-988A-AF3CC3A7BA16}" type="presParOf" srcId="{2A7E764E-DD1D-49F3-BBD4-592443F27E7B}" destId="{192012AD-64E8-428F-8F2D-BEA078561909}" srcOrd="0" destOrd="0" presId="urn:microsoft.com/office/officeart/2005/8/layout/hList1"/>
    <dgm:cxn modelId="{2355A2F8-2B52-473F-84A4-6DA69BE3F016}" type="presParOf" srcId="{2A7E764E-DD1D-49F3-BBD4-592443F27E7B}" destId="{82C8FBBD-DAF0-49A3-808B-6D211D6E0F65}" srcOrd="1" destOrd="0" presId="urn:microsoft.com/office/officeart/2005/8/layout/hList1"/>
    <dgm:cxn modelId="{25E72CD6-1379-40CF-B63D-D47FFEA0D7E1}" type="presParOf" srcId="{5D0C172E-1C23-44CB-9417-951AB22D62D6}" destId="{C122A6C9-85EE-43DF-83B7-C1582D5B8D98}" srcOrd="1" destOrd="0" presId="urn:microsoft.com/office/officeart/2005/8/layout/hList1"/>
    <dgm:cxn modelId="{A2061951-3CA7-4CBD-8A62-40D0DE78694E}" type="presParOf" srcId="{5D0C172E-1C23-44CB-9417-951AB22D62D6}" destId="{971FB798-7466-4B7B-9C6F-245FBFB7C71F}" srcOrd="2" destOrd="0" presId="urn:microsoft.com/office/officeart/2005/8/layout/hList1"/>
    <dgm:cxn modelId="{5DC61136-95E9-4A58-9F54-2109ED14D390}" type="presParOf" srcId="{971FB798-7466-4B7B-9C6F-245FBFB7C71F}" destId="{48017AF2-ABA2-4CFC-A315-BE45AB07C723}" srcOrd="0" destOrd="0" presId="urn:microsoft.com/office/officeart/2005/8/layout/hList1"/>
    <dgm:cxn modelId="{0732D13A-205E-4481-84F5-C03372DC8FFB}" type="presParOf" srcId="{971FB798-7466-4B7B-9C6F-245FBFB7C71F}" destId="{A8E8D2E8-3B7E-45BB-964B-98DD8C4BF7CB}"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420CF4-164B-4D95-8552-D7345C97393C}">
      <dsp:nvSpPr>
        <dsp:cNvPr id="0" name=""/>
        <dsp:cNvSpPr/>
      </dsp:nvSpPr>
      <dsp:spPr>
        <a:xfrm>
          <a:off x="4874" y="0"/>
          <a:ext cx="9972451" cy="4572000"/>
        </a:xfrm>
        <a:prstGeom prst="roundRect">
          <a:avLst>
            <a:gd name="adj" fmla="val 10000"/>
          </a:avLst>
        </a:prstGeom>
        <a:solidFill>
          <a:schemeClr val="accent1">
            <a:hueOff val="0"/>
            <a:satOff val="0"/>
            <a:lumOff val="0"/>
            <a:alphaOff val="0"/>
          </a:schemeClr>
        </a:solidFill>
        <a:ln w="48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5740" tIns="205740" rIns="205740" bIns="205740" numCol="1" spcCol="1270" anchor="t" anchorCtr="0">
          <a:noAutofit/>
        </a:bodyPr>
        <a:lstStyle/>
        <a:p>
          <a:pPr marL="0" lvl="0" indent="0" algn="l" defTabSz="2400300">
            <a:lnSpc>
              <a:spcPct val="90000"/>
            </a:lnSpc>
            <a:spcBef>
              <a:spcPct val="0"/>
            </a:spcBef>
            <a:spcAft>
              <a:spcPct val="35000"/>
            </a:spcAft>
            <a:buNone/>
          </a:pPr>
          <a:r>
            <a:rPr lang="en-FI" sz="5400" kern="1200" dirty="0"/>
            <a:t>Who is enforcing?</a:t>
          </a:r>
          <a:endParaRPr lang="de-DE" sz="5400" kern="1200" dirty="0"/>
        </a:p>
        <a:p>
          <a:pPr marL="285750" lvl="1" indent="-285750" algn="l" defTabSz="1866900">
            <a:lnSpc>
              <a:spcPct val="90000"/>
            </a:lnSpc>
            <a:spcBef>
              <a:spcPct val="0"/>
            </a:spcBef>
            <a:spcAft>
              <a:spcPct val="15000"/>
            </a:spcAft>
            <a:buChar char="•"/>
          </a:pPr>
          <a:r>
            <a:rPr lang="en-FI" sz="4200" kern="1200"/>
            <a:t>Data Protection Authorities</a:t>
          </a:r>
          <a:endParaRPr lang="de-DE" sz="4200" kern="1200"/>
        </a:p>
        <a:p>
          <a:pPr marL="285750" lvl="1" indent="-285750" algn="l" defTabSz="1866900">
            <a:lnSpc>
              <a:spcPct val="90000"/>
            </a:lnSpc>
            <a:spcBef>
              <a:spcPct val="0"/>
            </a:spcBef>
            <a:spcAft>
              <a:spcPct val="15000"/>
            </a:spcAft>
            <a:buChar char="•"/>
          </a:pPr>
          <a:r>
            <a:rPr lang="en-FI" sz="4200" kern="1200" dirty="0"/>
            <a:t>Individuals </a:t>
          </a:r>
          <a:endParaRPr lang="de-DE" sz="4200" kern="1200" dirty="0"/>
        </a:p>
        <a:p>
          <a:pPr marL="285750" lvl="1" indent="-285750" algn="l" defTabSz="1866900">
            <a:lnSpc>
              <a:spcPct val="90000"/>
            </a:lnSpc>
            <a:spcBef>
              <a:spcPct val="0"/>
            </a:spcBef>
            <a:spcAft>
              <a:spcPct val="15000"/>
            </a:spcAft>
            <a:buChar char="•"/>
          </a:pPr>
          <a:r>
            <a:rPr lang="en-FI" sz="4200" kern="1200"/>
            <a:t>T</a:t>
          </a:r>
          <a:r>
            <a:rPr lang="de-DE" sz="4200" kern="1200"/>
            <a:t>h</a:t>
          </a:r>
          <a:r>
            <a:rPr lang="en-FI" sz="4200" kern="1200"/>
            <a:t>ird-party watch dogs </a:t>
          </a:r>
          <a:br>
            <a:rPr lang="en-FI" sz="4200" kern="1200"/>
          </a:br>
          <a:endParaRPr lang="de-DE" sz="4200" kern="1200"/>
        </a:p>
      </dsp:txBody>
      <dsp:txXfrm>
        <a:off x="138783" y="133909"/>
        <a:ext cx="9704633" cy="4304182"/>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74A3534-C870-4877-98CD-100027296DF8}">
      <dsp:nvSpPr>
        <dsp:cNvPr id="0" name=""/>
        <dsp:cNvSpPr/>
      </dsp:nvSpPr>
      <dsp:spPr>
        <a:xfrm>
          <a:off x="0" y="0"/>
          <a:ext cx="9980280" cy="628875"/>
        </a:xfrm>
        <a:prstGeom prst="roundRect">
          <a:avLst/>
        </a:prstGeom>
        <a:solidFill>
          <a:schemeClr val="accent1">
            <a:hueOff val="0"/>
            <a:satOff val="0"/>
            <a:lumOff val="0"/>
            <a:alphaOff val="0"/>
          </a:schemeClr>
        </a:solidFill>
        <a:ln w="48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rtl="0">
            <a:lnSpc>
              <a:spcPct val="90000"/>
            </a:lnSpc>
            <a:spcBef>
              <a:spcPct val="0"/>
            </a:spcBef>
            <a:spcAft>
              <a:spcPct val="35000"/>
            </a:spcAft>
            <a:buNone/>
          </a:pPr>
          <a:r>
            <a:rPr lang="fi-FI" sz="2500" kern="1200"/>
            <a:t>How something should be done</a:t>
          </a:r>
          <a:endParaRPr lang="en-GB" sz="2500" kern="1200"/>
        </a:p>
      </dsp:txBody>
      <dsp:txXfrm>
        <a:off x="30699" y="30699"/>
        <a:ext cx="9918882" cy="567477"/>
      </dsp:txXfrm>
    </dsp:sp>
    <dsp:sp modelId="{CE2319FD-E2D9-4CDE-9B90-9984E3524B65}">
      <dsp:nvSpPr>
        <dsp:cNvPr id="0" name=""/>
        <dsp:cNvSpPr/>
      </dsp:nvSpPr>
      <dsp:spPr>
        <a:xfrm>
          <a:off x="0" y="651993"/>
          <a:ext cx="9980280" cy="111262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16874" tIns="31750" rIns="177800" bIns="31750" numCol="1" spcCol="1270" anchor="t" anchorCtr="0">
          <a:noAutofit/>
        </a:bodyPr>
        <a:lstStyle/>
        <a:p>
          <a:pPr marL="228600" lvl="1" indent="-228600" algn="l" defTabSz="889000" rtl="0">
            <a:lnSpc>
              <a:spcPct val="90000"/>
            </a:lnSpc>
            <a:spcBef>
              <a:spcPct val="0"/>
            </a:spcBef>
            <a:spcAft>
              <a:spcPct val="20000"/>
            </a:spcAft>
            <a:buChar char="•"/>
          </a:pPr>
          <a:r>
            <a:rPr lang="fi-FI" sz="2000" kern="1200" dirty="0"/>
            <a:t>Privacy by Design (25)</a:t>
          </a:r>
          <a:endParaRPr lang="en-GB" sz="2000" kern="1200" dirty="0"/>
        </a:p>
        <a:p>
          <a:pPr marL="228600" lvl="1" indent="-228600" algn="l" defTabSz="889000" rtl="0">
            <a:lnSpc>
              <a:spcPct val="90000"/>
            </a:lnSpc>
            <a:spcBef>
              <a:spcPct val="0"/>
            </a:spcBef>
            <a:spcAft>
              <a:spcPct val="20000"/>
            </a:spcAft>
            <a:buChar char="•"/>
          </a:pPr>
          <a:r>
            <a:rPr lang="fi-FI" sz="2000" kern="1200" dirty="0"/>
            <a:t>Privacy by </a:t>
          </a:r>
          <a:r>
            <a:rPr lang="fi-FI" sz="2000" kern="1200" dirty="0" err="1"/>
            <a:t>Default</a:t>
          </a:r>
          <a:r>
            <a:rPr lang="fi-FI" sz="2000" kern="1200" dirty="0"/>
            <a:t> (25)</a:t>
          </a:r>
          <a:endParaRPr lang="en-GB" sz="2000" kern="1200" dirty="0"/>
        </a:p>
        <a:p>
          <a:pPr marL="228600" lvl="1" indent="-228600" algn="l" defTabSz="889000" rtl="0">
            <a:lnSpc>
              <a:spcPct val="90000"/>
            </a:lnSpc>
            <a:spcBef>
              <a:spcPct val="0"/>
            </a:spcBef>
            <a:spcAft>
              <a:spcPct val="20000"/>
            </a:spcAft>
            <a:buChar char="•"/>
          </a:pPr>
          <a:r>
            <a:rPr lang="fi-FI" sz="2000" kern="1200" dirty="0" err="1"/>
            <a:t>Privacy</a:t>
          </a:r>
          <a:r>
            <a:rPr lang="fi-FI" sz="2000" kern="1200" dirty="0"/>
            <a:t> </a:t>
          </a:r>
          <a:r>
            <a:rPr lang="fi-FI" sz="2000" kern="1200" dirty="0" err="1"/>
            <a:t>enhancing</a:t>
          </a:r>
          <a:r>
            <a:rPr lang="fi-FI" sz="2000" kern="1200" dirty="0"/>
            <a:t> </a:t>
          </a:r>
          <a:r>
            <a:rPr lang="fi-FI" sz="2000" kern="1200" dirty="0" err="1"/>
            <a:t>technologies</a:t>
          </a:r>
          <a:r>
            <a:rPr lang="fi-FI" sz="2000" kern="1200" dirty="0"/>
            <a:t> PET</a:t>
          </a:r>
          <a:endParaRPr lang="en-GB" sz="2000" kern="1200" dirty="0"/>
        </a:p>
      </dsp:txBody>
      <dsp:txXfrm>
        <a:off x="0" y="651993"/>
        <a:ext cx="9980280" cy="1112625"/>
      </dsp:txXfrm>
    </dsp:sp>
    <dsp:sp modelId="{C3BA7C33-573E-4ED6-B5C1-A9353D8350CD}">
      <dsp:nvSpPr>
        <dsp:cNvPr id="0" name=""/>
        <dsp:cNvSpPr/>
      </dsp:nvSpPr>
      <dsp:spPr>
        <a:xfrm>
          <a:off x="0" y="1764618"/>
          <a:ext cx="9980280" cy="628875"/>
        </a:xfrm>
        <a:prstGeom prst="roundRect">
          <a:avLst/>
        </a:prstGeom>
        <a:solidFill>
          <a:schemeClr val="accent1">
            <a:hueOff val="0"/>
            <a:satOff val="0"/>
            <a:lumOff val="0"/>
            <a:alphaOff val="0"/>
          </a:schemeClr>
        </a:solidFill>
        <a:ln w="48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rtl="0">
            <a:lnSpc>
              <a:spcPct val="90000"/>
            </a:lnSpc>
            <a:spcBef>
              <a:spcPct val="0"/>
            </a:spcBef>
            <a:spcAft>
              <a:spcPct val="35000"/>
            </a:spcAft>
            <a:buNone/>
          </a:pPr>
          <a:r>
            <a:rPr lang="fi-FI" sz="2500" kern="1200" dirty="0" err="1"/>
            <a:t>Accountability</a:t>
          </a:r>
          <a:r>
            <a:rPr lang="fi-FI" sz="2500" kern="1200" dirty="0"/>
            <a:t> (</a:t>
          </a:r>
          <a:r>
            <a:rPr lang="fi-FI" sz="2500" kern="1200" dirty="0" err="1"/>
            <a:t>documented</a:t>
          </a:r>
          <a:r>
            <a:rPr lang="fi-FI" sz="2500" kern="1200" dirty="0"/>
            <a:t> </a:t>
          </a:r>
          <a:r>
            <a:rPr lang="fi-FI" sz="2500" kern="1200" dirty="0" err="1"/>
            <a:t>compliance</a:t>
          </a:r>
          <a:r>
            <a:rPr lang="fi-FI" sz="2500" kern="1200" dirty="0"/>
            <a:t>)</a:t>
          </a:r>
          <a:endParaRPr lang="en-GB" sz="2500" kern="1200" dirty="0"/>
        </a:p>
      </dsp:txBody>
      <dsp:txXfrm>
        <a:off x="30699" y="1795317"/>
        <a:ext cx="9918882" cy="567477"/>
      </dsp:txXfrm>
    </dsp:sp>
    <dsp:sp modelId="{EA27D008-32BB-4971-B8ED-57304BA16D67}">
      <dsp:nvSpPr>
        <dsp:cNvPr id="0" name=""/>
        <dsp:cNvSpPr/>
      </dsp:nvSpPr>
      <dsp:spPr>
        <a:xfrm>
          <a:off x="0" y="2393493"/>
          <a:ext cx="9980280" cy="14748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16874" tIns="31750" rIns="177800" bIns="31750" numCol="1" spcCol="1270" anchor="t" anchorCtr="0">
          <a:noAutofit/>
        </a:bodyPr>
        <a:lstStyle/>
        <a:p>
          <a:pPr marL="228600" lvl="1" indent="-228600" algn="l" defTabSz="889000" rtl="0">
            <a:lnSpc>
              <a:spcPct val="90000"/>
            </a:lnSpc>
            <a:spcBef>
              <a:spcPct val="0"/>
            </a:spcBef>
            <a:spcAft>
              <a:spcPct val="20000"/>
            </a:spcAft>
            <a:buChar char="•"/>
          </a:pPr>
          <a:r>
            <a:rPr lang="fi-FI" sz="2000" kern="1200" dirty="0"/>
            <a:t>Mandatory </a:t>
          </a:r>
          <a:r>
            <a:rPr lang="fi-FI" sz="2000" kern="1200" dirty="0" err="1"/>
            <a:t>notices</a:t>
          </a:r>
          <a:r>
            <a:rPr lang="fi-FI" sz="2000" kern="1200" dirty="0"/>
            <a:t> (</a:t>
          </a:r>
          <a:r>
            <a:rPr lang="en-FI" sz="2000" kern="1200" dirty="0"/>
            <a:t>13/</a:t>
          </a:r>
          <a:r>
            <a:rPr lang="fi-FI" sz="2000" kern="1200" dirty="0"/>
            <a:t>14) and </a:t>
          </a:r>
          <a:r>
            <a:rPr lang="fi-FI" sz="2000" kern="1200" dirty="0" err="1"/>
            <a:t>documentation</a:t>
          </a:r>
          <a:r>
            <a:rPr lang="fi-FI" sz="2000" kern="1200" dirty="0"/>
            <a:t> (30)</a:t>
          </a:r>
          <a:endParaRPr lang="en-GB" sz="2000" kern="1200" dirty="0"/>
        </a:p>
        <a:p>
          <a:pPr marL="228600" lvl="1" indent="-228600" algn="l" defTabSz="889000" rtl="0">
            <a:lnSpc>
              <a:spcPct val="90000"/>
            </a:lnSpc>
            <a:spcBef>
              <a:spcPct val="0"/>
            </a:spcBef>
            <a:spcAft>
              <a:spcPct val="20000"/>
            </a:spcAft>
            <a:buChar char="•"/>
          </a:pPr>
          <a:r>
            <a:rPr lang="fi-FI" sz="2000" kern="1200" dirty="0"/>
            <a:t>Privacy impact </a:t>
          </a:r>
          <a:r>
            <a:rPr lang="fi-FI" sz="2000" kern="1200" dirty="0" err="1"/>
            <a:t>assessments</a:t>
          </a:r>
          <a:r>
            <a:rPr lang="fi-FI" sz="2000" kern="1200" dirty="0"/>
            <a:t> (35)</a:t>
          </a:r>
          <a:endParaRPr lang="en-GB" sz="2000" kern="1200" dirty="0"/>
        </a:p>
        <a:p>
          <a:pPr marL="228600" lvl="1" indent="-228600" algn="l" defTabSz="889000" rtl="0">
            <a:lnSpc>
              <a:spcPct val="90000"/>
            </a:lnSpc>
            <a:spcBef>
              <a:spcPct val="0"/>
            </a:spcBef>
            <a:spcAft>
              <a:spcPct val="20000"/>
            </a:spcAft>
            <a:buChar char="•"/>
          </a:pPr>
          <a:r>
            <a:rPr lang="fi-FI" sz="2000" kern="1200" dirty="0"/>
            <a:t>Mandatory breach notifications (31, 32)</a:t>
          </a:r>
          <a:endParaRPr lang="en-GB" sz="2000" kern="1200" dirty="0"/>
        </a:p>
        <a:p>
          <a:pPr marL="228600" lvl="1" indent="-228600" algn="l" defTabSz="889000" rtl="0">
            <a:lnSpc>
              <a:spcPct val="90000"/>
            </a:lnSpc>
            <a:spcBef>
              <a:spcPct val="0"/>
            </a:spcBef>
            <a:spcAft>
              <a:spcPct val="20000"/>
            </a:spcAft>
            <a:buChar char="•"/>
          </a:pPr>
          <a:r>
            <a:rPr lang="en-GB" sz="2000" kern="1200" dirty="0"/>
            <a:t>Code of Conducts and Certifications (40-43)</a:t>
          </a:r>
        </a:p>
      </dsp:txBody>
      <dsp:txXfrm>
        <a:off x="0" y="2393493"/>
        <a:ext cx="9980280" cy="1474875"/>
      </dsp:txXfrm>
    </dsp:sp>
    <dsp:sp modelId="{EEAEE2CC-70BC-464E-80EC-A8BE801D2D47}">
      <dsp:nvSpPr>
        <dsp:cNvPr id="0" name=""/>
        <dsp:cNvSpPr/>
      </dsp:nvSpPr>
      <dsp:spPr>
        <a:xfrm>
          <a:off x="0" y="3868368"/>
          <a:ext cx="9980280" cy="628875"/>
        </a:xfrm>
        <a:prstGeom prst="roundRect">
          <a:avLst/>
        </a:prstGeom>
        <a:solidFill>
          <a:schemeClr val="accent1">
            <a:hueOff val="0"/>
            <a:satOff val="0"/>
            <a:lumOff val="0"/>
            <a:alphaOff val="0"/>
          </a:schemeClr>
        </a:solidFill>
        <a:ln w="48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95250" rIns="95250" bIns="95250" numCol="1" spcCol="1270" anchor="ctr" anchorCtr="0">
          <a:noAutofit/>
        </a:bodyPr>
        <a:lstStyle/>
        <a:p>
          <a:pPr marL="0" lvl="0" indent="0" algn="l" defTabSz="1111250" rtl="0">
            <a:lnSpc>
              <a:spcPct val="90000"/>
            </a:lnSpc>
            <a:spcBef>
              <a:spcPct val="0"/>
            </a:spcBef>
            <a:spcAft>
              <a:spcPct val="35000"/>
            </a:spcAft>
            <a:buNone/>
          </a:pPr>
          <a:r>
            <a:rPr lang="fi-FI" sz="2500" kern="1200"/>
            <a:t>Creating third party enforcers</a:t>
          </a:r>
          <a:endParaRPr lang="en-GB" sz="2500" kern="1200"/>
        </a:p>
      </dsp:txBody>
      <dsp:txXfrm>
        <a:off x="30699" y="3899067"/>
        <a:ext cx="9918882" cy="567477"/>
      </dsp:txXfrm>
    </dsp:sp>
    <dsp:sp modelId="{E843EC36-4861-427B-9BA4-5162694C60D1}">
      <dsp:nvSpPr>
        <dsp:cNvPr id="0" name=""/>
        <dsp:cNvSpPr/>
      </dsp:nvSpPr>
      <dsp:spPr>
        <a:xfrm>
          <a:off x="0" y="4497243"/>
          <a:ext cx="9980280" cy="7374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16874" tIns="31750" rIns="177800" bIns="31750" numCol="1" spcCol="1270" anchor="t" anchorCtr="0">
          <a:noAutofit/>
        </a:bodyPr>
        <a:lstStyle/>
        <a:p>
          <a:pPr marL="228600" lvl="1" indent="-228600" algn="l" defTabSz="889000" rtl="0">
            <a:lnSpc>
              <a:spcPct val="90000"/>
            </a:lnSpc>
            <a:spcBef>
              <a:spcPct val="0"/>
            </a:spcBef>
            <a:spcAft>
              <a:spcPct val="20000"/>
            </a:spcAft>
            <a:buChar char="•"/>
          </a:pPr>
          <a:r>
            <a:rPr lang="fi-FI" sz="2000" kern="1200" dirty="0"/>
            <a:t>DPO: Data protection </a:t>
          </a:r>
          <a:r>
            <a:rPr lang="fi-FI" sz="2000" kern="1200" dirty="0" err="1"/>
            <a:t>officer</a:t>
          </a:r>
          <a:r>
            <a:rPr lang="fi-FI" sz="2000" kern="1200" dirty="0"/>
            <a:t> (37-39)</a:t>
          </a:r>
          <a:endParaRPr lang="en-GB" sz="2000" kern="1200" dirty="0"/>
        </a:p>
        <a:p>
          <a:pPr marL="228600" lvl="1" indent="-228600" algn="l" defTabSz="889000" rtl="0">
            <a:lnSpc>
              <a:spcPct val="90000"/>
            </a:lnSpc>
            <a:spcBef>
              <a:spcPct val="0"/>
            </a:spcBef>
            <a:spcAft>
              <a:spcPct val="20000"/>
            </a:spcAft>
            <a:buChar char="•"/>
          </a:pPr>
          <a:r>
            <a:rPr lang="fi-FI" sz="2000" kern="1200" dirty="0" err="1"/>
            <a:t>Right</a:t>
          </a:r>
          <a:r>
            <a:rPr lang="fi-FI" sz="2000" kern="1200" dirty="0"/>
            <a:t> to </a:t>
          </a:r>
          <a:r>
            <a:rPr lang="fi-FI" sz="2000" kern="1200" dirty="0" err="1"/>
            <a:t>sue</a:t>
          </a:r>
          <a:r>
            <a:rPr lang="fi-FI" sz="2000" kern="1200" dirty="0"/>
            <a:t> (77-80)</a:t>
          </a:r>
          <a:endParaRPr lang="en-GB" sz="2000" kern="1200" dirty="0"/>
        </a:p>
      </dsp:txBody>
      <dsp:txXfrm>
        <a:off x="0" y="4497243"/>
        <a:ext cx="9980280" cy="737437"/>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663B7A-B61A-41C8-8DA4-C876D884963B}">
      <dsp:nvSpPr>
        <dsp:cNvPr id="0" name=""/>
        <dsp:cNvSpPr/>
      </dsp:nvSpPr>
      <dsp:spPr>
        <a:xfrm>
          <a:off x="2828" y="0"/>
          <a:ext cx="3793331" cy="4535487"/>
        </a:xfrm>
        <a:prstGeom prst="roundRect">
          <a:avLst>
            <a:gd name="adj" fmla="val 10000"/>
          </a:avLst>
        </a:prstGeom>
        <a:solidFill>
          <a:schemeClr val="accent1">
            <a:hueOff val="0"/>
            <a:satOff val="0"/>
            <a:lumOff val="0"/>
            <a:alphaOff val="0"/>
          </a:schemeClr>
        </a:solidFill>
        <a:ln w="48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marL="0" lvl="0" indent="0" algn="ctr" defTabSz="1778000" rtl="0">
            <a:lnSpc>
              <a:spcPct val="90000"/>
            </a:lnSpc>
            <a:spcBef>
              <a:spcPct val="0"/>
            </a:spcBef>
            <a:spcAft>
              <a:spcPct val="35000"/>
            </a:spcAft>
            <a:buNone/>
          </a:pPr>
          <a:r>
            <a:rPr lang="de-DE" sz="4000" kern="1200" dirty="0">
              <a:solidFill>
                <a:schemeClr val="accent5">
                  <a:lumMod val="20000"/>
                  <a:lumOff val="80000"/>
                </a:schemeClr>
              </a:solidFill>
            </a:rPr>
            <a:t>Accountability </a:t>
          </a:r>
          <a:endParaRPr lang="en-US" sz="4000" kern="1200" dirty="0">
            <a:solidFill>
              <a:schemeClr val="accent5">
                <a:lumMod val="20000"/>
                <a:lumOff val="80000"/>
              </a:schemeClr>
            </a:solidFill>
          </a:endParaRPr>
        </a:p>
      </dsp:txBody>
      <dsp:txXfrm>
        <a:off x="113931" y="111103"/>
        <a:ext cx="3571125" cy="4313281"/>
      </dsp:txXfrm>
    </dsp:sp>
    <dsp:sp modelId="{2863FE01-BA60-4178-B6E2-B3647A530E70}">
      <dsp:nvSpPr>
        <dsp:cNvPr id="0" name=""/>
        <dsp:cNvSpPr/>
      </dsp:nvSpPr>
      <dsp:spPr>
        <a:xfrm>
          <a:off x="4436268" y="0"/>
          <a:ext cx="3793331" cy="4535487"/>
        </a:xfrm>
        <a:prstGeom prst="roundRect">
          <a:avLst>
            <a:gd name="adj" fmla="val 10000"/>
          </a:avLst>
        </a:prstGeom>
        <a:solidFill>
          <a:schemeClr val="accent1">
            <a:hueOff val="0"/>
            <a:satOff val="0"/>
            <a:lumOff val="0"/>
            <a:alphaOff val="0"/>
          </a:schemeClr>
        </a:solidFill>
        <a:ln w="48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marL="0" lvl="0" indent="0" algn="ctr" defTabSz="1778000" rtl="0">
            <a:lnSpc>
              <a:spcPct val="90000"/>
            </a:lnSpc>
            <a:spcBef>
              <a:spcPct val="0"/>
            </a:spcBef>
            <a:spcAft>
              <a:spcPct val="35000"/>
            </a:spcAft>
            <a:buNone/>
          </a:pPr>
          <a:r>
            <a:rPr lang="de-DE" sz="4000" kern="1200" dirty="0">
              <a:solidFill>
                <a:schemeClr val="accent5">
                  <a:lumMod val="20000"/>
                  <a:lumOff val="80000"/>
                </a:schemeClr>
              </a:solidFill>
            </a:rPr>
            <a:t>Risk-based approach</a:t>
          </a:r>
          <a:endParaRPr lang="en-US" sz="4000" kern="1200" dirty="0">
            <a:solidFill>
              <a:schemeClr val="accent5">
                <a:lumMod val="20000"/>
                <a:lumOff val="80000"/>
              </a:schemeClr>
            </a:solidFill>
          </a:endParaRPr>
        </a:p>
      </dsp:txBody>
      <dsp:txXfrm>
        <a:off x="4547371" y="111103"/>
        <a:ext cx="3571125" cy="4313281"/>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39E119-AA18-4D59-AB6D-B12A3E892EAE}">
      <dsp:nvSpPr>
        <dsp:cNvPr id="0" name=""/>
        <dsp:cNvSpPr/>
      </dsp:nvSpPr>
      <dsp:spPr>
        <a:xfrm>
          <a:off x="0" y="30216"/>
          <a:ext cx="9105960" cy="930735"/>
        </a:xfrm>
        <a:prstGeom prst="roundRect">
          <a:avLst/>
        </a:prstGeom>
        <a:solidFill>
          <a:schemeClr val="accent1">
            <a:hueOff val="0"/>
            <a:satOff val="0"/>
            <a:lumOff val="0"/>
            <a:alphaOff val="0"/>
          </a:schemeClr>
        </a:solidFill>
        <a:ln w="48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l" defTabSz="1644650" rtl="0">
            <a:lnSpc>
              <a:spcPct val="90000"/>
            </a:lnSpc>
            <a:spcBef>
              <a:spcPct val="0"/>
            </a:spcBef>
            <a:spcAft>
              <a:spcPct val="35000"/>
            </a:spcAft>
            <a:buNone/>
          </a:pPr>
          <a:r>
            <a:rPr lang="de-DE" sz="3700" kern="1200" dirty="0">
              <a:latin typeface="Euphemia" panose="020B0503040102020104" pitchFamily="34" charset="0"/>
            </a:rPr>
            <a:t>Accountability</a:t>
          </a:r>
          <a:endParaRPr lang="en-US" sz="3700" kern="1200" dirty="0">
            <a:latin typeface="Euphemia" panose="020B0503040102020104" pitchFamily="34" charset="0"/>
          </a:endParaRPr>
        </a:p>
      </dsp:txBody>
      <dsp:txXfrm>
        <a:off x="45435" y="75651"/>
        <a:ext cx="9015090" cy="839865"/>
      </dsp:txXfrm>
    </dsp:sp>
    <dsp:sp modelId="{5E3146AD-F2A5-4C38-A98F-52806A8E5DEB}">
      <dsp:nvSpPr>
        <dsp:cNvPr id="0" name=""/>
        <dsp:cNvSpPr/>
      </dsp:nvSpPr>
      <dsp:spPr>
        <a:xfrm>
          <a:off x="0" y="960951"/>
          <a:ext cx="9105960" cy="107226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89114" tIns="46990" rIns="263144" bIns="46990" numCol="1" spcCol="1270" anchor="t" anchorCtr="0">
          <a:noAutofit/>
        </a:bodyPr>
        <a:lstStyle/>
        <a:p>
          <a:pPr marL="285750" lvl="1" indent="-285750" algn="l" defTabSz="1289050" rtl="0">
            <a:lnSpc>
              <a:spcPct val="90000"/>
            </a:lnSpc>
            <a:spcBef>
              <a:spcPct val="0"/>
            </a:spcBef>
            <a:spcAft>
              <a:spcPct val="20000"/>
            </a:spcAft>
            <a:buChar char="•"/>
          </a:pPr>
          <a:r>
            <a:rPr lang="de-DE" sz="2900" kern="1200"/>
            <a:t>Core concept</a:t>
          </a:r>
          <a:endParaRPr lang="en-US" sz="2900" kern="1200"/>
        </a:p>
        <a:p>
          <a:pPr marL="285750" lvl="1" indent="-285750" algn="l" defTabSz="1289050" rtl="0">
            <a:lnSpc>
              <a:spcPct val="90000"/>
            </a:lnSpc>
            <a:spcBef>
              <a:spcPct val="0"/>
            </a:spcBef>
            <a:spcAft>
              <a:spcPct val="20000"/>
            </a:spcAft>
            <a:buChar char="•"/>
          </a:pPr>
          <a:r>
            <a:rPr lang="de-DE" sz="2900" kern="1200"/>
            <a:t>Documented compliance, taking responsibility </a:t>
          </a:r>
          <a:endParaRPr lang="en-US" sz="2900" kern="1200"/>
        </a:p>
      </dsp:txBody>
      <dsp:txXfrm>
        <a:off x="0" y="960951"/>
        <a:ext cx="9105960" cy="1072260"/>
      </dsp:txXfrm>
    </dsp:sp>
    <dsp:sp modelId="{F8127A36-A94E-4F07-9F10-28CF823541AB}">
      <dsp:nvSpPr>
        <dsp:cNvPr id="0" name=""/>
        <dsp:cNvSpPr/>
      </dsp:nvSpPr>
      <dsp:spPr>
        <a:xfrm>
          <a:off x="0" y="2033211"/>
          <a:ext cx="9105960" cy="930735"/>
        </a:xfrm>
        <a:prstGeom prst="roundRect">
          <a:avLst/>
        </a:prstGeom>
        <a:solidFill>
          <a:schemeClr val="accent1">
            <a:hueOff val="0"/>
            <a:satOff val="0"/>
            <a:lumOff val="0"/>
            <a:alphaOff val="0"/>
          </a:schemeClr>
        </a:solidFill>
        <a:ln w="48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l" defTabSz="1644650" rtl="0">
            <a:lnSpc>
              <a:spcPct val="90000"/>
            </a:lnSpc>
            <a:spcBef>
              <a:spcPct val="0"/>
            </a:spcBef>
            <a:spcAft>
              <a:spcPct val="35000"/>
            </a:spcAft>
            <a:buNone/>
          </a:pPr>
          <a:r>
            <a:rPr lang="de-DE" sz="3700" kern="1200"/>
            <a:t>Risk based approach</a:t>
          </a:r>
          <a:endParaRPr lang="en-US" sz="3700" kern="1200"/>
        </a:p>
      </dsp:txBody>
      <dsp:txXfrm>
        <a:off x="45435" y="2078646"/>
        <a:ext cx="9015090" cy="839865"/>
      </dsp:txXfrm>
    </dsp:sp>
    <dsp:sp modelId="{69B574B6-0524-48B5-8FAD-4F252897FECD}">
      <dsp:nvSpPr>
        <dsp:cNvPr id="0" name=""/>
        <dsp:cNvSpPr/>
      </dsp:nvSpPr>
      <dsp:spPr>
        <a:xfrm>
          <a:off x="0" y="2963946"/>
          <a:ext cx="9105960" cy="15318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89114" tIns="46990" rIns="263144" bIns="46990" numCol="1" spcCol="1270" anchor="t" anchorCtr="0">
          <a:noAutofit/>
        </a:bodyPr>
        <a:lstStyle/>
        <a:p>
          <a:pPr marL="285750" lvl="1" indent="-285750" algn="l" defTabSz="1289050" rtl="0">
            <a:lnSpc>
              <a:spcPct val="90000"/>
            </a:lnSpc>
            <a:spcBef>
              <a:spcPct val="0"/>
            </a:spcBef>
            <a:spcAft>
              <a:spcPct val="20000"/>
            </a:spcAft>
            <a:buChar char="•"/>
          </a:pPr>
          <a:r>
            <a:rPr lang="en-GB" sz="2900" kern="1200"/>
            <a:t>Risk = mentioned 75 times in GDPR</a:t>
          </a:r>
          <a:endParaRPr lang="en-US" sz="2900" kern="1200"/>
        </a:p>
        <a:p>
          <a:pPr marL="285750" lvl="1" indent="-285750" algn="l" defTabSz="1289050" rtl="0">
            <a:lnSpc>
              <a:spcPct val="90000"/>
            </a:lnSpc>
            <a:spcBef>
              <a:spcPct val="0"/>
            </a:spcBef>
            <a:spcAft>
              <a:spcPct val="20000"/>
            </a:spcAft>
            <a:buChar char="•"/>
          </a:pPr>
          <a:r>
            <a:rPr lang="en-GB" sz="2900" kern="1200"/>
            <a:t>Risk = risk in relation to rights and </a:t>
          </a:r>
          <a:br>
            <a:rPr lang="en-GB" sz="2900" kern="1200"/>
          </a:br>
          <a:r>
            <a:rPr lang="en-GB" sz="2900" kern="1200"/>
            <a:t>freedoms of individuals = legal risk</a:t>
          </a:r>
          <a:endParaRPr lang="en-US" sz="2900" kern="1200"/>
        </a:p>
      </dsp:txBody>
      <dsp:txXfrm>
        <a:off x="0" y="2963946"/>
        <a:ext cx="9105960" cy="1531800"/>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643861-A22B-4CC7-8C17-752B57528431}">
      <dsp:nvSpPr>
        <dsp:cNvPr id="0" name=""/>
        <dsp:cNvSpPr/>
      </dsp:nvSpPr>
      <dsp:spPr>
        <a:xfrm>
          <a:off x="0" y="0"/>
          <a:ext cx="10045322" cy="2276958"/>
        </a:xfrm>
        <a:prstGeom prst="roundRect">
          <a:avLst>
            <a:gd name="adj" fmla="val 10000"/>
          </a:avLst>
        </a:prstGeom>
        <a:solidFill>
          <a:schemeClr val="accent1">
            <a:alpha val="90000"/>
            <a:tint val="40000"/>
            <a:hueOff val="0"/>
            <a:satOff val="0"/>
            <a:lumOff val="0"/>
            <a:alphaOff val="0"/>
          </a:schemeClr>
        </a:solidFill>
        <a:ln w="48000" cap="flat" cmpd="thickThin"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7DACF7D-0998-4816-9B91-66CD437D84D7}">
      <dsp:nvSpPr>
        <dsp:cNvPr id="0" name=""/>
        <dsp:cNvSpPr/>
      </dsp:nvSpPr>
      <dsp:spPr>
        <a:xfrm>
          <a:off x="302512" y="303594"/>
          <a:ext cx="4495379" cy="1669769"/>
        </a:xfrm>
        <a:prstGeom prst="roundRect">
          <a:avLst>
            <a:gd name="adj" fmla="val 10000"/>
          </a:avLst>
        </a:prstGeom>
        <a:blipFill rotWithShape="1">
          <a:blip xmlns:r="http://schemas.openxmlformats.org/officeDocument/2006/relationships" r:embed="rId1"/>
          <a:srcRect/>
          <a:stretch>
            <a:fillRect t="-148000" b="-148000"/>
          </a:stretch>
        </a:blipFill>
        <a:ln w="48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839B3CC-1FE0-411A-89E8-396C8E2ED6C2}">
      <dsp:nvSpPr>
        <dsp:cNvPr id="0" name=""/>
        <dsp:cNvSpPr/>
      </dsp:nvSpPr>
      <dsp:spPr>
        <a:xfrm rot="10800000">
          <a:off x="302512" y="2276958"/>
          <a:ext cx="4495379" cy="2782948"/>
        </a:xfrm>
        <a:prstGeom prst="round2SameRect">
          <a:avLst>
            <a:gd name="adj1" fmla="val 10500"/>
            <a:gd name="adj2" fmla="val 0"/>
          </a:avLst>
        </a:prstGeom>
        <a:solidFill>
          <a:schemeClr val="accent1">
            <a:hueOff val="0"/>
            <a:satOff val="0"/>
            <a:lumOff val="0"/>
            <a:alphaOff val="0"/>
          </a:schemeClr>
        </a:solidFill>
        <a:ln w="48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3360" tIns="213360" rIns="213360" bIns="213360" numCol="1" spcCol="1270" anchor="t" anchorCtr="0">
          <a:noAutofit/>
        </a:bodyPr>
        <a:lstStyle/>
        <a:p>
          <a:pPr marL="0" lvl="0" indent="0" algn="ctr" defTabSz="1333500">
            <a:lnSpc>
              <a:spcPct val="90000"/>
            </a:lnSpc>
            <a:spcBef>
              <a:spcPct val="0"/>
            </a:spcBef>
            <a:spcAft>
              <a:spcPct val="35000"/>
            </a:spcAft>
            <a:buNone/>
          </a:pPr>
          <a:r>
            <a:rPr lang="en-FI" sz="3000" kern="1200" dirty="0"/>
            <a:t>In the “Atlas of Surveillance” everybody can search for “police tech, e.g. </a:t>
          </a:r>
          <a:r>
            <a:rPr lang="de-DE" sz="3000" kern="1200" dirty="0"/>
            <a:t>C</a:t>
          </a:r>
          <a:r>
            <a:rPr lang="en-FI" sz="3000" kern="1200" dirty="0"/>
            <a:t>ell-site simulators</a:t>
          </a:r>
          <a:endParaRPr lang="de-DE" sz="3000" kern="1200" dirty="0"/>
        </a:p>
      </dsp:txBody>
      <dsp:txXfrm rot="10800000">
        <a:off x="388097" y="2276958"/>
        <a:ext cx="4324209" cy="2697363"/>
      </dsp:txXfrm>
    </dsp:sp>
    <dsp:sp modelId="{868DAE8C-D9C1-4351-95DE-C62CA22811EB}">
      <dsp:nvSpPr>
        <dsp:cNvPr id="0" name=""/>
        <dsp:cNvSpPr/>
      </dsp:nvSpPr>
      <dsp:spPr>
        <a:xfrm>
          <a:off x="5254667" y="293776"/>
          <a:ext cx="4495379" cy="1669769"/>
        </a:xfrm>
        <a:prstGeom prst="roundRect">
          <a:avLst>
            <a:gd name="adj" fmla="val 10000"/>
          </a:avLst>
        </a:prstGeom>
        <a:blipFill rotWithShape="1">
          <a:blip xmlns:r="http://schemas.openxmlformats.org/officeDocument/2006/relationships" r:embed="rId2"/>
          <a:srcRect/>
          <a:stretch>
            <a:fillRect t="-26000" b="-26000"/>
          </a:stretch>
        </a:blipFill>
        <a:ln w="48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C97AAA1-EA5E-4D40-B6C2-124997BF06B5}">
      <dsp:nvSpPr>
        <dsp:cNvPr id="0" name=""/>
        <dsp:cNvSpPr/>
      </dsp:nvSpPr>
      <dsp:spPr>
        <a:xfrm rot="10800000">
          <a:off x="5247429" y="2276958"/>
          <a:ext cx="4495379" cy="2782948"/>
        </a:xfrm>
        <a:prstGeom prst="round2SameRect">
          <a:avLst>
            <a:gd name="adj1" fmla="val 10500"/>
            <a:gd name="adj2" fmla="val 0"/>
          </a:avLst>
        </a:prstGeom>
        <a:solidFill>
          <a:schemeClr val="accent1">
            <a:hueOff val="0"/>
            <a:satOff val="0"/>
            <a:lumOff val="0"/>
            <a:alphaOff val="0"/>
          </a:schemeClr>
        </a:solidFill>
        <a:ln w="48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3360" tIns="213360" rIns="213360" bIns="213360" numCol="1" spcCol="1270" anchor="t" anchorCtr="0">
          <a:noAutofit/>
        </a:bodyPr>
        <a:lstStyle/>
        <a:p>
          <a:pPr marL="0" lvl="0" indent="0" algn="ctr" defTabSz="1333500">
            <a:lnSpc>
              <a:spcPct val="90000"/>
            </a:lnSpc>
            <a:spcBef>
              <a:spcPct val="0"/>
            </a:spcBef>
            <a:spcAft>
              <a:spcPct val="35000"/>
            </a:spcAft>
            <a:buNone/>
          </a:pPr>
          <a:r>
            <a:rPr lang="en-FI" sz="3000" kern="1200" dirty="0"/>
            <a:t>“Who has your back” was a classic report on who reports on government surveillance </a:t>
          </a:r>
          <a:endParaRPr lang="de-DE" sz="3000" kern="1200" dirty="0"/>
        </a:p>
      </dsp:txBody>
      <dsp:txXfrm rot="10800000">
        <a:off x="5333014" y="2276958"/>
        <a:ext cx="4324209" cy="269736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D62E6E-153A-4184-B937-2DED12405D0E}">
      <dsp:nvSpPr>
        <dsp:cNvPr id="0" name=""/>
        <dsp:cNvSpPr/>
      </dsp:nvSpPr>
      <dsp:spPr>
        <a:xfrm rot="5400000">
          <a:off x="5597295" y="-2023235"/>
          <a:ext cx="1567173" cy="6005536"/>
        </a:xfrm>
        <a:prstGeom prst="round2SameRect">
          <a:avLst/>
        </a:prstGeom>
        <a:solidFill>
          <a:srgbClr val="99CB38">
            <a:alpha val="90000"/>
            <a:tint val="40000"/>
            <a:hueOff val="0"/>
            <a:satOff val="0"/>
            <a:lumOff val="0"/>
            <a:alphaOff val="0"/>
          </a:srgbClr>
        </a:solidFill>
        <a:ln w="15875" cap="flat" cmpd="sng" algn="ctr">
          <a:solidFill>
            <a:srgbClr val="99CB38">
              <a:alpha val="90000"/>
              <a:tint val="40000"/>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228600" lvl="1" indent="-228600" algn="l" defTabSz="933450">
            <a:lnSpc>
              <a:spcPct val="90000"/>
            </a:lnSpc>
            <a:spcBef>
              <a:spcPct val="0"/>
            </a:spcBef>
            <a:spcAft>
              <a:spcPct val="15000"/>
            </a:spcAft>
            <a:buChar char="•"/>
          </a:pPr>
          <a:r>
            <a:rPr lang="en-US" sz="2100" kern="1200" dirty="0">
              <a:solidFill>
                <a:sysClr val="windowText" lastClr="000000">
                  <a:hueOff val="0"/>
                  <a:satOff val="0"/>
                  <a:lumOff val="0"/>
                  <a:alphaOff val="0"/>
                </a:sysClr>
              </a:solidFill>
              <a:latin typeface="+mj-lt"/>
              <a:ea typeface="+mn-ea"/>
              <a:cs typeface="+mn-cs"/>
            </a:rPr>
            <a:t>Most obligations of controllers and processors</a:t>
          </a:r>
        </a:p>
        <a:p>
          <a:pPr marL="228600" lvl="1" indent="-228600" algn="l" defTabSz="933450">
            <a:lnSpc>
              <a:spcPct val="90000"/>
            </a:lnSpc>
            <a:spcBef>
              <a:spcPct val="0"/>
            </a:spcBef>
            <a:spcAft>
              <a:spcPct val="15000"/>
            </a:spcAft>
            <a:buChar char="•"/>
          </a:pPr>
          <a:r>
            <a:rPr lang="en-US" sz="2100" kern="1200" dirty="0">
              <a:solidFill>
                <a:sysClr val="windowText" lastClr="000000">
                  <a:hueOff val="0"/>
                  <a:satOff val="0"/>
                  <a:lumOff val="0"/>
                  <a:alphaOff val="0"/>
                </a:sysClr>
              </a:solidFill>
              <a:latin typeface="+mj-lt"/>
              <a:ea typeface="+mn-ea"/>
              <a:cs typeface="+mn-cs"/>
            </a:rPr>
            <a:t>For example: privacy by default (25), records (30), data breaches notification (33)</a:t>
          </a:r>
        </a:p>
      </dsp:txBody>
      <dsp:txXfrm rot="-5400000">
        <a:off x="3378114" y="272449"/>
        <a:ext cx="5929033" cy="1414167"/>
      </dsp:txXfrm>
    </dsp:sp>
    <dsp:sp modelId="{40FE69A1-6B6C-4556-B8D3-5C8C6F6B4FF7}">
      <dsp:nvSpPr>
        <dsp:cNvPr id="0" name=""/>
        <dsp:cNvSpPr/>
      </dsp:nvSpPr>
      <dsp:spPr>
        <a:xfrm>
          <a:off x="0" y="49"/>
          <a:ext cx="3378114" cy="1958966"/>
        </a:xfrm>
        <a:prstGeom prst="roundRect">
          <a:avLst/>
        </a:prstGeom>
        <a:solidFill>
          <a:srgbClr val="99CB38">
            <a:hueOff val="0"/>
            <a:satOff val="0"/>
            <a:lumOff val="0"/>
            <a:alphaOff val="0"/>
          </a:srgbClr>
        </a:solidFill>
        <a:ln w="15875"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43815" rIns="87630" bIns="43815" numCol="1" spcCol="1270" anchor="ctr" anchorCtr="0">
          <a:noAutofit/>
        </a:bodyPr>
        <a:lstStyle/>
        <a:p>
          <a:pPr marL="0" lvl="0" indent="0" algn="ctr" defTabSz="1022350">
            <a:lnSpc>
              <a:spcPct val="90000"/>
            </a:lnSpc>
            <a:spcBef>
              <a:spcPct val="0"/>
            </a:spcBef>
            <a:spcAft>
              <a:spcPct val="35000"/>
            </a:spcAft>
            <a:buNone/>
          </a:pPr>
          <a:r>
            <a:rPr lang="en-US" sz="2300" kern="1200" dirty="0">
              <a:solidFill>
                <a:sysClr val="window" lastClr="FFFFFF"/>
              </a:solidFill>
              <a:latin typeface="+mj-lt"/>
              <a:ea typeface="+mn-ea"/>
              <a:cs typeface="+mn-cs"/>
            </a:rPr>
            <a:t>10 Mio  or up to 2 % of the total worldwide annual turnover of the preceding financial year</a:t>
          </a:r>
        </a:p>
      </dsp:txBody>
      <dsp:txXfrm>
        <a:off x="95629" y="95678"/>
        <a:ext cx="3186856" cy="1767708"/>
      </dsp:txXfrm>
    </dsp:sp>
    <dsp:sp modelId="{E2615C8C-6339-4B57-AB7E-CB4A0CC660C0}">
      <dsp:nvSpPr>
        <dsp:cNvPr id="0" name=""/>
        <dsp:cNvSpPr/>
      </dsp:nvSpPr>
      <dsp:spPr>
        <a:xfrm rot="5400000">
          <a:off x="5597295" y="33678"/>
          <a:ext cx="1567173" cy="6005536"/>
        </a:xfrm>
        <a:prstGeom prst="round2SameRect">
          <a:avLst/>
        </a:prstGeom>
        <a:solidFill>
          <a:srgbClr val="99CB38">
            <a:alpha val="90000"/>
            <a:tint val="40000"/>
            <a:hueOff val="0"/>
            <a:satOff val="0"/>
            <a:lumOff val="0"/>
            <a:alphaOff val="0"/>
          </a:srgbClr>
        </a:solidFill>
        <a:ln w="15875" cap="flat" cmpd="sng" algn="ctr">
          <a:solidFill>
            <a:srgbClr val="99CB38">
              <a:alpha val="90000"/>
              <a:tint val="40000"/>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0010" tIns="40005" rIns="80010" bIns="40005" numCol="1" spcCol="1270" anchor="ctr" anchorCtr="0">
          <a:noAutofit/>
        </a:bodyPr>
        <a:lstStyle/>
        <a:p>
          <a:pPr marL="171450" lvl="1" indent="-171450" algn="l" defTabSz="800100">
            <a:lnSpc>
              <a:spcPct val="90000"/>
            </a:lnSpc>
            <a:spcBef>
              <a:spcPct val="0"/>
            </a:spcBef>
            <a:spcAft>
              <a:spcPct val="15000"/>
            </a:spcAft>
            <a:buChar char="•"/>
          </a:pPr>
          <a:r>
            <a:rPr lang="en-US" sz="1800" kern="1200" dirty="0">
              <a:solidFill>
                <a:sysClr val="windowText" lastClr="000000">
                  <a:hueOff val="0"/>
                  <a:satOff val="0"/>
                  <a:lumOff val="0"/>
                  <a:alphaOff val="0"/>
                </a:sysClr>
              </a:solidFill>
              <a:latin typeface="+mj-lt"/>
              <a:ea typeface="+mn-ea"/>
              <a:cs typeface="+mn-cs"/>
            </a:rPr>
            <a:t>Conditions for consent and other conditions for processing (5, 6,7,9)</a:t>
          </a:r>
        </a:p>
        <a:p>
          <a:pPr marL="171450" lvl="1" indent="-171450" algn="l" defTabSz="800100">
            <a:lnSpc>
              <a:spcPct val="90000"/>
            </a:lnSpc>
            <a:spcBef>
              <a:spcPct val="0"/>
            </a:spcBef>
            <a:spcAft>
              <a:spcPct val="15000"/>
            </a:spcAft>
            <a:buChar char="•"/>
          </a:pPr>
          <a:r>
            <a:rPr lang="en-US" sz="1800" kern="1200" dirty="0">
              <a:solidFill>
                <a:sysClr val="windowText" lastClr="000000">
                  <a:hueOff val="0"/>
                  <a:satOff val="0"/>
                  <a:lumOff val="0"/>
                  <a:alphaOff val="0"/>
                </a:sysClr>
              </a:solidFill>
              <a:latin typeface="+mj-lt"/>
              <a:ea typeface="+mn-ea"/>
              <a:cs typeface="+mn-cs"/>
            </a:rPr>
            <a:t>Data subject rights (12-22)</a:t>
          </a:r>
        </a:p>
        <a:p>
          <a:pPr marL="171450" lvl="1" indent="-171450" algn="l" defTabSz="800100">
            <a:lnSpc>
              <a:spcPct val="90000"/>
            </a:lnSpc>
            <a:spcBef>
              <a:spcPct val="0"/>
            </a:spcBef>
            <a:spcAft>
              <a:spcPct val="15000"/>
            </a:spcAft>
            <a:buChar char="•"/>
          </a:pPr>
          <a:r>
            <a:rPr lang="en-US" sz="1800" kern="1200" dirty="0">
              <a:solidFill>
                <a:sysClr val="windowText" lastClr="000000">
                  <a:hueOff val="0"/>
                  <a:satOff val="0"/>
                  <a:lumOff val="0"/>
                  <a:alphaOff val="0"/>
                </a:sysClr>
              </a:solidFill>
              <a:latin typeface="+mj-lt"/>
              <a:ea typeface="+mn-ea"/>
              <a:cs typeface="+mn-cs"/>
            </a:rPr>
            <a:t>Transfer of data (44-49)</a:t>
          </a:r>
        </a:p>
        <a:p>
          <a:pPr marL="171450" lvl="1" indent="-171450" algn="l" defTabSz="800100">
            <a:lnSpc>
              <a:spcPct val="90000"/>
            </a:lnSpc>
            <a:spcBef>
              <a:spcPct val="0"/>
            </a:spcBef>
            <a:spcAft>
              <a:spcPct val="15000"/>
            </a:spcAft>
            <a:buChar char="•"/>
          </a:pPr>
          <a:r>
            <a:rPr lang="en-US" sz="1800" kern="1200" dirty="0">
              <a:solidFill>
                <a:sysClr val="windowText" lastClr="000000">
                  <a:hueOff val="0"/>
                  <a:satOff val="0"/>
                  <a:lumOff val="0"/>
                  <a:alphaOff val="0"/>
                </a:sysClr>
              </a:solidFill>
              <a:latin typeface="+mj-lt"/>
              <a:ea typeface="+mn-ea"/>
              <a:cs typeface="+mn-cs"/>
            </a:rPr>
            <a:t>Non-compliances with orders from a DPA for stopping data flows (58)</a:t>
          </a:r>
        </a:p>
      </dsp:txBody>
      <dsp:txXfrm rot="-5400000">
        <a:off x="3378114" y="2329363"/>
        <a:ext cx="5929033" cy="1414167"/>
      </dsp:txXfrm>
    </dsp:sp>
    <dsp:sp modelId="{52D7C7D6-A89A-423B-9553-6ACE9E8F650A}">
      <dsp:nvSpPr>
        <dsp:cNvPr id="0" name=""/>
        <dsp:cNvSpPr/>
      </dsp:nvSpPr>
      <dsp:spPr>
        <a:xfrm>
          <a:off x="0" y="2056963"/>
          <a:ext cx="3378114" cy="1958966"/>
        </a:xfrm>
        <a:prstGeom prst="roundRect">
          <a:avLst/>
        </a:prstGeom>
        <a:solidFill>
          <a:srgbClr val="99CB38">
            <a:hueOff val="0"/>
            <a:satOff val="0"/>
            <a:lumOff val="0"/>
            <a:alphaOff val="0"/>
          </a:srgbClr>
        </a:solidFill>
        <a:ln w="15875"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7630" tIns="43815" rIns="87630" bIns="43815" numCol="1" spcCol="1270" anchor="ctr" anchorCtr="0">
          <a:noAutofit/>
        </a:bodyPr>
        <a:lstStyle/>
        <a:p>
          <a:pPr marL="0" lvl="0" indent="0" algn="ctr" defTabSz="1022350">
            <a:lnSpc>
              <a:spcPct val="90000"/>
            </a:lnSpc>
            <a:spcBef>
              <a:spcPct val="0"/>
            </a:spcBef>
            <a:spcAft>
              <a:spcPct val="35000"/>
            </a:spcAft>
            <a:buNone/>
          </a:pPr>
          <a:r>
            <a:rPr lang="en-US" sz="2300" kern="1200" dirty="0">
              <a:solidFill>
                <a:sysClr val="window" lastClr="FFFFFF"/>
              </a:solidFill>
              <a:latin typeface="+mj-lt"/>
              <a:ea typeface="+mn-ea"/>
              <a:cs typeface="+mn-cs"/>
            </a:rPr>
            <a:t>20 Mio or up to 4 % of the total worldwide annual turnover of the preceding financial year</a:t>
          </a:r>
        </a:p>
      </dsp:txBody>
      <dsp:txXfrm>
        <a:off x="95629" y="2152592"/>
        <a:ext cx="3186856" cy="176770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66E40C-C9C1-4E4D-8D2E-0DE96438FA56}">
      <dsp:nvSpPr>
        <dsp:cNvPr id="0" name=""/>
        <dsp:cNvSpPr/>
      </dsp:nvSpPr>
      <dsp:spPr>
        <a:xfrm>
          <a:off x="463634" y="753"/>
          <a:ext cx="4311785" cy="2970820"/>
        </a:xfrm>
        <a:prstGeom prst="roundRect">
          <a:avLst/>
        </a:prstGeom>
        <a:blipFill rotWithShape="1">
          <a:blip xmlns:r="http://schemas.openxmlformats.org/officeDocument/2006/relationships" r:embed="rId1"/>
          <a:srcRect/>
          <a:stretch>
            <a:fillRect l="-31000" r="-31000"/>
          </a:stretch>
        </a:blipFill>
        <a:ln w="48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661C5EB-F8EB-425D-8FAE-1F00209B49DE}">
      <dsp:nvSpPr>
        <dsp:cNvPr id="0" name=""/>
        <dsp:cNvSpPr/>
      </dsp:nvSpPr>
      <dsp:spPr>
        <a:xfrm>
          <a:off x="463634" y="2971573"/>
          <a:ext cx="4311785" cy="15996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5816" tIns="305816" rIns="305816" bIns="0" numCol="1" spcCol="1270" anchor="t" anchorCtr="0">
          <a:noAutofit/>
        </a:bodyPr>
        <a:lstStyle/>
        <a:p>
          <a:pPr marL="0" lvl="0" indent="0" algn="ctr" defTabSz="1911350">
            <a:lnSpc>
              <a:spcPct val="90000"/>
            </a:lnSpc>
            <a:spcBef>
              <a:spcPct val="0"/>
            </a:spcBef>
            <a:spcAft>
              <a:spcPct val="35000"/>
            </a:spcAft>
            <a:buNone/>
          </a:pPr>
          <a:r>
            <a:rPr lang="de-DE" sz="4300" kern="1200" dirty="0">
              <a:hlinkClick xmlns:r="http://schemas.openxmlformats.org/officeDocument/2006/relationships" r:id="rId2"/>
            </a:rPr>
            <a:t>E</a:t>
          </a:r>
          <a:r>
            <a:rPr lang="en-FI" sz="4300" kern="1200" dirty="0" err="1">
              <a:hlinkClick xmlns:r="http://schemas.openxmlformats.org/officeDocument/2006/relationships" r:id="rId2"/>
            </a:rPr>
            <a:t>nforcement</a:t>
          </a:r>
          <a:r>
            <a:rPr lang="en-FI" sz="4300" kern="1200" dirty="0">
              <a:hlinkClick xmlns:r="http://schemas.openxmlformats.org/officeDocument/2006/relationships" r:id="rId2"/>
            </a:rPr>
            <a:t> tracker</a:t>
          </a:r>
          <a:r>
            <a:rPr lang="en-FI" sz="4300" kern="1200" dirty="0"/>
            <a:t>	</a:t>
          </a:r>
          <a:endParaRPr lang="de-DE" sz="4300" kern="1200" dirty="0"/>
        </a:p>
      </dsp:txBody>
      <dsp:txXfrm>
        <a:off x="463634" y="2971573"/>
        <a:ext cx="4311785" cy="1599672"/>
      </dsp:txXfrm>
    </dsp:sp>
    <dsp:sp modelId="{D305CA3C-4589-4C53-AD92-707A6C22514F}">
      <dsp:nvSpPr>
        <dsp:cNvPr id="0" name=""/>
        <dsp:cNvSpPr/>
      </dsp:nvSpPr>
      <dsp:spPr>
        <a:xfrm>
          <a:off x="5206779" y="753"/>
          <a:ext cx="4311785" cy="2970820"/>
        </a:xfrm>
        <a:prstGeom prst="roundRect">
          <a:avLst/>
        </a:prstGeom>
        <a:blipFill rotWithShape="1">
          <a:blip xmlns:r="http://schemas.openxmlformats.org/officeDocument/2006/relationships" r:embed="rId3"/>
          <a:srcRect/>
          <a:stretch>
            <a:fillRect l="-16000" r="-16000"/>
          </a:stretch>
        </a:blipFill>
        <a:ln w="48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3469A4D-E0B4-474C-AA9C-B8A049BE23E8}">
      <dsp:nvSpPr>
        <dsp:cNvPr id="0" name=""/>
        <dsp:cNvSpPr/>
      </dsp:nvSpPr>
      <dsp:spPr>
        <a:xfrm>
          <a:off x="5206779" y="2971573"/>
          <a:ext cx="4311785" cy="15996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5816" tIns="305816" rIns="305816" bIns="0" numCol="1" spcCol="1270" anchor="t" anchorCtr="0">
          <a:noAutofit/>
        </a:bodyPr>
        <a:lstStyle/>
        <a:p>
          <a:pPr marL="0" lvl="0" indent="0" algn="ctr" defTabSz="1911350">
            <a:lnSpc>
              <a:spcPct val="90000"/>
            </a:lnSpc>
            <a:spcBef>
              <a:spcPct val="0"/>
            </a:spcBef>
            <a:spcAft>
              <a:spcPct val="35000"/>
            </a:spcAft>
            <a:buNone/>
          </a:pPr>
          <a:r>
            <a:rPr lang="en-FI" sz="4300" kern="1200" dirty="0">
              <a:hlinkClick xmlns:r="http://schemas.openxmlformats.org/officeDocument/2006/relationships" r:id="rId4"/>
            </a:rPr>
            <a:t>GDPR Hub</a:t>
          </a:r>
          <a:endParaRPr lang="de-DE" sz="4300" kern="1200" dirty="0"/>
        </a:p>
      </dsp:txBody>
      <dsp:txXfrm>
        <a:off x="5206779" y="2971573"/>
        <a:ext cx="4311785" cy="159967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69E96C-89E1-4872-B96A-68B3882FA074}">
      <dsp:nvSpPr>
        <dsp:cNvPr id="0" name=""/>
        <dsp:cNvSpPr/>
      </dsp:nvSpPr>
      <dsp:spPr>
        <a:xfrm>
          <a:off x="0" y="125549"/>
          <a:ext cx="9981720" cy="679184"/>
        </a:xfrm>
        <a:prstGeom prst="roundRect">
          <a:avLst/>
        </a:prstGeom>
        <a:solidFill>
          <a:schemeClr val="accent1">
            <a:hueOff val="0"/>
            <a:satOff val="0"/>
            <a:lumOff val="0"/>
            <a:alphaOff val="0"/>
          </a:schemeClr>
        </a:solidFill>
        <a:ln w="48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de-DE" sz="2700" b="0" i="0" kern="1200" baseline="0"/>
            <a:t>Google</a:t>
          </a:r>
          <a:endParaRPr lang="fi-FI" sz="2700" kern="1200"/>
        </a:p>
      </dsp:txBody>
      <dsp:txXfrm>
        <a:off x="33155" y="158704"/>
        <a:ext cx="9915410" cy="612874"/>
      </dsp:txXfrm>
    </dsp:sp>
    <dsp:sp modelId="{7C562574-90DE-413E-AF61-9589D75F3460}">
      <dsp:nvSpPr>
        <dsp:cNvPr id="0" name=""/>
        <dsp:cNvSpPr/>
      </dsp:nvSpPr>
      <dsp:spPr>
        <a:xfrm>
          <a:off x="0" y="804734"/>
          <a:ext cx="9981720" cy="14810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16920" tIns="34290" rIns="192024" bIns="34290" numCol="1" spcCol="1270" anchor="t" anchorCtr="0">
          <a:noAutofit/>
        </a:bodyPr>
        <a:lstStyle/>
        <a:p>
          <a:pPr marL="228600" lvl="1" indent="-228600" algn="l" defTabSz="933450">
            <a:lnSpc>
              <a:spcPct val="90000"/>
            </a:lnSpc>
            <a:spcBef>
              <a:spcPct val="0"/>
            </a:spcBef>
            <a:spcAft>
              <a:spcPct val="20000"/>
            </a:spcAft>
            <a:buChar char="•"/>
          </a:pPr>
          <a:r>
            <a:rPr lang="de-DE" sz="2100" b="0" i="0" kern="1200" baseline="0"/>
            <a:t>In January 2019, the CNIL fined Google €50 million (about $57.26 million)</a:t>
          </a:r>
          <a:endParaRPr lang="fi-FI" sz="2100" kern="1200"/>
        </a:p>
        <a:p>
          <a:pPr marL="228600" lvl="1" indent="-228600" algn="l" defTabSz="933450">
            <a:lnSpc>
              <a:spcPct val="90000"/>
            </a:lnSpc>
            <a:spcBef>
              <a:spcPct val="0"/>
            </a:spcBef>
            <a:spcAft>
              <a:spcPct val="20000"/>
            </a:spcAft>
            <a:buChar char="•"/>
          </a:pPr>
          <a:r>
            <a:rPr lang="de-DE" sz="2100" b="0" i="0" kern="1200" baseline="0"/>
            <a:t>Google’s total revenues from 2019 was (more or less) $161,857 million </a:t>
          </a:r>
          <a:endParaRPr lang="fi-FI" sz="2100" kern="1200"/>
        </a:p>
        <a:p>
          <a:pPr marL="228600" lvl="1" indent="-228600" algn="l" defTabSz="933450">
            <a:lnSpc>
              <a:spcPct val="90000"/>
            </a:lnSpc>
            <a:spcBef>
              <a:spcPct val="0"/>
            </a:spcBef>
            <a:spcAft>
              <a:spcPct val="20000"/>
            </a:spcAft>
            <a:buChar char="•"/>
          </a:pPr>
          <a:r>
            <a:rPr lang="de-DE" sz="2100" b="0" i="0" kern="1200" baseline="0"/>
            <a:t>The fine was about 0.035% of Google’s revenue. To put it another way, Google’s revenue was about 2,829.7 times higher than the fine</a:t>
          </a:r>
          <a:endParaRPr lang="fi-FI" sz="2100" kern="1200"/>
        </a:p>
      </dsp:txBody>
      <dsp:txXfrm>
        <a:off x="0" y="804734"/>
        <a:ext cx="9981720" cy="1481085"/>
      </dsp:txXfrm>
    </dsp:sp>
    <dsp:sp modelId="{D46949E3-D1D4-41A0-86EB-EA6883547214}">
      <dsp:nvSpPr>
        <dsp:cNvPr id="0" name=""/>
        <dsp:cNvSpPr/>
      </dsp:nvSpPr>
      <dsp:spPr>
        <a:xfrm>
          <a:off x="0" y="2285820"/>
          <a:ext cx="9981720" cy="679184"/>
        </a:xfrm>
        <a:prstGeom prst="roundRect">
          <a:avLst/>
        </a:prstGeom>
        <a:solidFill>
          <a:schemeClr val="accent1">
            <a:hueOff val="0"/>
            <a:satOff val="0"/>
            <a:lumOff val="0"/>
            <a:alphaOff val="0"/>
          </a:schemeClr>
        </a:solidFill>
        <a:ln w="48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marL="0" lvl="0" indent="0" algn="l" defTabSz="1200150">
            <a:lnSpc>
              <a:spcPct val="90000"/>
            </a:lnSpc>
            <a:spcBef>
              <a:spcPct val="0"/>
            </a:spcBef>
            <a:spcAft>
              <a:spcPct val="35000"/>
            </a:spcAft>
            <a:buNone/>
          </a:pPr>
          <a:r>
            <a:rPr lang="de-DE" sz="2700" b="0" i="0" kern="1200" baseline="0"/>
            <a:t>Facebook</a:t>
          </a:r>
          <a:endParaRPr lang="fi-FI" sz="2700" kern="1200"/>
        </a:p>
      </dsp:txBody>
      <dsp:txXfrm>
        <a:off x="33155" y="2318975"/>
        <a:ext cx="9915410" cy="612874"/>
      </dsp:txXfrm>
    </dsp:sp>
    <dsp:sp modelId="{15C2D8E5-4234-4D2F-83D7-2433D50BC48C}">
      <dsp:nvSpPr>
        <dsp:cNvPr id="0" name=""/>
        <dsp:cNvSpPr/>
      </dsp:nvSpPr>
      <dsp:spPr>
        <a:xfrm>
          <a:off x="0" y="2965004"/>
          <a:ext cx="9981720" cy="14810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16920" tIns="34290" rIns="192024" bIns="34290" numCol="1" spcCol="1270" anchor="t" anchorCtr="0">
          <a:noAutofit/>
        </a:bodyPr>
        <a:lstStyle/>
        <a:p>
          <a:pPr marL="228600" lvl="1" indent="-228600" algn="l" defTabSz="933450">
            <a:lnSpc>
              <a:spcPct val="90000"/>
            </a:lnSpc>
            <a:spcBef>
              <a:spcPct val="0"/>
            </a:spcBef>
            <a:spcAft>
              <a:spcPct val="20000"/>
            </a:spcAft>
            <a:buChar char="•"/>
          </a:pPr>
          <a:r>
            <a:rPr lang="de-DE" sz="2100" b="0" i="0" kern="1200" baseline="0"/>
            <a:t>In July 2019, the FTC fined Facebook $5 billion</a:t>
          </a:r>
          <a:endParaRPr lang="fi-FI" sz="2100" kern="1200"/>
        </a:p>
        <a:p>
          <a:pPr marL="228600" lvl="1" indent="-228600" algn="l" defTabSz="933450">
            <a:lnSpc>
              <a:spcPct val="90000"/>
            </a:lnSpc>
            <a:spcBef>
              <a:spcPct val="0"/>
            </a:spcBef>
            <a:spcAft>
              <a:spcPct val="20000"/>
            </a:spcAft>
            <a:buChar char="•"/>
          </a:pPr>
          <a:r>
            <a:rPr lang="de-DE" sz="2100" b="0" i="0" kern="1200" baseline="0"/>
            <a:t>Facebook’s total revenue for 2019 was (more or less) $70.7 billion</a:t>
          </a:r>
          <a:endParaRPr lang="fi-FI" sz="2100" kern="1200"/>
        </a:p>
        <a:p>
          <a:pPr marL="228600" lvl="1" indent="-228600" algn="l" defTabSz="933450">
            <a:lnSpc>
              <a:spcPct val="90000"/>
            </a:lnSpc>
            <a:spcBef>
              <a:spcPct val="0"/>
            </a:spcBef>
            <a:spcAft>
              <a:spcPct val="20000"/>
            </a:spcAft>
            <a:buChar char="•"/>
          </a:pPr>
          <a:r>
            <a:rPr lang="de-DE" sz="2100" b="0" i="0" kern="1200" baseline="0"/>
            <a:t>The fine was about 7% of Facebook’s revenue. To put it another way, Facebook’s revenue was about 14 times larger than the fine</a:t>
          </a:r>
          <a:endParaRPr lang="fi-FI" sz="2100" kern="1200"/>
        </a:p>
      </dsp:txBody>
      <dsp:txXfrm>
        <a:off x="0" y="2965004"/>
        <a:ext cx="9981720" cy="1481085"/>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663A794-C124-47A3-8533-AEDFDC3F9D78}">
      <dsp:nvSpPr>
        <dsp:cNvPr id="0" name=""/>
        <dsp:cNvSpPr/>
      </dsp:nvSpPr>
      <dsp:spPr>
        <a:xfrm>
          <a:off x="893511" y="580261"/>
          <a:ext cx="4455230" cy="4455230"/>
        </a:xfrm>
        <a:prstGeom prst="rect">
          <a:avLst/>
        </a:prstGeom>
        <a:blipFill rotWithShape="1">
          <a:blip xmlns:r="http://schemas.openxmlformats.org/officeDocument/2006/relationships" r:embed="rId1"/>
          <a:srcRect/>
          <a:stretch>
            <a:fillRect t="-2000" b="-2000"/>
          </a:stretch>
        </a:blipFill>
        <a:ln w="48000" cap="flat" cmpd="thickThin"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D134D34-BC43-461A-9369-E111F80334B9}">
      <dsp:nvSpPr>
        <dsp:cNvPr id="0" name=""/>
        <dsp:cNvSpPr/>
      </dsp:nvSpPr>
      <dsp:spPr>
        <a:xfrm rot="16200000">
          <a:off x="-1779626" y="2362353"/>
          <a:ext cx="4455230" cy="8910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685" tIns="19685" rIns="19685" bIns="19685" numCol="1" spcCol="1270" anchor="b" anchorCtr="0">
          <a:noAutofit/>
        </a:bodyPr>
        <a:lstStyle/>
        <a:p>
          <a:pPr marL="0" lvl="0" indent="0" algn="l" defTabSz="1377950">
            <a:lnSpc>
              <a:spcPct val="90000"/>
            </a:lnSpc>
            <a:spcBef>
              <a:spcPct val="0"/>
            </a:spcBef>
            <a:spcAft>
              <a:spcPct val="35000"/>
            </a:spcAft>
            <a:buNone/>
          </a:pPr>
          <a:r>
            <a:rPr lang="de-DE" sz="3100" kern="1200"/>
            <a:t>Highest fine per country</a:t>
          </a:r>
          <a:endParaRPr lang="fi-FI" sz="3100" kern="1200"/>
        </a:p>
      </dsp:txBody>
      <dsp:txXfrm>
        <a:off x="-1779626" y="2362353"/>
        <a:ext cx="4455230" cy="891046"/>
      </dsp:txXfrm>
    </dsp:sp>
    <dsp:sp modelId="{CCB6AE63-4040-4C03-98C6-F5474E5DDE5A}">
      <dsp:nvSpPr>
        <dsp:cNvPr id="0" name=""/>
        <dsp:cNvSpPr/>
      </dsp:nvSpPr>
      <dsp:spPr>
        <a:xfrm>
          <a:off x="6240733" y="580261"/>
          <a:ext cx="4455230" cy="4455230"/>
        </a:xfrm>
        <a:prstGeom prst="rect">
          <a:avLst/>
        </a:prstGeom>
        <a:blipFill rotWithShape="1">
          <a:blip xmlns:r="http://schemas.openxmlformats.org/officeDocument/2006/relationships" r:embed="rId2"/>
          <a:srcRect/>
          <a:stretch>
            <a:fillRect l="-3000" r="-3000"/>
          </a:stretch>
        </a:blipFill>
        <a:ln w="48000" cap="flat" cmpd="thickThin"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20E6466-CF22-4634-97C5-CBFC44BEE88F}">
      <dsp:nvSpPr>
        <dsp:cNvPr id="0" name=""/>
        <dsp:cNvSpPr/>
      </dsp:nvSpPr>
      <dsp:spPr>
        <a:xfrm rot="16200000">
          <a:off x="3567595" y="2362353"/>
          <a:ext cx="4455230" cy="89104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9685" tIns="19685" rIns="19685" bIns="19685" numCol="1" spcCol="1270" anchor="b" anchorCtr="0">
          <a:noAutofit/>
        </a:bodyPr>
        <a:lstStyle/>
        <a:p>
          <a:pPr marL="0" lvl="0" indent="0" algn="l" defTabSz="1377950">
            <a:lnSpc>
              <a:spcPct val="90000"/>
            </a:lnSpc>
            <a:spcBef>
              <a:spcPct val="0"/>
            </a:spcBef>
            <a:spcAft>
              <a:spcPct val="35000"/>
            </a:spcAft>
            <a:buNone/>
          </a:pPr>
          <a:r>
            <a:rPr lang="de-DE" sz="3100" kern="1200"/>
            <a:t>Total number of fines </a:t>
          </a:r>
          <a:endParaRPr lang="fi-FI" sz="3100" kern="1200"/>
        </a:p>
      </dsp:txBody>
      <dsp:txXfrm>
        <a:off x="3567595" y="2362353"/>
        <a:ext cx="4455230" cy="89104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C3F00A-ECBA-4069-B652-723FC480390E}">
      <dsp:nvSpPr>
        <dsp:cNvPr id="0" name=""/>
        <dsp:cNvSpPr/>
      </dsp:nvSpPr>
      <dsp:spPr>
        <a:xfrm>
          <a:off x="0" y="64527"/>
          <a:ext cx="9980280" cy="654030"/>
        </a:xfrm>
        <a:prstGeom prst="roundRect">
          <a:avLst/>
        </a:prstGeom>
        <a:solidFill>
          <a:schemeClr val="accent1">
            <a:hueOff val="0"/>
            <a:satOff val="0"/>
            <a:lumOff val="0"/>
            <a:alphaOff val="0"/>
          </a:schemeClr>
        </a:solidFill>
        <a:ln w="48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rtl="0">
            <a:lnSpc>
              <a:spcPct val="90000"/>
            </a:lnSpc>
            <a:spcBef>
              <a:spcPct val="0"/>
            </a:spcBef>
            <a:spcAft>
              <a:spcPct val="35000"/>
            </a:spcAft>
            <a:buNone/>
          </a:pPr>
          <a:r>
            <a:rPr lang="en-GB" sz="2600" kern="1200" dirty="0">
              <a:latin typeface="Euphemia" panose="020B0503040102020104" pitchFamily="34" charset="0"/>
            </a:rPr>
            <a:t>Raise objections </a:t>
          </a:r>
        </a:p>
      </dsp:txBody>
      <dsp:txXfrm>
        <a:off x="31927" y="96454"/>
        <a:ext cx="9916426" cy="590176"/>
      </dsp:txXfrm>
    </dsp:sp>
    <dsp:sp modelId="{389D75F7-B452-4D8E-A9ED-0D07DC12A796}">
      <dsp:nvSpPr>
        <dsp:cNvPr id="0" name=""/>
        <dsp:cNvSpPr/>
      </dsp:nvSpPr>
      <dsp:spPr>
        <a:xfrm>
          <a:off x="0" y="793438"/>
          <a:ext cx="9980280" cy="654030"/>
        </a:xfrm>
        <a:prstGeom prst="roundRect">
          <a:avLst/>
        </a:prstGeom>
        <a:solidFill>
          <a:schemeClr val="accent1">
            <a:hueOff val="0"/>
            <a:satOff val="0"/>
            <a:lumOff val="0"/>
            <a:alphaOff val="0"/>
          </a:schemeClr>
        </a:solidFill>
        <a:ln w="48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rtl="0">
            <a:lnSpc>
              <a:spcPct val="90000"/>
            </a:lnSpc>
            <a:spcBef>
              <a:spcPct val="0"/>
            </a:spcBef>
            <a:spcAft>
              <a:spcPct val="35000"/>
            </a:spcAft>
            <a:buNone/>
          </a:pPr>
          <a:r>
            <a:rPr lang="en-FI" sz="2600" kern="1200" dirty="0"/>
            <a:t>Conduct investigations</a:t>
          </a:r>
          <a:endParaRPr lang="en-GB" sz="2600" kern="1200" dirty="0"/>
        </a:p>
      </dsp:txBody>
      <dsp:txXfrm>
        <a:off x="31927" y="825365"/>
        <a:ext cx="9916426" cy="590176"/>
      </dsp:txXfrm>
    </dsp:sp>
    <dsp:sp modelId="{28E696A5-A59F-46D8-B356-4113F5E1B39C}">
      <dsp:nvSpPr>
        <dsp:cNvPr id="0" name=""/>
        <dsp:cNvSpPr/>
      </dsp:nvSpPr>
      <dsp:spPr>
        <a:xfrm>
          <a:off x="0" y="1522348"/>
          <a:ext cx="9980280" cy="654030"/>
        </a:xfrm>
        <a:prstGeom prst="roundRect">
          <a:avLst/>
        </a:prstGeom>
        <a:solidFill>
          <a:schemeClr val="accent1">
            <a:hueOff val="0"/>
            <a:satOff val="0"/>
            <a:lumOff val="0"/>
            <a:alphaOff val="0"/>
          </a:schemeClr>
        </a:solidFill>
        <a:ln w="48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rtl="0">
            <a:lnSpc>
              <a:spcPct val="90000"/>
            </a:lnSpc>
            <a:spcBef>
              <a:spcPct val="0"/>
            </a:spcBef>
            <a:spcAft>
              <a:spcPct val="35000"/>
            </a:spcAft>
            <a:buNone/>
          </a:pPr>
          <a:r>
            <a:rPr lang="en-FI" sz="2600" kern="1200" dirty="0"/>
            <a:t>Forbid certain </a:t>
          </a:r>
          <a:r>
            <a:rPr lang="en-FI" sz="2600" kern="1200" dirty="0" err="1"/>
            <a:t>processings</a:t>
          </a:r>
          <a:r>
            <a:rPr lang="en-FI" sz="2600" kern="1200" dirty="0"/>
            <a:t> </a:t>
          </a:r>
          <a:endParaRPr lang="en-GB" sz="2600" kern="1200" dirty="0"/>
        </a:p>
      </dsp:txBody>
      <dsp:txXfrm>
        <a:off x="31927" y="1554275"/>
        <a:ext cx="9916426" cy="590176"/>
      </dsp:txXfrm>
    </dsp:sp>
    <dsp:sp modelId="{2817B7BA-1FDF-4F4A-B073-6D3366318E1A}">
      <dsp:nvSpPr>
        <dsp:cNvPr id="0" name=""/>
        <dsp:cNvSpPr/>
      </dsp:nvSpPr>
      <dsp:spPr>
        <a:xfrm>
          <a:off x="0" y="2251258"/>
          <a:ext cx="9980280" cy="654030"/>
        </a:xfrm>
        <a:prstGeom prst="roundRect">
          <a:avLst/>
        </a:prstGeom>
        <a:solidFill>
          <a:schemeClr val="accent1">
            <a:hueOff val="0"/>
            <a:satOff val="0"/>
            <a:lumOff val="0"/>
            <a:alphaOff val="0"/>
          </a:schemeClr>
        </a:solidFill>
        <a:ln w="48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rtl="0">
            <a:lnSpc>
              <a:spcPct val="90000"/>
            </a:lnSpc>
            <a:spcBef>
              <a:spcPct val="0"/>
            </a:spcBef>
            <a:spcAft>
              <a:spcPct val="35000"/>
            </a:spcAft>
            <a:buNone/>
          </a:pPr>
          <a:r>
            <a:rPr lang="fi-FI" sz="2600" kern="1200" dirty="0"/>
            <a:t>Consent agreement</a:t>
          </a:r>
          <a:endParaRPr lang="en-GB" sz="2600" kern="1200" dirty="0"/>
        </a:p>
      </dsp:txBody>
      <dsp:txXfrm>
        <a:off x="31927" y="2283185"/>
        <a:ext cx="9916426" cy="590176"/>
      </dsp:txXfrm>
    </dsp:sp>
    <dsp:sp modelId="{78A0BF52-EBEF-42B3-95A7-9BE5ED8DE374}">
      <dsp:nvSpPr>
        <dsp:cNvPr id="0" name=""/>
        <dsp:cNvSpPr/>
      </dsp:nvSpPr>
      <dsp:spPr>
        <a:xfrm>
          <a:off x="0" y="2905288"/>
          <a:ext cx="9980280" cy="74002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16874" tIns="33020" rIns="184912" bIns="33020" numCol="1" spcCol="1270" anchor="t" anchorCtr="0">
          <a:noAutofit/>
        </a:bodyPr>
        <a:lstStyle/>
        <a:p>
          <a:pPr marL="228600" lvl="1" indent="-228600" algn="l" defTabSz="889000" rtl="0">
            <a:lnSpc>
              <a:spcPct val="90000"/>
            </a:lnSpc>
            <a:spcBef>
              <a:spcPct val="0"/>
            </a:spcBef>
            <a:spcAft>
              <a:spcPct val="20000"/>
            </a:spcAft>
            <a:buChar char="•"/>
          </a:pPr>
          <a:r>
            <a:rPr lang="fi-FI" sz="2000" kern="1200" dirty="0"/>
            <a:t>Usually mandatory audits for x years</a:t>
          </a:r>
          <a:endParaRPr lang="en-GB" sz="2000" kern="1200" dirty="0"/>
        </a:p>
        <a:p>
          <a:pPr marL="228600" lvl="1" indent="-228600" algn="l" defTabSz="889000" rtl="0">
            <a:lnSpc>
              <a:spcPct val="90000"/>
            </a:lnSpc>
            <a:spcBef>
              <a:spcPct val="0"/>
            </a:spcBef>
            <a:spcAft>
              <a:spcPct val="20000"/>
            </a:spcAft>
            <a:buChar char="•"/>
          </a:pPr>
          <a:r>
            <a:rPr lang="fi-FI" sz="2000" kern="1200" dirty="0" err="1"/>
            <a:t>Usually</a:t>
          </a:r>
          <a:r>
            <a:rPr lang="fi-FI" sz="2000" kern="1200" dirty="0"/>
            <a:t> </a:t>
          </a:r>
          <a:r>
            <a:rPr lang="fi-FI" sz="2000" kern="1200" dirty="0" err="1"/>
            <a:t>agreement</a:t>
          </a:r>
          <a:r>
            <a:rPr lang="fi-FI" sz="2000" kern="1200" dirty="0"/>
            <a:t> to </a:t>
          </a:r>
          <a:r>
            <a:rPr lang="fi-FI" sz="2000" kern="1200" dirty="0" err="1"/>
            <a:t>cease</a:t>
          </a:r>
          <a:r>
            <a:rPr lang="fi-FI" sz="2000" kern="1200" dirty="0"/>
            <a:t> </a:t>
          </a:r>
          <a:r>
            <a:rPr lang="fi-FI" sz="2000" kern="1200" dirty="0" err="1"/>
            <a:t>doing</a:t>
          </a:r>
          <a:r>
            <a:rPr lang="fi-FI" sz="2000" kern="1200" dirty="0"/>
            <a:t> </a:t>
          </a:r>
          <a:r>
            <a:rPr lang="fi-FI" sz="2000" kern="1200" dirty="0" err="1"/>
            <a:t>something</a:t>
          </a:r>
          <a:r>
            <a:rPr lang="fi-FI" sz="2000" kern="1200" dirty="0"/>
            <a:t>.</a:t>
          </a:r>
          <a:endParaRPr lang="en-GB" sz="2000" kern="1200" dirty="0"/>
        </a:p>
      </dsp:txBody>
      <dsp:txXfrm>
        <a:off x="0" y="2905288"/>
        <a:ext cx="9980280" cy="740024"/>
      </dsp:txXfrm>
    </dsp:sp>
    <dsp:sp modelId="{C613DCAD-CBA7-480E-BDB2-DF4F1E969A79}">
      <dsp:nvSpPr>
        <dsp:cNvPr id="0" name=""/>
        <dsp:cNvSpPr/>
      </dsp:nvSpPr>
      <dsp:spPr>
        <a:xfrm>
          <a:off x="0" y="3645313"/>
          <a:ext cx="9980280" cy="654030"/>
        </a:xfrm>
        <a:prstGeom prst="roundRect">
          <a:avLst/>
        </a:prstGeom>
        <a:solidFill>
          <a:schemeClr val="accent1">
            <a:hueOff val="0"/>
            <a:satOff val="0"/>
            <a:lumOff val="0"/>
            <a:alphaOff val="0"/>
          </a:schemeClr>
        </a:solidFill>
        <a:ln w="48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l" defTabSz="1155700" rtl="0">
            <a:lnSpc>
              <a:spcPct val="90000"/>
            </a:lnSpc>
            <a:spcBef>
              <a:spcPct val="0"/>
            </a:spcBef>
            <a:spcAft>
              <a:spcPct val="35000"/>
            </a:spcAft>
            <a:buNone/>
          </a:pPr>
          <a:r>
            <a:rPr lang="fi-FI" sz="2600" kern="1200" dirty="0" err="1"/>
            <a:t>Start</a:t>
          </a:r>
          <a:r>
            <a:rPr lang="fi-FI" sz="2600" kern="1200" dirty="0"/>
            <a:t> </a:t>
          </a:r>
          <a:r>
            <a:rPr lang="fi-FI" sz="2600" kern="1200" dirty="0" err="1"/>
            <a:t>criminal</a:t>
          </a:r>
          <a:r>
            <a:rPr lang="fi-FI" sz="2600" kern="1200" dirty="0"/>
            <a:t> </a:t>
          </a:r>
          <a:r>
            <a:rPr lang="fi-FI" sz="2600" kern="1200" dirty="0" err="1"/>
            <a:t>proceedings</a:t>
          </a:r>
          <a:endParaRPr lang="en-GB" sz="2600" kern="1200" dirty="0"/>
        </a:p>
      </dsp:txBody>
      <dsp:txXfrm>
        <a:off x="31927" y="3677240"/>
        <a:ext cx="9916426" cy="590176"/>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244723-11C3-4F44-A88F-69385C856A37}">
      <dsp:nvSpPr>
        <dsp:cNvPr id="0" name=""/>
        <dsp:cNvSpPr/>
      </dsp:nvSpPr>
      <dsp:spPr>
        <a:xfrm rot="5400000">
          <a:off x="6318102" y="-2605645"/>
          <a:ext cx="936975" cy="6387379"/>
        </a:xfrm>
        <a:prstGeom prst="round2SameRect">
          <a:avLst/>
        </a:prstGeom>
        <a:solidFill>
          <a:schemeClr val="accent1">
            <a:alpha val="90000"/>
            <a:tint val="40000"/>
            <a:hueOff val="0"/>
            <a:satOff val="0"/>
            <a:lumOff val="0"/>
            <a:alphaOff val="0"/>
          </a:schemeClr>
        </a:solidFill>
        <a:ln w="48000" cap="flat" cmpd="thickThin"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20955" rIns="41910" bIns="20955" numCol="1" spcCol="1270" anchor="ctr" anchorCtr="0">
          <a:noAutofit/>
        </a:bodyPr>
        <a:lstStyle/>
        <a:p>
          <a:pPr marL="57150" lvl="1" indent="-57150" algn="l" defTabSz="488950" rtl="0">
            <a:lnSpc>
              <a:spcPct val="90000"/>
            </a:lnSpc>
            <a:spcBef>
              <a:spcPct val="0"/>
            </a:spcBef>
            <a:spcAft>
              <a:spcPct val="15000"/>
            </a:spcAft>
            <a:buChar char="•"/>
          </a:pPr>
          <a:r>
            <a:rPr lang="fi-FI" sz="1100" kern="1200"/>
            <a:t>Violation of business secrets (Ch. 30, Sec.5)</a:t>
          </a:r>
          <a:endParaRPr lang="en-GB" sz="1100" kern="1200"/>
        </a:p>
        <a:p>
          <a:pPr marL="57150" lvl="1" indent="-57150" algn="l" defTabSz="488950" rtl="0">
            <a:lnSpc>
              <a:spcPct val="90000"/>
            </a:lnSpc>
            <a:spcBef>
              <a:spcPct val="0"/>
            </a:spcBef>
            <a:spcAft>
              <a:spcPct val="15000"/>
            </a:spcAft>
            <a:buChar char="•"/>
          </a:pPr>
          <a:r>
            <a:rPr lang="fi-FI" sz="1100" kern="1200"/>
            <a:t>Dissemination of private information (Ch. 24, Sec. 9)</a:t>
          </a:r>
          <a:endParaRPr lang="en-GB" sz="1100" kern="1200"/>
        </a:p>
        <a:p>
          <a:pPr marL="57150" lvl="1" indent="-57150" algn="l" defTabSz="488950" rtl="0">
            <a:lnSpc>
              <a:spcPct val="90000"/>
            </a:lnSpc>
            <a:spcBef>
              <a:spcPct val="0"/>
            </a:spcBef>
            <a:spcAft>
              <a:spcPct val="15000"/>
            </a:spcAft>
            <a:buChar char="•"/>
          </a:pPr>
          <a:r>
            <a:rPr lang="en-GB" sz="1100" kern="1200" dirty="0"/>
            <a:t>Breaking professional secrecy (Ch. 40, Sec 5)</a:t>
          </a:r>
        </a:p>
        <a:p>
          <a:pPr marL="57150" lvl="1" indent="-57150" algn="l" defTabSz="488950" rtl="0">
            <a:lnSpc>
              <a:spcPct val="90000"/>
            </a:lnSpc>
            <a:spcBef>
              <a:spcPct val="0"/>
            </a:spcBef>
            <a:spcAft>
              <a:spcPct val="15000"/>
            </a:spcAft>
            <a:buChar char="•"/>
          </a:pPr>
          <a:r>
            <a:rPr lang="en-GB" sz="1100" kern="1200"/>
            <a:t>Official leak secrets (Ch. 38, Sec. 1)</a:t>
          </a:r>
        </a:p>
      </dsp:txBody>
      <dsp:txXfrm rot="-5400000">
        <a:off x="3592901" y="165295"/>
        <a:ext cx="6341640" cy="845497"/>
      </dsp:txXfrm>
    </dsp:sp>
    <dsp:sp modelId="{48BBFBF4-4011-45A0-A2DB-ED0F795087B0}">
      <dsp:nvSpPr>
        <dsp:cNvPr id="0" name=""/>
        <dsp:cNvSpPr/>
      </dsp:nvSpPr>
      <dsp:spPr>
        <a:xfrm>
          <a:off x="0" y="2435"/>
          <a:ext cx="3592900" cy="1171218"/>
        </a:xfrm>
        <a:prstGeom prst="roundRect">
          <a:avLst/>
        </a:prstGeom>
        <a:solidFill>
          <a:schemeClr val="accent1">
            <a:hueOff val="0"/>
            <a:satOff val="0"/>
            <a:lumOff val="0"/>
            <a:alphaOff val="0"/>
          </a:schemeClr>
        </a:solidFill>
        <a:ln w="48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rtl="0">
            <a:lnSpc>
              <a:spcPct val="90000"/>
            </a:lnSpc>
            <a:spcBef>
              <a:spcPct val="0"/>
            </a:spcBef>
            <a:spcAft>
              <a:spcPct val="35000"/>
            </a:spcAft>
            <a:buNone/>
          </a:pPr>
          <a:r>
            <a:rPr lang="fi-FI" sz="3100" kern="1200"/>
            <a:t>Secrets</a:t>
          </a:r>
          <a:endParaRPr lang="en-GB" sz="3100" kern="1200"/>
        </a:p>
      </dsp:txBody>
      <dsp:txXfrm>
        <a:off x="57174" y="59609"/>
        <a:ext cx="3478552" cy="1056870"/>
      </dsp:txXfrm>
    </dsp:sp>
    <dsp:sp modelId="{F3FC28E5-FC43-43D7-9821-FE644DF76E58}">
      <dsp:nvSpPr>
        <dsp:cNvPr id="0" name=""/>
        <dsp:cNvSpPr/>
      </dsp:nvSpPr>
      <dsp:spPr>
        <a:xfrm rot="5400000">
          <a:off x="6318102" y="-1375865"/>
          <a:ext cx="936975" cy="6387379"/>
        </a:xfrm>
        <a:prstGeom prst="round2SameRect">
          <a:avLst/>
        </a:prstGeom>
        <a:solidFill>
          <a:schemeClr val="accent1">
            <a:alpha val="90000"/>
            <a:tint val="40000"/>
            <a:hueOff val="0"/>
            <a:satOff val="0"/>
            <a:lumOff val="0"/>
            <a:alphaOff val="0"/>
          </a:schemeClr>
        </a:solidFill>
        <a:ln w="48000" cap="flat" cmpd="thickThin"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20955" rIns="41910" bIns="20955" numCol="1" spcCol="1270" anchor="ctr" anchorCtr="0">
          <a:noAutofit/>
        </a:bodyPr>
        <a:lstStyle/>
        <a:p>
          <a:pPr marL="57150" lvl="1" indent="-57150" algn="l" defTabSz="488950" rtl="0">
            <a:lnSpc>
              <a:spcPct val="90000"/>
            </a:lnSpc>
            <a:spcBef>
              <a:spcPct val="0"/>
            </a:spcBef>
            <a:spcAft>
              <a:spcPct val="15000"/>
            </a:spcAft>
            <a:buChar char="•"/>
          </a:pPr>
          <a:r>
            <a:rPr lang="fi-FI" sz="1100" kern="1200"/>
            <a:t>Eaveesdroping (e.g. Ch.24, Sec. 5 )</a:t>
          </a:r>
          <a:endParaRPr lang="en-GB" sz="1100" kern="1200"/>
        </a:p>
        <a:p>
          <a:pPr marL="57150" lvl="1" indent="-57150" algn="l" defTabSz="488950" rtl="0">
            <a:lnSpc>
              <a:spcPct val="90000"/>
            </a:lnSpc>
            <a:spcBef>
              <a:spcPct val="0"/>
            </a:spcBef>
            <a:spcAft>
              <a:spcPct val="15000"/>
            </a:spcAft>
            <a:buChar char="•"/>
          </a:pPr>
          <a:r>
            <a:rPr lang="en-GB" sz="1100" kern="1200" dirty="0"/>
            <a:t>Message interception (Ch. 38, Sec. 3)</a:t>
          </a:r>
        </a:p>
      </dsp:txBody>
      <dsp:txXfrm rot="-5400000">
        <a:off x="3592901" y="1395075"/>
        <a:ext cx="6341640" cy="845497"/>
      </dsp:txXfrm>
    </dsp:sp>
    <dsp:sp modelId="{182828C9-23FE-4A0B-94C4-ACD677801481}">
      <dsp:nvSpPr>
        <dsp:cNvPr id="0" name=""/>
        <dsp:cNvSpPr/>
      </dsp:nvSpPr>
      <dsp:spPr>
        <a:xfrm>
          <a:off x="0" y="1232214"/>
          <a:ext cx="3592900" cy="1171218"/>
        </a:xfrm>
        <a:prstGeom prst="roundRect">
          <a:avLst/>
        </a:prstGeom>
        <a:solidFill>
          <a:schemeClr val="accent1">
            <a:hueOff val="0"/>
            <a:satOff val="0"/>
            <a:lumOff val="0"/>
            <a:alphaOff val="0"/>
          </a:schemeClr>
        </a:solidFill>
        <a:ln w="48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rtl="0">
            <a:lnSpc>
              <a:spcPct val="90000"/>
            </a:lnSpc>
            <a:spcBef>
              <a:spcPct val="0"/>
            </a:spcBef>
            <a:spcAft>
              <a:spcPct val="35000"/>
            </a:spcAft>
            <a:buNone/>
          </a:pPr>
          <a:r>
            <a:rPr lang="fi-FI" sz="3100" kern="1200"/>
            <a:t>Communication invasion</a:t>
          </a:r>
          <a:endParaRPr lang="en-GB" sz="3100" kern="1200"/>
        </a:p>
      </dsp:txBody>
      <dsp:txXfrm>
        <a:off x="57174" y="1289388"/>
        <a:ext cx="3478552" cy="1056870"/>
      </dsp:txXfrm>
    </dsp:sp>
    <dsp:sp modelId="{5B7A5422-C44E-4739-8E00-7EFB54C3B367}">
      <dsp:nvSpPr>
        <dsp:cNvPr id="0" name=""/>
        <dsp:cNvSpPr/>
      </dsp:nvSpPr>
      <dsp:spPr>
        <a:xfrm rot="5400000">
          <a:off x="6318102" y="-146085"/>
          <a:ext cx="936975" cy="6387379"/>
        </a:xfrm>
        <a:prstGeom prst="round2SameRect">
          <a:avLst/>
        </a:prstGeom>
        <a:solidFill>
          <a:schemeClr val="accent1">
            <a:alpha val="90000"/>
            <a:tint val="40000"/>
            <a:hueOff val="0"/>
            <a:satOff val="0"/>
            <a:lumOff val="0"/>
            <a:alphaOff val="0"/>
          </a:schemeClr>
        </a:solidFill>
        <a:ln w="48000" cap="flat" cmpd="thickThin"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20955" rIns="41910" bIns="20955" numCol="1" spcCol="1270" anchor="ctr" anchorCtr="0">
          <a:noAutofit/>
        </a:bodyPr>
        <a:lstStyle/>
        <a:p>
          <a:pPr marL="57150" lvl="1" indent="-57150" algn="l" defTabSz="488950" rtl="0">
            <a:lnSpc>
              <a:spcPct val="90000"/>
            </a:lnSpc>
            <a:spcBef>
              <a:spcPct val="0"/>
            </a:spcBef>
            <a:spcAft>
              <a:spcPct val="15000"/>
            </a:spcAft>
            <a:buChar char="•"/>
          </a:pPr>
          <a:r>
            <a:rPr lang="en-GB" sz="1100" kern="1200"/>
            <a:t>Interference in a computer system (Ch. 38, Sec. 7a)</a:t>
          </a:r>
        </a:p>
        <a:p>
          <a:pPr marL="57150" lvl="1" indent="-57150" algn="l" defTabSz="488950" rtl="0">
            <a:lnSpc>
              <a:spcPct val="90000"/>
            </a:lnSpc>
            <a:spcBef>
              <a:spcPct val="0"/>
            </a:spcBef>
            <a:spcAft>
              <a:spcPct val="15000"/>
            </a:spcAft>
            <a:buChar char="•"/>
          </a:pPr>
          <a:r>
            <a:rPr lang="fi-FI" sz="1100" kern="1200"/>
            <a:t>Endangerment of data processing (Ch. 34, Sec.9a)</a:t>
          </a:r>
          <a:endParaRPr lang="en-GB" sz="1100" kern="1200"/>
        </a:p>
      </dsp:txBody>
      <dsp:txXfrm rot="-5400000">
        <a:off x="3592901" y="2624855"/>
        <a:ext cx="6341640" cy="845497"/>
      </dsp:txXfrm>
    </dsp:sp>
    <dsp:sp modelId="{3301E6EC-B870-40A6-AF8F-42D2034C26D4}">
      <dsp:nvSpPr>
        <dsp:cNvPr id="0" name=""/>
        <dsp:cNvSpPr/>
      </dsp:nvSpPr>
      <dsp:spPr>
        <a:xfrm>
          <a:off x="0" y="2461994"/>
          <a:ext cx="3592900" cy="1171218"/>
        </a:xfrm>
        <a:prstGeom prst="roundRect">
          <a:avLst/>
        </a:prstGeom>
        <a:solidFill>
          <a:schemeClr val="accent1">
            <a:hueOff val="0"/>
            <a:satOff val="0"/>
            <a:lumOff val="0"/>
            <a:alphaOff val="0"/>
          </a:schemeClr>
        </a:solidFill>
        <a:ln w="48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rtl="0">
            <a:lnSpc>
              <a:spcPct val="90000"/>
            </a:lnSpc>
            <a:spcBef>
              <a:spcPct val="0"/>
            </a:spcBef>
            <a:spcAft>
              <a:spcPct val="35000"/>
            </a:spcAft>
            <a:buNone/>
          </a:pPr>
          <a:r>
            <a:rPr lang="fi-FI" sz="3100" kern="1200"/>
            <a:t>Hacking and etc.</a:t>
          </a:r>
          <a:endParaRPr lang="en-GB" sz="3100" kern="1200"/>
        </a:p>
      </dsp:txBody>
      <dsp:txXfrm>
        <a:off x="57174" y="2519168"/>
        <a:ext cx="3478552" cy="1056870"/>
      </dsp:txXfrm>
    </dsp:sp>
    <dsp:sp modelId="{B85093D1-4BA1-49A0-9DC2-0D8CE2AE6786}">
      <dsp:nvSpPr>
        <dsp:cNvPr id="0" name=""/>
        <dsp:cNvSpPr/>
      </dsp:nvSpPr>
      <dsp:spPr>
        <a:xfrm rot="5400000">
          <a:off x="6318102" y="1083693"/>
          <a:ext cx="936975" cy="6387379"/>
        </a:xfrm>
        <a:prstGeom prst="round2SameRect">
          <a:avLst/>
        </a:prstGeom>
        <a:solidFill>
          <a:schemeClr val="accent1">
            <a:alpha val="90000"/>
            <a:tint val="40000"/>
            <a:hueOff val="0"/>
            <a:satOff val="0"/>
            <a:lumOff val="0"/>
            <a:alphaOff val="0"/>
          </a:schemeClr>
        </a:solidFill>
        <a:ln w="48000" cap="flat" cmpd="thickThin"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1910" tIns="20955" rIns="41910" bIns="20955" numCol="1" spcCol="1270" anchor="ctr" anchorCtr="0">
          <a:noAutofit/>
        </a:bodyPr>
        <a:lstStyle/>
        <a:p>
          <a:pPr marL="57150" lvl="1" indent="-57150" algn="l" defTabSz="488950" rtl="0">
            <a:lnSpc>
              <a:spcPct val="90000"/>
            </a:lnSpc>
            <a:spcBef>
              <a:spcPct val="0"/>
            </a:spcBef>
            <a:spcAft>
              <a:spcPct val="15000"/>
            </a:spcAft>
            <a:buChar char="•"/>
          </a:pPr>
          <a:r>
            <a:rPr lang="fi-FI" sz="1100" kern="1200"/>
            <a:t>Crimes against national security (e.g. Ch. 12, Sec. 7)</a:t>
          </a:r>
          <a:endParaRPr lang="en-GB" sz="1100" kern="1200"/>
        </a:p>
        <a:p>
          <a:pPr marL="57150" lvl="1" indent="-57150" algn="l" defTabSz="488950" rtl="0">
            <a:lnSpc>
              <a:spcPct val="90000"/>
            </a:lnSpc>
            <a:spcBef>
              <a:spcPct val="0"/>
            </a:spcBef>
            <a:spcAft>
              <a:spcPct val="15000"/>
            </a:spcAft>
            <a:buChar char="•"/>
          </a:pPr>
          <a:r>
            <a:rPr lang="fi-FI" sz="1100" kern="1200" dirty="0" err="1"/>
            <a:t>Invasion</a:t>
          </a:r>
          <a:r>
            <a:rPr lang="fi-FI" sz="1100" kern="1200" dirty="0"/>
            <a:t> of </a:t>
          </a:r>
          <a:r>
            <a:rPr lang="fi-FI" sz="1100" kern="1200" dirty="0" err="1"/>
            <a:t>privacy</a:t>
          </a:r>
          <a:r>
            <a:rPr lang="fi-FI" sz="1100" kern="1200" dirty="0"/>
            <a:t> (</a:t>
          </a:r>
          <a:r>
            <a:rPr lang="fi-FI" sz="1100" kern="1200" dirty="0" err="1"/>
            <a:t>e.g</a:t>
          </a:r>
          <a:r>
            <a:rPr lang="fi-FI" sz="1100" kern="1200" dirty="0"/>
            <a:t>. Ch.24, </a:t>
          </a:r>
          <a:r>
            <a:rPr lang="fi-FI" sz="1100" kern="1200" dirty="0" err="1"/>
            <a:t>Sec</a:t>
          </a:r>
          <a:r>
            <a:rPr lang="fi-FI" sz="1100" kern="1200" dirty="0"/>
            <a:t>. 1)</a:t>
          </a:r>
          <a:endParaRPr lang="en-GB" sz="1100" kern="1200" dirty="0"/>
        </a:p>
        <a:p>
          <a:pPr marL="57150" lvl="1" indent="-57150" algn="l" defTabSz="488950" rtl="0">
            <a:lnSpc>
              <a:spcPct val="90000"/>
            </a:lnSpc>
            <a:spcBef>
              <a:spcPct val="0"/>
            </a:spcBef>
            <a:spcAft>
              <a:spcPct val="15000"/>
            </a:spcAft>
            <a:buChar char="•"/>
          </a:pPr>
          <a:r>
            <a:rPr lang="en-GB" sz="1100" kern="1200"/>
            <a:t>Data protection offence (e.g. export of data) (Ch. 38, Sec. 9)</a:t>
          </a:r>
        </a:p>
      </dsp:txBody>
      <dsp:txXfrm rot="-5400000">
        <a:off x="3592901" y="3854634"/>
        <a:ext cx="6341640" cy="845497"/>
      </dsp:txXfrm>
    </dsp:sp>
    <dsp:sp modelId="{31283B14-5E84-4BED-9A0E-49C2AAE20172}">
      <dsp:nvSpPr>
        <dsp:cNvPr id="0" name=""/>
        <dsp:cNvSpPr/>
      </dsp:nvSpPr>
      <dsp:spPr>
        <a:xfrm>
          <a:off x="0" y="3691774"/>
          <a:ext cx="3592900" cy="1171218"/>
        </a:xfrm>
        <a:prstGeom prst="roundRect">
          <a:avLst/>
        </a:prstGeom>
        <a:solidFill>
          <a:schemeClr val="accent1">
            <a:hueOff val="0"/>
            <a:satOff val="0"/>
            <a:lumOff val="0"/>
            <a:alphaOff val="0"/>
          </a:schemeClr>
        </a:solidFill>
        <a:ln w="48000" cap="flat" cmpd="thickThin"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59055" rIns="118110" bIns="59055" numCol="1" spcCol="1270" anchor="ctr" anchorCtr="0">
          <a:noAutofit/>
        </a:bodyPr>
        <a:lstStyle/>
        <a:p>
          <a:pPr marL="0" lvl="0" indent="0" algn="ctr" defTabSz="1377950" rtl="0">
            <a:lnSpc>
              <a:spcPct val="90000"/>
            </a:lnSpc>
            <a:spcBef>
              <a:spcPct val="0"/>
            </a:spcBef>
            <a:spcAft>
              <a:spcPct val="35000"/>
            </a:spcAft>
            <a:buNone/>
          </a:pPr>
          <a:r>
            <a:rPr lang="fi-FI" sz="3100" kern="1200"/>
            <a:t>Other</a:t>
          </a:r>
          <a:endParaRPr lang="en-GB" sz="3100" kern="1200"/>
        </a:p>
      </dsp:txBody>
      <dsp:txXfrm>
        <a:off x="57174" y="3748948"/>
        <a:ext cx="3478552" cy="105687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2012AD-64E8-428F-8F2D-BEA078561909}">
      <dsp:nvSpPr>
        <dsp:cNvPr id="0" name=""/>
        <dsp:cNvSpPr/>
      </dsp:nvSpPr>
      <dsp:spPr>
        <a:xfrm flipH="1">
          <a:off x="2" y="828167"/>
          <a:ext cx="4681684" cy="864000"/>
        </a:xfrm>
        <a:prstGeom prst="rect">
          <a:avLst/>
        </a:prstGeom>
        <a:solidFill>
          <a:schemeClr val="accent1">
            <a:hueOff val="0"/>
            <a:satOff val="0"/>
            <a:lumOff val="0"/>
            <a:alphaOff val="0"/>
          </a:schemeClr>
        </a:solidFill>
        <a:ln w="48000" cap="flat" cmpd="thickThin"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3360" tIns="121920" rIns="213360" bIns="121920" numCol="1" spcCol="1270" anchor="ctr" anchorCtr="0">
          <a:noAutofit/>
        </a:bodyPr>
        <a:lstStyle/>
        <a:p>
          <a:pPr marL="0" lvl="0" indent="0" algn="ctr" defTabSz="1333500">
            <a:lnSpc>
              <a:spcPct val="90000"/>
            </a:lnSpc>
            <a:spcBef>
              <a:spcPct val="0"/>
            </a:spcBef>
            <a:spcAft>
              <a:spcPct val="35000"/>
            </a:spcAft>
            <a:buNone/>
          </a:pPr>
          <a:r>
            <a:rPr lang="de-DE" sz="3000" kern="1200">
              <a:latin typeface="Euphemia" panose="020B0503040102020104" pitchFamily="34" charset="0"/>
            </a:rPr>
            <a:t>Direct actions</a:t>
          </a:r>
          <a:endParaRPr lang="en-FI" sz="3000" kern="1200">
            <a:latin typeface="Euphemia" panose="020B0503040102020104" pitchFamily="34" charset="0"/>
          </a:endParaRPr>
        </a:p>
      </dsp:txBody>
      <dsp:txXfrm>
        <a:off x="2" y="828167"/>
        <a:ext cx="4681684" cy="864000"/>
      </dsp:txXfrm>
    </dsp:sp>
    <dsp:sp modelId="{82C8FBBD-DAF0-49A3-808B-6D211D6E0F65}">
      <dsp:nvSpPr>
        <dsp:cNvPr id="0" name=""/>
        <dsp:cNvSpPr/>
      </dsp:nvSpPr>
      <dsp:spPr>
        <a:xfrm>
          <a:off x="0" y="1692167"/>
          <a:ext cx="4681590" cy="1852875"/>
        </a:xfrm>
        <a:prstGeom prst="rect">
          <a:avLst/>
        </a:prstGeom>
        <a:solidFill>
          <a:schemeClr val="accent1">
            <a:alpha val="90000"/>
            <a:tint val="40000"/>
            <a:hueOff val="0"/>
            <a:satOff val="0"/>
            <a:lumOff val="0"/>
            <a:alphaOff val="0"/>
          </a:schemeClr>
        </a:solidFill>
        <a:ln w="48000" cap="flat" cmpd="thickThin"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0020" tIns="160020" rIns="213360" bIns="240030" numCol="1" spcCol="1270" anchor="t" anchorCtr="0">
          <a:noAutofit/>
        </a:bodyPr>
        <a:lstStyle/>
        <a:p>
          <a:pPr marL="285750" lvl="1" indent="-285750" algn="l" defTabSz="1333500">
            <a:lnSpc>
              <a:spcPct val="90000"/>
            </a:lnSpc>
            <a:spcBef>
              <a:spcPct val="0"/>
            </a:spcBef>
            <a:spcAft>
              <a:spcPct val="15000"/>
            </a:spcAft>
            <a:buChar char="•"/>
          </a:pPr>
          <a:r>
            <a:rPr lang="en-US" sz="3000" kern="1200" dirty="0"/>
            <a:t>Controllers/processors (Art. 79 + 82)</a:t>
          </a:r>
        </a:p>
        <a:p>
          <a:pPr marL="285750" lvl="1" indent="-285750" algn="l" defTabSz="1333500">
            <a:lnSpc>
              <a:spcPct val="90000"/>
            </a:lnSpc>
            <a:spcBef>
              <a:spcPct val="0"/>
            </a:spcBef>
            <a:spcAft>
              <a:spcPct val="15000"/>
            </a:spcAft>
            <a:buChar char="•"/>
          </a:pPr>
          <a:r>
            <a:rPr lang="de-DE" sz="3000" kern="1200" dirty="0"/>
            <a:t>A</a:t>
          </a:r>
          <a:r>
            <a:rPr lang="en-FI" sz="3000" kern="1200" dirty="0" err="1"/>
            <a:t>gainst</a:t>
          </a:r>
          <a:r>
            <a:rPr lang="en-FI" sz="3000" kern="1200" dirty="0"/>
            <a:t> </a:t>
          </a:r>
          <a:r>
            <a:rPr lang="en-US" sz="3000" kern="1200" dirty="0"/>
            <a:t>DPAs (Art. 78)</a:t>
          </a:r>
        </a:p>
      </dsp:txBody>
      <dsp:txXfrm>
        <a:off x="0" y="1692167"/>
        <a:ext cx="4681590" cy="1852875"/>
      </dsp:txXfrm>
    </dsp:sp>
    <dsp:sp modelId="{48017AF2-ABA2-4CFC-A315-BE45AB07C723}">
      <dsp:nvSpPr>
        <dsp:cNvPr id="0" name=""/>
        <dsp:cNvSpPr/>
      </dsp:nvSpPr>
      <dsp:spPr>
        <a:xfrm>
          <a:off x="5337109" y="828167"/>
          <a:ext cx="4681590" cy="864000"/>
        </a:xfrm>
        <a:prstGeom prst="rect">
          <a:avLst/>
        </a:prstGeom>
        <a:solidFill>
          <a:schemeClr val="accent1">
            <a:hueOff val="0"/>
            <a:satOff val="0"/>
            <a:lumOff val="0"/>
            <a:alphaOff val="0"/>
          </a:schemeClr>
        </a:solidFill>
        <a:ln w="48000" cap="flat" cmpd="thickThin"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13360" tIns="121920" rIns="213360" bIns="121920" numCol="1" spcCol="1270" anchor="ctr" anchorCtr="0">
          <a:noAutofit/>
        </a:bodyPr>
        <a:lstStyle/>
        <a:p>
          <a:pPr marL="0" lvl="0" indent="0" algn="ctr" defTabSz="1333500">
            <a:lnSpc>
              <a:spcPct val="90000"/>
            </a:lnSpc>
            <a:spcBef>
              <a:spcPct val="0"/>
            </a:spcBef>
            <a:spcAft>
              <a:spcPct val="35000"/>
            </a:spcAft>
            <a:buNone/>
          </a:pPr>
          <a:r>
            <a:rPr lang="de-DE" sz="3000" kern="1200" dirty="0" err="1"/>
            <a:t>Using</a:t>
          </a:r>
          <a:r>
            <a:rPr lang="de-DE" sz="3000" kern="1200" dirty="0"/>
            <a:t> </a:t>
          </a:r>
          <a:r>
            <a:rPr lang="de-DE" sz="3000" kern="1200" dirty="0" err="1"/>
            <a:t>third</a:t>
          </a:r>
          <a:r>
            <a:rPr lang="de-DE" sz="3000" kern="1200" dirty="0"/>
            <a:t> </a:t>
          </a:r>
          <a:r>
            <a:rPr lang="de-DE" sz="3000" kern="1200" dirty="0" err="1"/>
            <a:t>parties</a:t>
          </a:r>
          <a:endParaRPr lang="de-DE" sz="3000" kern="1200" dirty="0"/>
        </a:p>
      </dsp:txBody>
      <dsp:txXfrm>
        <a:off x="5337109" y="828167"/>
        <a:ext cx="4681590" cy="864000"/>
      </dsp:txXfrm>
    </dsp:sp>
    <dsp:sp modelId="{A8E8D2E8-3B7E-45BB-964B-98DD8C4BF7CB}">
      <dsp:nvSpPr>
        <dsp:cNvPr id="0" name=""/>
        <dsp:cNvSpPr/>
      </dsp:nvSpPr>
      <dsp:spPr>
        <a:xfrm>
          <a:off x="5337111" y="1692167"/>
          <a:ext cx="4681590" cy="1852875"/>
        </a:xfrm>
        <a:prstGeom prst="rect">
          <a:avLst/>
        </a:prstGeom>
        <a:solidFill>
          <a:schemeClr val="accent1">
            <a:alpha val="90000"/>
            <a:tint val="40000"/>
            <a:hueOff val="0"/>
            <a:satOff val="0"/>
            <a:lumOff val="0"/>
            <a:alphaOff val="0"/>
          </a:schemeClr>
        </a:solidFill>
        <a:ln w="48000" cap="flat" cmpd="thickThin"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60020" tIns="160020" rIns="213360" bIns="240030" numCol="1" spcCol="1270" anchor="t" anchorCtr="0">
          <a:noAutofit/>
        </a:bodyPr>
        <a:lstStyle/>
        <a:p>
          <a:pPr marL="285750" lvl="1" indent="-285750" algn="l" defTabSz="1333500">
            <a:lnSpc>
              <a:spcPct val="90000"/>
            </a:lnSpc>
            <a:spcBef>
              <a:spcPct val="0"/>
            </a:spcBef>
            <a:spcAft>
              <a:spcPct val="15000"/>
            </a:spcAft>
            <a:buChar char="•"/>
          </a:pPr>
          <a:r>
            <a:rPr lang="en-US" sz="3000" kern="1200" dirty="0"/>
            <a:t>Art. 77: DPAs</a:t>
          </a:r>
        </a:p>
        <a:p>
          <a:pPr marL="285750" lvl="1" indent="-285750" algn="l" defTabSz="1333500">
            <a:lnSpc>
              <a:spcPct val="90000"/>
            </a:lnSpc>
            <a:spcBef>
              <a:spcPct val="0"/>
            </a:spcBef>
            <a:spcAft>
              <a:spcPct val="15000"/>
            </a:spcAft>
            <a:buChar char="•"/>
          </a:pPr>
          <a:r>
            <a:rPr lang="en-US" sz="3000" kern="1200" dirty="0"/>
            <a:t>Art. 80: NGOs</a:t>
          </a:r>
        </a:p>
      </dsp:txBody>
      <dsp:txXfrm>
        <a:off x="5337111" y="1692167"/>
        <a:ext cx="4681590" cy="1852875"/>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2012AD-64E8-428F-8F2D-BEA078561909}">
      <dsp:nvSpPr>
        <dsp:cNvPr id="0" name=""/>
        <dsp:cNvSpPr/>
      </dsp:nvSpPr>
      <dsp:spPr>
        <a:xfrm>
          <a:off x="19043" y="278698"/>
          <a:ext cx="4230419" cy="720000"/>
        </a:xfrm>
        <a:prstGeom prst="rect">
          <a:avLst/>
        </a:prstGeom>
        <a:solidFill>
          <a:schemeClr val="accent1">
            <a:hueOff val="0"/>
            <a:satOff val="0"/>
            <a:lumOff val="0"/>
            <a:alphaOff val="0"/>
          </a:schemeClr>
        </a:solidFill>
        <a:ln w="48000" cap="flat" cmpd="thickThin"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de-DE" sz="2500" kern="1200" dirty="0"/>
            <a:t>Art. 77: DPAs</a:t>
          </a:r>
          <a:endParaRPr lang="en-FI" sz="2500" kern="1200" dirty="0"/>
        </a:p>
      </dsp:txBody>
      <dsp:txXfrm>
        <a:off x="19043" y="278698"/>
        <a:ext cx="4230419" cy="720000"/>
      </dsp:txXfrm>
    </dsp:sp>
    <dsp:sp modelId="{82C8FBBD-DAF0-49A3-808B-6D211D6E0F65}">
      <dsp:nvSpPr>
        <dsp:cNvPr id="0" name=""/>
        <dsp:cNvSpPr/>
      </dsp:nvSpPr>
      <dsp:spPr>
        <a:xfrm>
          <a:off x="0" y="940951"/>
          <a:ext cx="4267858" cy="3290993"/>
        </a:xfrm>
        <a:prstGeom prst="rect">
          <a:avLst/>
        </a:prstGeom>
        <a:solidFill>
          <a:schemeClr val="accent1">
            <a:alpha val="90000"/>
            <a:tint val="40000"/>
            <a:hueOff val="0"/>
            <a:satOff val="0"/>
            <a:lumOff val="0"/>
            <a:alphaOff val="0"/>
          </a:schemeClr>
        </a:solidFill>
        <a:ln w="48000" cap="flat" cmpd="thickThin"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US" sz="2500" kern="1200" dirty="0"/>
            <a:t>Place of living, working or alleged infringement</a:t>
          </a:r>
        </a:p>
        <a:p>
          <a:pPr marL="228600" lvl="1" indent="-228600" algn="l" defTabSz="1111250">
            <a:lnSpc>
              <a:spcPct val="90000"/>
            </a:lnSpc>
            <a:spcBef>
              <a:spcPct val="0"/>
            </a:spcBef>
            <a:spcAft>
              <a:spcPct val="15000"/>
            </a:spcAft>
            <a:buChar char="•"/>
          </a:pPr>
          <a:r>
            <a:rPr lang="en-US" sz="2500" kern="1200" dirty="0"/>
            <a:t>DPAs must investigate (=&gt; 78)</a:t>
          </a:r>
        </a:p>
        <a:p>
          <a:pPr marL="228600" lvl="1" indent="-228600" algn="l" defTabSz="1111250">
            <a:lnSpc>
              <a:spcPct val="90000"/>
            </a:lnSpc>
            <a:spcBef>
              <a:spcPct val="0"/>
            </a:spcBef>
            <a:spcAft>
              <a:spcPct val="15000"/>
            </a:spcAft>
            <a:buChar char="•"/>
          </a:pPr>
          <a:r>
            <a:rPr lang="en-US" sz="2500" kern="1200" dirty="0"/>
            <a:t>DPA must inform about outcome</a:t>
          </a:r>
        </a:p>
        <a:p>
          <a:pPr marL="228600" lvl="1" indent="-228600" algn="l" defTabSz="1111250">
            <a:lnSpc>
              <a:spcPct val="90000"/>
            </a:lnSpc>
            <a:spcBef>
              <a:spcPct val="0"/>
            </a:spcBef>
            <a:spcAft>
              <a:spcPct val="15000"/>
            </a:spcAft>
            <a:buChar char="•"/>
          </a:pPr>
          <a:endParaRPr lang="en-US" sz="2500" kern="1200" dirty="0"/>
        </a:p>
      </dsp:txBody>
      <dsp:txXfrm>
        <a:off x="0" y="940951"/>
        <a:ext cx="4267858" cy="3290993"/>
      </dsp:txXfrm>
    </dsp:sp>
    <dsp:sp modelId="{48017AF2-ABA2-4CFC-A315-BE45AB07C723}">
      <dsp:nvSpPr>
        <dsp:cNvPr id="0" name=""/>
        <dsp:cNvSpPr/>
      </dsp:nvSpPr>
      <dsp:spPr>
        <a:xfrm>
          <a:off x="4860440" y="307571"/>
          <a:ext cx="4230419" cy="720000"/>
        </a:xfrm>
        <a:prstGeom prst="rect">
          <a:avLst/>
        </a:prstGeom>
        <a:solidFill>
          <a:schemeClr val="accent1">
            <a:hueOff val="0"/>
            <a:satOff val="0"/>
            <a:lumOff val="0"/>
            <a:alphaOff val="0"/>
          </a:schemeClr>
        </a:solidFill>
        <a:ln w="48000" cap="flat" cmpd="thickThin"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de-DE" sz="2500" kern="1200" dirty="0"/>
            <a:t>Art. 80 NGOs</a:t>
          </a:r>
          <a:endParaRPr lang="en-FI" sz="2500" kern="1200" dirty="0"/>
        </a:p>
      </dsp:txBody>
      <dsp:txXfrm>
        <a:off x="4860440" y="307571"/>
        <a:ext cx="4230419" cy="720000"/>
      </dsp:txXfrm>
    </dsp:sp>
    <dsp:sp modelId="{A8E8D2E8-3B7E-45BB-964B-98DD8C4BF7CB}">
      <dsp:nvSpPr>
        <dsp:cNvPr id="0" name=""/>
        <dsp:cNvSpPr/>
      </dsp:nvSpPr>
      <dsp:spPr>
        <a:xfrm>
          <a:off x="4860764" y="1038812"/>
          <a:ext cx="4230419" cy="3175500"/>
        </a:xfrm>
        <a:prstGeom prst="rect">
          <a:avLst/>
        </a:prstGeom>
        <a:solidFill>
          <a:schemeClr val="accent1">
            <a:alpha val="90000"/>
            <a:tint val="40000"/>
            <a:hueOff val="0"/>
            <a:satOff val="0"/>
            <a:lumOff val="0"/>
            <a:alphaOff val="0"/>
          </a:schemeClr>
        </a:solidFill>
        <a:ln w="48000" cap="flat" cmpd="thickThin"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US" sz="2500" kern="1200" dirty="0"/>
            <a:t>Non-profits can exercise rights for individuals</a:t>
          </a:r>
        </a:p>
        <a:p>
          <a:pPr marL="228600" lvl="1" indent="-228600" algn="l" defTabSz="1111250">
            <a:lnSpc>
              <a:spcPct val="90000"/>
            </a:lnSpc>
            <a:spcBef>
              <a:spcPct val="0"/>
            </a:spcBef>
            <a:spcAft>
              <a:spcPct val="15000"/>
            </a:spcAft>
            <a:buChar char="•"/>
          </a:pPr>
          <a:r>
            <a:rPr lang="en-US" sz="2500" kern="1200" dirty="0"/>
            <a:t>With mandate</a:t>
          </a:r>
        </a:p>
        <a:p>
          <a:pPr marL="228600" lvl="1" indent="-228600" algn="l" defTabSz="1111250">
            <a:lnSpc>
              <a:spcPct val="90000"/>
            </a:lnSpc>
            <a:spcBef>
              <a:spcPct val="0"/>
            </a:spcBef>
            <a:spcAft>
              <a:spcPct val="15000"/>
            </a:spcAft>
            <a:buChar char="•"/>
          </a:pPr>
          <a:r>
            <a:rPr lang="en-US" sz="2500" kern="1200" dirty="0"/>
            <a:t>Without mandate! Where provided by MS law. </a:t>
          </a:r>
        </a:p>
      </dsp:txBody>
      <dsp:txXfrm>
        <a:off x="4860764" y="1038812"/>
        <a:ext cx="4230419" cy="3175500"/>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8/layout/PictureAccentBlocks">
  <dgm:title val=""/>
  <dgm:desc val=""/>
  <dgm:catLst>
    <dgm:cat type="picture" pri="12000"/>
    <dgm:cat type="pictureconvert" pri="120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dir/>
    </dgm:varLst>
    <dgm:choose name="Name1">
      <dgm:if name="Name2" axis="ch" ptType="node" func="cnt" op="gt" val="5">
        <dgm:choose name="Name3">
          <dgm:if name="Name4" func="var" arg="dir" op="equ" val="norm">
            <dgm:alg type="snake">
              <dgm:param type="grDir" val="bL"/>
              <dgm:param type="bkpt" val="fixed"/>
              <dgm:param type="bkPtFixedVal" val="3"/>
              <dgm:param type="off" val="off"/>
              <dgm:param type="horzAlign" val="r"/>
              <dgm:param type="vertAlign" val="b"/>
            </dgm:alg>
          </dgm:if>
          <dgm:else name="Name5">
            <dgm:alg type="snake">
              <dgm:param type="grDir" val="bR"/>
              <dgm:param type="bkpt" val="fixed"/>
              <dgm:param type="bkPtFixedVal" val="3"/>
              <dgm:param type="off" val="off"/>
              <dgm:param type="horzAlign" val="l"/>
              <dgm:param type="vertAlign" val="b"/>
            </dgm:alg>
          </dgm:else>
        </dgm:choose>
      </dgm:if>
      <dgm:else name="Name6">
        <dgm:choose name="Name7">
          <dgm:if name="Name8" func="var" arg="dir" op="equ" val="norm">
            <dgm:alg type="snake">
              <dgm:param type="grDir" val="bL"/>
              <dgm:param type="bkpt" val="fixed"/>
              <dgm:param type="bkPtFixedVal" val="2"/>
              <dgm:param type="off" val="off"/>
              <dgm:param type="horzAlign" val="r"/>
              <dgm:param type="vertAlign" val="b"/>
            </dgm:alg>
          </dgm:if>
          <dgm:else name="Name9">
            <dgm:alg type="snake">
              <dgm:param type="grDir" val="bR"/>
              <dgm:param type="bkpt" val="fixed"/>
              <dgm:param type="bkPtFixedVal" val="2"/>
              <dgm:param type="off" val="off"/>
              <dgm:param type="horzAlign" val="l"/>
              <dgm:param type="vertAlign" val="b"/>
            </dgm:alg>
          </dgm:else>
        </dgm:choose>
      </dgm:else>
    </dgm:choose>
    <dgm:shape xmlns:r="http://schemas.openxmlformats.org/officeDocument/2006/relationships" r:blip="">
      <dgm:adjLst/>
    </dgm:shape>
    <dgm:constrLst>
      <dgm:constr type="alignOff" val="1"/>
      <dgm:constr type="primFontSz" for="des" ptType="node" op="equ" val="65"/>
      <dgm:constr type="w" for="ch" forName="composite" refType="w"/>
      <dgm:constr type="h" for="ch" forName="composite" refType="h"/>
      <dgm:constr type="sp" refType="w" refFor="ch" refForName="composite" op="equ" fact="0.113"/>
      <dgm:constr type="w" for="ch" forName="sibTrans" refType="w" refFor="ch" refForName="composite" op="equ" fact="0.0001"/>
      <dgm:constr type="h" for="ch" forName="sibTrans" refType="w" refFor="ch" refForName="sibTrans" op="equ"/>
    </dgm:constrLst>
    <dgm:forEach name="nodesForEach" axis="ch" ptType="node">
      <dgm:layoutNode name="composite">
        <dgm:alg type="composite">
          <dgm:param type="ar" val="1.2"/>
        </dgm:alg>
        <dgm:shape xmlns:r="http://schemas.openxmlformats.org/officeDocument/2006/relationships" r:blip="">
          <dgm:adjLst/>
        </dgm:shape>
        <dgm:choose name="Name10">
          <dgm:if name="Name11" func="var" arg="dir" op="equ" val="norm">
            <dgm:constrLst>
              <dgm:constr type="l" for="ch" forName="Image" refType="w" refFor="ch" refForName="Image" fact="0.2"/>
              <dgm:constr type="t" for="ch" forName="Image" refType="h" fact="0"/>
              <dgm:constr type="h" for="ch" forName="Image" refType="h"/>
              <dgm:constr type="w" for="ch" forName="Image" refType="h" refFor="ch" refForName="Image" op="equ"/>
              <dgm:constr type="l" for="ch" forName="Parent" refType="w" fact="0"/>
              <dgm:constr type="t" for="ch" forName="Parent" refType="h" fact="0"/>
              <dgm:constr type="w" for="ch" forName="Parent" refType="h" refFor="ch" refForName="Image" op="equ" fact="0.2"/>
              <dgm:constr type="h" for="ch" forName="Parent" refType="h" refFor="ch" refForName="Image" op="equ"/>
            </dgm:constrLst>
          </dgm:if>
          <dgm:else name="Name12">
            <dgm:constrLst>
              <dgm:constr type="l" for="ch" forName="Image" refType="w" fact="0"/>
              <dgm:constr type="t" for="ch" forName="Image" refType="h" fact="0"/>
              <dgm:constr type="h" for="ch" forName="Image" refType="h"/>
              <dgm:constr type="w" for="ch" forName="Image" refType="h" refFor="ch" refForName="Image" op="equ"/>
              <dgm:constr type="l" for="ch" forName="Parent" refType="w" refFor="ch" refForName="Image"/>
              <dgm:constr type="t" for="ch" forName="Parent" refType="h" fact="0"/>
              <dgm:constr type="w" for="ch" forName="Parent" refType="w" refFor="ch" refForName="Image" fact="0.2"/>
              <dgm:constr type="h" for="ch" forName="Parent" refType="h" refFor="ch" refForName="Image"/>
            </dgm:constrLst>
          </dgm:else>
        </dgm:choose>
        <dgm:layoutNode name="Image" styleLbl="alignNode1">
          <dgm:alg type="sp"/>
          <dgm:shape xmlns:r="http://schemas.openxmlformats.org/officeDocument/2006/relationships" type="rect" r:blip="" blipPhldr="1">
            <dgm:adjLst/>
          </dgm:shape>
          <dgm:presOf/>
        </dgm:layoutNode>
        <dgm:layoutNode name="Parent" styleLbl="revTx">
          <dgm:varLst>
            <dgm:bulletEnabled val="1"/>
          </dgm:varLst>
          <dgm:alg type="tx">
            <dgm:param type="parTxLTRAlign" val="l"/>
            <dgm:param type="txAnchorVert" val="b"/>
            <dgm:param type="txAnchorVertCh" val="b"/>
            <dgm:param type="autoTxRot" val="grav"/>
          </dgm:alg>
          <dgm:choose name="Name13">
            <dgm:if name="Name14" func="var" arg="dir" op="equ" val="norm">
              <dgm:shape xmlns:r="http://schemas.openxmlformats.org/officeDocument/2006/relationships" rot="270" type="rect" r:blip="">
                <dgm:adjLst/>
              </dgm:shape>
            </dgm:if>
            <dgm:else name="Name15">
              <dgm:shape xmlns:r="http://schemas.openxmlformats.org/officeDocument/2006/relationships" rot="90" type="rect" r:blip="">
                <dgm:adjLst/>
              </dgm:shape>
            </dgm:else>
          </dgm:choose>
          <dgm:presOf axis="desOrSelf" ptType="node"/>
          <dgm:constrLst>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C2A3464-1F9C-4FB9-A86F-089F2DC6D59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0A819BC2-36D0-4B45-94A9-C78D4BBBF98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32140E2-8FE0-477F-ABCA-0D9406DC1A18}" type="datetimeFigureOut">
              <a:rPr lang="en-GB" smtClean="0"/>
              <a:t>10/10/2022</a:t>
            </a:fld>
            <a:endParaRPr lang="en-GB"/>
          </a:p>
        </p:txBody>
      </p:sp>
      <p:sp>
        <p:nvSpPr>
          <p:cNvPr id="4" name="Footer Placeholder 3">
            <a:extLst>
              <a:ext uri="{FF2B5EF4-FFF2-40B4-BE49-F238E27FC236}">
                <a16:creationId xmlns:a16="http://schemas.microsoft.com/office/drawing/2014/main" id="{7BA8E174-17F4-440A-AD2E-52D18133EF9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6005D94D-0467-41F1-8CC3-AE76EC28932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E126785-7F39-4491-A6ED-08A7BD8E2ECE}" type="slidenum">
              <a:rPr lang="en-GB" smtClean="0"/>
              <a:t>‹#›</a:t>
            </a:fld>
            <a:endParaRPr lang="en-GB"/>
          </a:p>
        </p:txBody>
      </p:sp>
    </p:spTree>
    <p:extLst>
      <p:ext uri="{BB962C8B-B14F-4D97-AF65-F5344CB8AC3E}">
        <p14:creationId xmlns:p14="http://schemas.microsoft.com/office/powerpoint/2010/main" val="372247583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6B173CE-6B02-426E-8088-47D675976D29}" type="datetimeFigureOut">
              <a:rPr lang="en-GB" smtClean="0"/>
              <a:t>10/10/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7AA0218-8EA7-46C1-B12C-665269A91A87}" type="slidenum">
              <a:rPr lang="en-GB" smtClean="0"/>
              <a:t>‹#›</a:t>
            </a:fld>
            <a:endParaRPr lang="en-GB"/>
          </a:p>
        </p:txBody>
      </p:sp>
    </p:spTree>
    <p:extLst>
      <p:ext uri="{BB962C8B-B14F-4D97-AF65-F5344CB8AC3E}">
        <p14:creationId xmlns:p14="http://schemas.microsoft.com/office/powerpoint/2010/main" val="28959321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curia.europa.eu/juris/document/document.jsf?docid=138782&amp;doclang=EN" TargetMode="External"/><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curia.europa.eu/juris/document/document.jsf?text=&amp;docid=266842&amp;pageIndex=0&amp;doclang=EN&amp;mode=req&amp;dir=&amp;occ=first&amp;part=1&amp;cid=7767749#Footnote10" TargetMode="External"/><Relationship Id="rId2" Type="http://schemas.openxmlformats.org/officeDocument/2006/relationships/slide" Target="../slides/slide34.xml"/><Relationship Id="rId1" Type="http://schemas.openxmlformats.org/officeDocument/2006/relationships/notesMaster" Target="../notesMasters/notesMaster1.xml"/><Relationship Id="rId5" Type="http://schemas.openxmlformats.org/officeDocument/2006/relationships/hyperlink" Target="https://curia.europa.eu/juris/document/document.jsf?text=&amp;docid=266842&amp;pageIndex=0&amp;doclang=EN&amp;mode=req&amp;dir=&amp;occ=first&amp;part=1&amp;cid=7767749#Footnote57" TargetMode="External"/><Relationship Id="rId4" Type="http://schemas.openxmlformats.org/officeDocument/2006/relationships/hyperlink" Target="https://curia.europa.eu/juris/document/document.jsf?text=&amp;docid=266842&amp;pageIndex=0&amp;doclang=EN&amp;mode=req&amp;dir=&amp;occ=first&amp;part=1&amp;cid=7767749#Footnote56" TargetMode="Externa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Quote from in </a:t>
            </a:r>
            <a:r>
              <a:rPr lang="de-DE" dirty="0">
                <a:hlinkClick r:id="rId3"/>
              </a:rPr>
              <a:t>Google v. Spain </a:t>
            </a:r>
            <a:r>
              <a:rPr lang="de-DE" dirty="0"/>
              <a:t>at 31 </a:t>
            </a:r>
          </a:p>
          <a:p>
            <a:r>
              <a:rPr lang="de-DE" dirty="0"/>
              <a:t>(2013)</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3C37BE-C303-496D-B5CD-85F2937540FC}" type="slidenum">
              <a:rPr kumimoji="0" lang="de-DE" sz="1200" b="0" i="0" u="none" strike="noStrike" kern="1200" cap="none" spc="0" normalizeH="0" baseline="0" noProof="0" smtClean="0">
                <a:ln>
                  <a:noFill/>
                </a:ln>
                <a:solidFill>
                  <a:srgbClr val="514843"/>
                </a:solidFill>
                <a:effectLst/>
                <a:uLnTx/>
                <a:uFillTx/>
                <a:latin typeface="Euphemi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de-DE" sz="1200" b="0" i="0" u="none" strike="noStrike" kern="1200" cap="none" spc="0" normalizeH="0" baseline="0" noProof="0" dirty="0">
              <a:ln>
                <a:noFill/>
              </a:ln>
              <a:solidFill>
                <a:srgbClr val="514843"/>
              </a:solidFill>
              <a:effectLst/>
              <a:uLnTx/>
              <a:uFillTx/>
              <a:latin typeface="Euphemia"/>
              <a:ea typeface="+mn-ea"/>
              <a:cs typeface="+mn-cs"/>
            </a:endParaRPr>
          </a:p>
        </p:txBody>
      </p:sp>
    </p:spTree>
    <p:extLst>
      <p:ext uri="{BB962C8B-B14F-4D97-AF65-F5344CB8AC3E}">
        <p14:creationId xmlns:p14="http://schemas.microsoft.com/office/powerpoint/2010/main" val="38851853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CA"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7CA053-64A5-468B-A4AC-F179676E72A7}" type="slidenum">
              <a:rPr kumimoji="0" lang="fr-CA" sz="1200" b="0" i="0" u="none" strike="noStrike" kern="1200" cap="none" spc="0" normalizeH="0" baseline="0" noProof="0" smtClean="0">
                <a:ln>
                  <a:noFill/>
                </a:ln>
                <a:solidFill>
                  <a:prstClr val="black"/>
                </a:solidFill>
                <a:effectLst/>
                <a:uLnTx/>
                <a:uFillTx/>
                <a:latin typeface="Euphemi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fr-CA" sz="1200" b="0" i="0" u="none" strike="noStrike" kern="1200" cap="none" spc="0" normalizeH="0" baseline="0" noProof="0">
              <a:ln>
                <a:noFill/>
              </a:ln>
              <a:solidFill>
                <a:prstClr val="black"/>
              </a:solidFill>
              <a:effectLst/>
              <a:uLnTx/>
              <a:uFillTx/>
              <a:latin typeface="Euphemia"/>
              <a:ea typeface="+mn-ea"/>
              <a:cs typeface="+mn-cs"/>
            </a:endParaRPr>
          </a:p>
        </p:txBody>
      </p:sp>
    </p:spTree>
    <p:extLst>
      <p:ext uri="{BB962C8B-B14F-4D97-AF65-F5344CB8AC3E}">
        <p14:creationId xmlns:p14="http://schemas.microsoft.com/office/powerpoint/2010/main" val="18718424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CA"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7CA053-64A5-468B-A4AC-F179676E72A7}" type="slidenum">
              <a:rPr kumimoji="0" lang="fr-CA" sz="1200" b="0" i="0" u="none" strike="noStrike" kern="1200" cap="none" spc="0" normalizeH="0" baseline="0" noProof="0" smtClean="0">
                <a:ln>
                  <a:noFill/>
                </a:ln>
                <a:solidFill>
                  <a:prstClr val="black"/>
                </a:solidFill>
                <a:effectLst/>
                <a:uLnTx/>
                <a:uFillTx/>
                <a:latin typeface="Euphemi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fr-CA" sz="1200" b="0" i="0" u="none" strike="noStrike" kern="1200" cap="none" spc="0" normalizeH="0" baseline="0" noProof="0">
              <a:ln>
                <a:noFill/>
              </a:ln>
              <a:solidFill>
                <a:prstClr val="black"/>
              </a:solidFill>
              <a:effectLst/>
              <a:uLnTx/>
              <a:uFillTx/>
              <a:latin typeface="Euphemia"/>
              <a:ea typeface="+mn-ea"/>
              <a:cs typeface="+mn-cs"/>
            </a:endParaRPr>
          </a:p>
        </p:txBody>
      </p:sp>
    </p:spTree>
    <p:extLst>
      <p:ext uri="{BB962C8B-B14F-4D97-AF65-F5344CB8AC3E}">
        <p14:creationId xmlns:p14="http://schemas.microsoft.com/office/powerpoint/2010/main" val="39054896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3C37BE-C303-496D-B5CD-85F2937540FC}" type="slidenum">
              <a:rPr kumimoji="0" lang="de-DE" sz="1200" b="0" i="0" u="none" strike="noStrike" kern="1200" cap="none" spc="0" normalizeH="0" baseline="0" noProof="0" smtClean="0">
                <a:ln>
                  <a:noFill/>
                </a:ln>
                <a:solidFill>
                  <a:srgbClr val="514843"/>
                </a:solidFill>
                <a:effectLst/>
                <a:uLnTx/>
                <a:uFillTx/>
                <a:latin typeface="Euphemi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de-DE" sz="1200" b="0" i="0" u="none" strike="noStrike" kern="1200" cap="none" spc="0" normalizeH="0" baseline="0" noProof="0">
              <a:ln>
                <a:noFill/>
              </a:ln>
              <a:solidFill>
                <a:srgbClr val="514843"/>
              </a:solidFill>
              <a:effectLst/>
              <a:uLnTx/>
              <a:uFillTx/>
              <a:latin typeface="Euphemia"/>
              <a:ea typeface="+mn-ea"/>
              <a:cs typeface="+mn-cs"/>
            </a:endParaRPr>
          </a:p>
        </p:txBody>
      </p:sp>
    </p:spTree>
    <p:extLst>
      <p:ext uri="{BB962C8B-B14F-4D97-AF65-F5344CB8AC3E}">
        <p14:creationId xmlns:p14="http://schemas.microsoft.com/office/powerpoint/2010/main" val="9957138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CA" dirty="0" err="1"/>
              <a:t>Solove</a:t>
            </a:r>
            <a:endParaRPr lang="fr-CA"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F7CA053-64A5-468B-A4AC-F179676E72A7}" type="slidenum">
              <a:rPr kumimoji="0" lang="fr-CA"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7</a:t>
            </a:fld>
            <a:endParaRPr kumimoji="0" lang="fr-CA"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8830232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CA" dirty="0" err="1"/>
              <a:t>Solove</a:t>
            </a:r>
            <a:endParaRPr lang="fr-CA"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F7CA053-64A5-468B-A4AC-F179676E72A7}" type="slidenum">
              <a:rPr kumimoji="0" lang="fr-CA"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9</a:t>
            </a:fld>
            <a:endParaRPr kumimoji="0" lang="fr-CA"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19329143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CA"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F7CA053-64A5-468B-A4AC-F179676E72A7}" type="slidenum">
              <a:rPr kumimoji="0" lang="fr-CA"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1</a:t>
            </a:fld>
            <a:endParaRPr kumimoji="0" lang="fr-CA"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8933264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CA"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F7CA053-64A5-468B-A4AC-F179676E72A7}" type="slidenum">
              <a:rPr kumimoji="0" lang="fr-CA"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2</a:t>
            </a:fld>
            <a:endParaRPr kumimoji="0" lang="fr-CA"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65636326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CA"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F7CA053-64A5-468B-A4AC-F179676E72A7}" type="slidenum">
              <a:rPr kumimoji="0" lang="fr-CA"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3</a:t>
            </a:fld>
            <a:endParaRPr kumimoji="0" lang="fr-CA"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32176302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i="0" dirty="0">
                <a:solidFill>
                  <a:srgbClr val="000000"/>
                </a:solidFill>
                <a:effectLst/>
                <a:latin typeface="Open Sans" panose="020B0606030504020204" pitchFamily="34" charset="0"/>
              </a:rPr>
              <a:t>28  In accordance with that provision, compensation (</a:t>
            </a:r>
            <a:r>
              <a:rPr lang="en-GB" b="0" i="0" u="none" strike="noStrike" dirty="0">
                <a:solidFill>
                  <a:srgbClr val="006699"/>
                </a:solidFill>
                <a:effectLst/>
                <a:latin typeface="Open Sans" panose="020B0606030504020204" pitchFamily="34" charset="0"/>
                <a:hlinkClick r:id="rId3"/>
              </a:rPr>
              <a:t>10</a:t>
            </a:r>
            <a:r>
              <a:rPr lang="en-GB" b="0" i="0" dirty="0">
                <a:solidFill>
                  <a:srgbClr val="000000"/>
                </a:solidFill>
                <a:effectLst/>
                <a:latin typeface="Open Sans" panose="020B0606030504020204" pitchFamily="34" charset="0"/>
              </a:rPr>
              <a:t>) is awarded specifically because prior damage has occurred. Therefore, there is an unequivocal requirement that the natural person concerned must have </a:t>
            </a:r>
            <a:r>
              <a:rPr lang="en-GB" b="0" i="1" dirty="0">
                <a:solidFill>
                  <a:srgbClr val="000000"/>
                </a:solidFill>
                <a:effectLst/>
                <a:latin typeface="Open Sans" panose="020B0606030504020204" pitchFamily="34" charset="0"/>
              </a:rPr>
              <a:t>suffered</a:t>
            </a:r>
            <a:r>
              <a:rPr lang="en-GB" b="0" i="0" dirty="0">
                <a:solidFill>
                  <a:srgbClr val="000000"/>
                </a:solidFill>
                <a:effectLst/>
                <a:latin typeface="Open Sans" panose="020B0606030504020204" pitchFamily="34" charset="0"/>
              </a:rPr>
              <a:t> damage </a:t>
            </a:r>
            <a:r>
              <a:rPr lang="en-GB" b="0" i="1" dirty="0">
                <a:solidFill>
                  <a:srgbClr val="000000"/>
                </a:solidFill>
                <a:effectLst/>
                <a:latin typeface="Open Sans" panose="020B0606030504020204" pitchFamily="34" charset="0"/>
              </a:rPr>
              <a:t>as a result</a:t>
            </a:r>
            <a:r>
              <a:rPr lang="en-GB" b="0" i="0" dirty="0">
                <a:solidFill>
                  <a:srgbClr val="000000"/>
                </a:solidFill>
                <a:effectLst/>
                <a:latin typeface="Open Sans" panose="020B0606030504020204" pitchFamily="34" charset="0"/>
              </a:rPr>
              <a:t> of an infringement of the GDPR.</a:t>
            </a:r>
          </a:p>
          <a:p>
            <a:r>
              <a:rPr lang="en-GB" b="0" i="0" u="none" strike="noStrike" dirty="0">
                <a:solidFill>
                  <a:srgbClr val="006699"/>
                </a:solidFill>
                <a:effectLst/>
                <a:latin typeface="Open Sans" panose="020B0606030504020204" pitchFamily="34" charset="0"/>
              </a:rPr>
              <a:t>49.</a:t>
            </a:r>
            <a:r>
              <a:rPr lang="en-GB" b="0" i="0" dirty="0">
                <a:solidFill>
                  <a:srgbClr val="000000"/>
                </a:solidFill>
                <a:effectLst/>
                <a:latin typeface="Open Sans" panose="020B0606030504020204" pitchFamily="34" charset="0"/>
              </a:rPr>
              <a:t>      From a theoretical perspective, an interpretation which, in the absence of any damage, entrusts the punitive function to civil liability creates the risk of making the compensatory mechanisms redundant with the punitive mechanisms.</a:t>
            </a:r>
          </a:p>
          <a:p>
            <a:r>
              <a:rPr lang="en-GB" b="0" i="0" u="none" strike="noStrike" dirty="0">
                <a:solidFill>
                  <a:srgbClr val="006699"/>
                </a:solidFill>
                <a:effectLst/>
                <a:latin typeface="Open Sans" panose="020B0606030504020204" pitchFamily="34" charset="0"/>
              </a:rPr>
              <a:t>77.</a:t>
            </a:r>
            <a:r>
              <a:rPr lang="en-GB" b="0" i="0" dirty="0">
                <a:solidFill>
                  <a:srgbClr val="000000"/>
                </a:solidFill>
                <a:effectLst/>
                <a:latin typeface="Open Sans" panose="020B0606030504020204" pitchFamily="34" charset="0"/>
              </a:rPr>
              <a:t>      The foregoing considerations, which are perhaps excessively abstract, lead me to assert that, where a data subject does not consent to processing and processing is carried out without another legitimate legal basis, that is not a ground for the data subject to receive financial compensation on account of the loss of control over his or her data, as though that loss of control itself amounted to damage that is eligible for compensation. (</a:t>
            </a:r>
            <a:r>
              <a:rPr lang="en-GB" b="0" i="0" u="none" strike="noStrike" dirty="0">
                <a:solidFill>
                  <a:srgbClr val="006699"/>
                </a:solidFill>
                <a:effectLst/>
                <a:latin typeface="Open Sans" panose="020B0606030504020204" pitchFamily="34" charset="0"/>
                <a:hlinkClick r:id="rId4"/>
              </a:rPr>
              <a:t>56</a:t>
            </a:r>
            <a:r>
              <a:rPr lang="en-GB" b="0" i="0" dirty="0">
                <a:solidFill>
                  <a:srgbClr val="000000"/>
                </a:solidFill>
                <a:effectLst/>
                <a:latin typeface="Open Sans" panose="020B0606030504020204" pitchFamily="34" charset="0"/>
              </a:rPr>
              <a:t>) It remains to be seen (and must be proved) whether or not the data subject has also suffered damage. (</a:t>
            </a:r>
            <a:r>
              <a:rPr lang="en-GB" b="0" i="0" u="none" strike="noStrike" dirty="0">
                <a:solidFill>
                  <a:srgbClr val="006699"/>
                </a:solidFill>
                <a:effectLst/>
                <a:latin typeface="Open Sans" panose="020B0606030504020204" pitchFamily="34" charset="0"/>
                <a:hlinkClick r:id="rId5"/>
              </a:rPr>
              <a:t>57</a:t>
            </a:r>
            <a:r>
              <a:rPr lang="en-GB" b="0" i="0" dirty="0">
                <a:solidFill>
                  <a:srgbClr val="000000"/>
                </a:solidFill>
                <a:effectLst/>
                <a:latin typeface="Open Sans" panose="020B0606030504020204" pitchFamily="34" charset="0"/>
              </a:rPr>
              <a:t>)</a:t>
            </a:r>
          </a:p>
          <a:p>
            <a:r>
              <a:rPr lang="en-GB" b="0" i="0" u="none" strike="noStrike" dirty="0">
                <a:solidFill>
                  <a:srgbClr val="006699"/>
                </a:solidFill>
                <a:effectLst/>
                <a:latin typeface="Open Sans" panose="020B0606030504020204" pitchFamily="34" charset="0"/>
              </a:rPr>
              <a:t>105.</a:t>
            </a:r>
            <a:r>
              <a:rPr lang="en-GB" b="0" i="0" dirty="0">
                <a:solidFill>
                  <a:srgbClr val="000000"/>
                </a:solidFill>
                <a:effectLst/>
                <a:latin typeface="Open Sans" panose="020B0606030504020204" pitchFamily="34" charset="0"/>
              </a:rPr>
              <a:t> While the case-law of the Court permits the argument that, in the terms stated, a principle of compensation for non-material damage exists in EU law, I do not believe, however, that it is possible to infer from this a rule pursuant to which </a:t>
            </a:r>
            <a:r>
              <a:rPr lang="en-GB" b="0" i="1" dirty="0">
                <a:solidFill>
                  <a:srgbClr val="000000"/>
                </a:solidFill>
                <a:effectLst/>
                <a:latin typeface="Open Sans" panose="020B0606030504020204" pitchFamily="34" charset="0"/>
              </a:rPr>
              <a:t>all</a:t>
            </a:r>
            <a:r>
              <a:rPr lang="en-GB" b="0" i="0" dirty="0">
                <a:solidFill>
                  <a:srgbClr val="000000"/>
                </a:solidFill>
                <a:effectLst/>
                <a:latin typeface="Open Sans" panose="020B0606030504020204" pitchFamily="34" charset="0"/>
              </a:rPr>
              <a:t> non-material damage, regardless of how serious it is, is eligible for compensation.</a:t>
            </a:r>
            <a:endParaRPr lang="fi-FI"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3C37BE-C303-496D-B5CD-85F2937540FC}" type="slidenum">
              <a:rPr kumimoji="0" lang="fi-FI" sz="1200" b="0" i="0" u="none" strike="noStrike" kern="1200" cap="none" spc="0" normalizeH="0" baseline="0" noProof="0" smtClean="0">
                <a:ln>
                  <a:noFill/>
                </a:ln>
                <a:solidFill>
                  <a:srgbClr val="514843"/>
                </a:solidFill>
                <a:effectLst/>
                <a:uLnTx/>
                <a:uFillTx/>
                <a:latin typeface="Euphemi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fi-FI" sz="1200" b="0" i="0" u="none" strike="noStrike" kern="1200" cap="none" spc="0" normalizeH="0" baseline="0" noProof="0">
              <a:ln>
                <a:noFill/>
              </a:ln>
              <a:solidFill>
                <a:srgbClr val="514843"/>
              </a:solidFill>
              <a:effectLst/>
              <a:uLnTx/>
              <a:uFillTx/>
              <a:latin typeface="Euphemia"/>
              <a:ea typeface="+mn-ea"/>
              <a:cs typeface="+mn-cs"/>
            </a:endParaRPr>
          </a:p>
        </p:txBody>
      </p:sp>
    </p:spTree>
    <p:extLst>
      <p:ext uri="{BB962C8B-B14F-4D97-AF65-F5344CB8AC3E}">
        <p14:creationId xmlns:p14="http://schemas.microsoft.com/office/powerpoint/2010/main" val="6869857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CA"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F7CA053-64A5-468B-A4AC-F179676E72A7}" type="slidenum">
              <a:rPr kumimoji="0" lang="fr-CA"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5</a:t>
            </a:fld>
            <a:endParaRPr kumimoji="0" lang="fr-CA"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6351595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3C37BE-C303-496D-B5CD-85F2937540FC}" type="slidenum">
              <a:rPr kumimoji="0" lang="fi-FI" sz="1200" b="0" i="0" u="none" strike="noStrike" kern="1200" cap="none" spc="0" normalizeH="0" baseline="0" noProof="0" smtClean="0">
                <a:ln>
                  <a:noFill/>
                </a:ln>
                <a:solidFill>
                  <a:srgbClr val="514843"/>
                </a:solidFill>
                <a:effectLst/>
                <a:uLnTx/>
                <a:uFillTx/>
                <a:latin typeface="Euphemi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fi-FI" sz="1200" b="0" i="0" u="none" strike="noStrike" kern="1200" cap="none" spc="0" normalizeH="0" baseline="0" noProof="0">
              <a:ln>
                <a:noFill/>
              </a:ln>
              <a:solidFill>
                <a:srgbClr val="514843"/>
              </a:solidFill>
              <a:effectLst/>
              <a:uLnTx/>
              <a:uFillTx/>
              <a:latin typeface="Euphemia"/>
              <a:ea typeface="+mn-ea"/>
              <a:cs typeface="+mn-cs"/>
            </a:endParaRPr>
          </a:p>
        </p:txBody>
      </p:sp>
    </p:spTree>
    <p:extLst>
      <p:ext uri="{BB962C8B-B14F-4D97-AF65-F5344CB8AC3E}">
        <p14:creationId xmlns:p14="http://schemas.microsoft.com/office/powerpoint/2010/main" val="14374464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CA" dirty="0"/>
              <a:t>80:</a:t>
            </a:r>
          </a:p>
          <a:p>
            <a:r>
              <a:rPr lang="fr-CA" dirty="0"/>
              <a:t>RIGHT of the </a:t>
            </a:r>
            <a:r>
              <a:rPr lang="fr-CA" dirty="0" err="1"/>
              <a:t>individual</a:t>
            </a:r>
            <a:r>
              <a:rPr lang="fr-CA" dirty="0"/>
              <a:t> to mandate</a:t>
            </a:r>
          </a:p>
          <a:p>
            <a:pPr marL="171450" indent="-171450">
              <a:buFontTx/>
              <a:buChar char="-"/>
            </a:pPr>
            <a:r>
              <a:rPr lang="fr-CA" dirty="0"/>
              <a:t>77 (</a:t>
            </a:r>
            <a:r>
              <a:rPr lang="fr-CA" dirty="0" err="1"/>
              <a:t>complain</a:t>
            </a:r>
            <a:r>
              <a:rPr lang="fr-CA" dirty="0"/>
              <a:t> to DPA), 78 (</a:t>
            </a:r>
            <a:r>
              <a:rPr lang="fr-CA" dirty="0" err="1"/>
              <a:t>complain</a:t>
            </a:r>
            <a:r>
              <a:rPr lang="fr-CA" dirty="0"/>
              <a:t> about the DPA) and 79 (right to an effective </a:t>
            </a:r>
            <a:r>
              <a:rPr lang="fr-CA" dirty="0" err="1"/>
              <a:t>judicial</a:t>
            </a:r>
            <a:r>
              <a:rPr lang="fr-CA" dirty="0"/>
              <a:t> </a:t>
            </a:r>
            <a:r>
              <a:rPr lang="fr-CA" dirty="0" err="1"/>
              <a:t>remedy</a:t>
            </a:r>
            <a:r>
              <a:rPr lang="fr-CA" dirty="0"/>
              <a:t>)</a:t>
            </a:r>
          </a:p>
          <a:p>
            <a:pPr marL="171450" indent="-171450">
              <a:buFontTx/>
              <a:buChar char="-"/>
            </a:pPr>
            <a:r>
              <a:rPr lang="fr-CA" dirty="0"/>
              <a:t>MS CAN </a:t>
            </a:r>
            <a:r>
              <a:rPr lang="fr-CA" dirty="0" err="1"/>
              <a:t>also</a:t>
            </a:r>
            <a:r>
              <a:rPr lang="fr-CA" dirty="0"/>
              <a:t> </a:t>
            </a:r>
            <a:r>
              <a:rPr lang="fr-CA" dirty="0" err="1"/>
              <a:t>provide</a:t>
            </a:r>
            <a:r>
              <a:rPr lang="fr-CA" dirty="0"/>
              <a:t> for compensation in MS </a:t>
            </a:r>
            <a:r>
              <a:rPr lang="fr-CA" dirty="0" err="1"/>
              <a:t>law</a:t>
            </a:r>
            <a:endParaRPr lang="fr-CA" dirty="0"/>
          </a:p>
          <a:p>
            <a:pPr marL="171450" indent="-171450">
              <a:buFontTx/>
              <a:buChar char="-"/>
            </a:pPr>
            <a:r>
              <a:rPr lang="fr-CA" dirty="0" err="1"/>
              <a:t>Without</a:t>
            </a:r>
            <a:r>
              <a:rPr lang="fr-CA" dirty="0"/>
              <a:t> mandate: </a:t>
            </a:r>
            <a:r>
              <a:rPr lang="fr-CA" dirty="0" err="1"/>
              <a:t>only</a:t>
            </a:r>
            <a:r>
              <a:rPr lang="fr-CA" dirty="0"/>
              <a:t> </a:t>
            </a:r>
            <a:r>
              <a:rPr lang="fr-CA" dirty="0" err="1"/>
              <a:t>were</a:t>
            </a:r>
            <a:r>
              <a:rPr lang="fr-CA" dirty="0"/>
              <a:t> </a:t>
            </a:r>
            <a:r>
              <a:rPr lang="fr-CA" dirty="0" err="1"/>
              <a:t>provided</a:t>
            </a:r>
            <a:r>
              <a:rPr lang="fr-CA" dirty="0"/>
              <a:t> </a:t>
            </a:r>
            <a:r>
              <a:rPr lang="fr-CA" dirty="0" err="1"/>
              <a:t>under</a:t>
            </a:r>
            <a:r>
              <a:rPr lang="fr-CA" dirty="0"/>
              <a:t> MS </a:t>
            </a:r>
            <a:r>
              <a:rPr lang="fr-CA" dirty="0" err="1"/>
              <a:t>law</a:t>
            </a:r>
            <a:r>
              <a:rPr lang="fr-CA" dirty="0"/>
              <a:t> </a:t>
            </a:r>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F7CA053-64A5-468B-A4AC-F179676E72A7}" type="slidenum">
              <a:rPr kumimoji="0" lang="fr-CA"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9</a:t>
            </a:fld>
            <a:endParaRPr kumimoji="0" lang="fr-CA"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28783687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CA"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7CA053-64A5-468B-A4AC-F179676E72A7}" type="slidenum">
              <a:rPr kumimoji="0" lang="fr-CA" sz="1200" b="0" i="0" u="none" strike="noStrike" kern="1200" cap="none" spc="0" normalizeH="0" baseline="0" noProof="0" smtClean="0">
                <a:ln>
                  <a:noFill/>
                </a:ln>
                <a:solidFill>
                  <a:prstClr val="black"/>
                </a:solidFill>
                <a:effectLst/>
                <a:uLnTx/>
                <a:uFillTx/>
                <a:latin typeface="Euphemi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fr-CA" sz="1200" b="0" i="0" u="none" strike="noStrike" kern="1200" cap="none" spc="0" normalizeH="0" baseline="0" noProof="0">
              <a:ln>
                <a:noFill/>
              </a:ln>
              <a:solidFill>
                <a:prstClr val="black"/>
              </a:solidFill>
              <a:effectLst/>
              <a:uLnTx/>
              <a:uFillTx/>
              <a:latin typeface="Euphemia"/>
              <a:ea typeface="+mn-ea"/>
              <a:cs typeface="+mn-cs"/>
            </a:endParaRPr>
          </a:p>
        </p:txBody>
      </p:sp>
    </p:spTree>
    <p:extLst>
      <p:ext uri="{BB962C8B-B14F-4D97-AF65-F5344CB8AC3E}">
        <p14:creationId xmlns:p14="http://schemas.microsoft.com/office/powerpoint/2010/main" val="37013950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CA"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7CA053-64A5-468B-A4AC-F179676E72A7}" type="slidenum">
              <a:rPr kumimoji="0" lang="fr-CA" sz="1200" b="0" i="0" u="none" strike="noStrike" kern="1200" cap="none" spc="0" normalizeH="0" baseline="0" noProof="0" smtClean="0">
                <a:ln>
                  <a:noFill/>
                </a:ln>
                <a:solidFill>
                  <a:prstClr val="black"/>
                </a:solidFill>
                <a:effectLst/>
                <a:uLnTx/>
                <a:uFillTx/>
                <a:latin typeface="Euphemi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fr-CA" sz="1200" b="0" i="0" u="none" strike="noStrike" kern="1200" cap="none" spc="0" normalizeH="0" baseline="0" noProof="0">
              <a:ln>
                <a:noFill/>
              </a:ln>
              <a:solidFill>
                <a:prstClr val="black"/>
              </a:solidFill>
              <a:effectLst/>
              <a:uLnTx/>
              <a:uFillTx/>
              <a:latin typeface="Euphemia"/>
              <a:ea typeface="+mn-ea"/>
              <a:cs typeface="+mn-cs"/>
            </a:endParaRPr>
          </a:p>
        </p:txBody>
      </p:sp>
    </p:spTree>
    <p:extLst>
      <p:ext uri="{BB962C8B-B14F-4D97-AF65-F5344CB8AC3E}">
        <p14:creationId xmlns:p14="http://schemas.microsoft.com/office/powerpoint/2010/main" val="11095123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CA"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7CA053-64A5-468B-A4AC-F179676E72A7}" type="slidenum">
              <a:rPr kumimoji="0" lang="fr-CA" sz="1200" b="0" i="0" u="none" strike="noStrike" kern="1200" cap="none" spc="0" normalizeH="0" baseline="0" noProof="0" smtClean="0">
                <a:ln>
                  <a:noFill/>
                </a:ln>
                <a:solidFill>
                  <a:prstClr val="black"/>
                </a:solidFill>
                <a:effectLst/>
                <a:uLnTx/>
                <a:uFillTx/>
                <a:latin typeface="Euphemi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fr-CA" sz="1200" b="0" i="0" u="none" strike="noStrike" kern="1200" cap="none" spc="0" normalizeH="0" baseline="0" noProof="0">
              <a:ln>
                <a:noFill/>
              </a:ln>
              <a:solidFill>
                <a:prstClr val="black"/>
              </a:solidFill>
              <a:effectLst/>
              <a:uLnTx/>
              <a:uFillTx/>
              <a:latin typeface="Euphemia"/>
              <a:ea typeface="+mn-ea"/>
              <a:cs typeface="+mn-cs"/>
            </a:endParaRPr>
          </a:p>
        </p:txBody>
      </p:sp>
    </p:spTree>
    <p:extLst>
      <p:ext uri="{BB962C8B-B14F-4D97-AF65-F5344CB8AC3E}">
        <p14:creationId xmlns:p14="http://schemas.microsoft.com/office/powerpoint/2010/main" val="105091352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3C37BE-C303-496D-B5CD-85F2937540FC}" type="slidenum">
              <a:rPr kumimoji="0" lang="de-DE" sz="1200" b="0" i="0" u="none" strike="noStrike" kern="1200" cap="none" spc="0" normalizeH="0" baseline="0" noProof="0" smtClean="0">
                <a:ln>
                  <a:noFill/>
                </a:ln>
                <a:solidFill>
                  <a:srgbClr val="514843"/>
                </a:solidFill>
                <a:effectLst/>
                <a:uLnTx/>
                <a:uFillTx/>
                <a:latin typeface="Euphemi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de-DE" sz="1200" b="0" i="0" u="none" strike="noStrike" kern="1200" cap="none" spc="0" normalizeH="0" baseline="0" noProof="0">
              <a:ln>
                <a:noFill/>
              </a:ln>
              <a:solidFill>
                <a:srgbClr val="514843"/>
              </a:solidFill>
              <a:effectLst/>
              <a:uLnTx/>
              <a:uFillTx/>
              <a:latin typeface="Euphemia"/>
              <a:ea typeface="+mn-ea"/>
              <a:cs typeface="+mn-cs"/>
            </a:endParaRPr>
          </a:p>
        </p:txBody>
      </p:sp>
    </p:spTree>
    <p:extLst>
      <p:ext uri="{BB962C8B-B14F-4D97-AF65-F5344CB8AC3E}">
        <p14:creationId xmlns:p14="http://schemas.microsoft.com/office/powerpoint/2010/main" val="416485893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CA"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7CA053-64A5-468B-A4AC-F179676E72A7}" type="slidenum">
              <a:rPr kumimoji="0" lang="fr-CA" sz="1200" b="0" i="0" u="none" strike="noStrike" kern="1200" cap="none" spc="0" normalizeH="0" baseline="0" noProof="0" smtClean="0">
                <a:ln>
                  <a:noFill/>
                </a:ln>
                <a:solidFill>
                  <a:prstClr val="black"/>
                </a:solidFill>
                <a:effectLst/>
                <a:uLnTx/>
                <a:uFillTx/>
                <a:latin typeface="Euphemi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fr-CA" sz="1200" b="0" i="0" u="none" strike="noStrike" kern="1200" cap="none" spc="0" normalizeH="0" baseline="0" noProof="0">
              <a:ln>
                <a:noFill/>
              </a:ln>
              <a:solidFill>
                <a:prstClr val="black"/>
              </a:solidFill>
              <a:effectLst/>
              <a:uLnTx/>
              <a:uFillTx/>
              <a:latin typeface="Euphemia"/>
              <a:ea typeface="+mn-ea"/>
              <a:cs typeface="+mn-cs"/>
            </a:endParaRPr>
          </a:p>
        </p:txBody>
      </p:sp>
    </p:spTree>
    <p:extLst>
      <p:ext uri="{BB962C8B-B14F-4D97-AF65-F5344CB8AC3E}">
        <p14:creationId xmlns:p14="http://schemas.microsoft.com/office/powerpoint/2010/main" val="370139500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CA" dirty="0" err="1"/>
              <a:t>Roles</a:t>
            </a:r>
            <a:r>
              <a:rPr lang="fr-CA" dirty="0"/>
              <a:t> and </a:t>
            </a:r>
            <a:r>
              <a:rPr lang="fr-CA" dirty="0" err="1"/>
              <a:t>responsibilities</a:t>
            </a:r>
            <a:r>
              <a:rPr lang="fr-CA" dirty="0"/>
              <a:t> in abstract</a:t>
            </a:r>
            <a:r>
              <a:rPr lang="fr-CA" baseline="0" dirty="0"/>
              <a:t> </a:t>
            </a:r>
            <a:r>
              <a:rPr lang="fr-CA" baseline="0" dirty="0" err="1"/>
              <a:t>terms</a:t>
            </a:r>
            <a:endParaRPr lang="fr-CA"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7CA053-64A5-468B-A4AC-F179676E72A7}" type="slidenum">
              <a:rPr kumimoji="0" lang="fr-CA" sz="1200" b="0" i="0" u="none" strike="noStrike" kern="1200" cap="none" spc="0" normalizeH="0" baseline="0" noProof="0" smtClean="0">
                <a:ln>
                  <a:noFill/>
                </a:ln>
                <a:solidFill>
                  <a:prstClr val="black"/>
                </a:solidFill>
                <a:effectLst/>
                <a:uLnTx/>
                <a:uFillTx/>
                <a:latin typeface="Euphemi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fr-CA" sz="1200" b="0" i="0" u="none" strike="noStrike" kern="1200" cap="none" spc="0" normalizeH="0" baseline="0" noProof="0">
              <a:ln>
                <a:noFill/>
              </a:ln>
              <a:solidFill>
                <a:prstClr val="black"/>
              </a:solidFill>
              <a:effectLst/>
              <a:uLnTx/>
              <a:uFillTx/>
              <a:latin typeface="Euphemia"/>
              <a:ea typeface="+mn-ea"/>
              <a:cs typeface="+mn-cs"/>
            </a:endParaRPr>
          </a:p>
        </p:txBody>
      </p:sp>
    </p:spTree>
    <p:extLst>
      <p:ext uri="{BB962C8B-B14F-4D97-AF65-F5344CB8AC3E}">
        <p14:creationId xmlns:p14="http://schemas.microsoft.com/office/powerpoint/2010/main" val="354195984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CA" dirty="0"/>
              <a:t>Right to sue </a:t>
            </a:r>
            <a:r>
              <a:rPr lang="fr-CA" dirty="0">
                <a:sym typeface="Wingdings" panose="05000000000000000000" pitchFamily="2" charset="2"/>
              </a:rPr>
              <a:t> has been </a:t>
            </a:r>
            <a:r>
              <a:rPr lang="fr-CA" dirty="0" err="1">
                <a:sym typeface="Wingdings" panose="05000000000000000000" pitchFamily="2" charset="2"/>
              </a:rPr>
              <a:t>changed</a:t>
            </a:r>
            <a:r>
              <a:rPr lang="fr-CA" baseline="0" dirty="0">
                <a:sym typeface="Wingdings" panose="05000000000000000000" pitchFamily="2" charset="2"/>
              </a:rPr>
              <a:t> </a:t>
            </a:r>
            <a:r>
              <a:rPr lang="fr-CA" baseline="0" dirty="0" err="1">
                <a:sym typeface="Wingdings" panose="05000000000000000000" pitchFamily="2" charset="2"/>
              </a:rPr>
              <a:t>under</a:t>
            </a:r>
            <a:r>
              <a:rPr lang="fr-CA" baseline="0" dirty="0">
                <a:sym typeface="Wingdings" panose="05000000000000000000" pitchFamily="2" charset="2"/>
              </a:rPr>
              <a:t> Albrecht  </a:t>
            </a:r>
            <a:r>
              <a:rPr lang="fr-CA" baseline="0" dirty="0" err="1">
                <a:sym typeface="Wingdings" panose="05000000000000000000" pitchFamily="2" charset="2"/>
              </a:rPr>
              <a:t>also</a:t>
            </a:r>
            <a:r>
              <a:rPr lang="fr-CA" baseline="0" dirty="0">
                <a:sym typeface="Wingdings" panose="05000000000000000000" pitchFamily="2" charset="2"/>
              </a:rPr>
              <a:t> </a:t>
            </a:r>
            <a:r>
              <a:rPr lang="fr-CA" baseline="0" dirty="0" err="1">
                <a:sym typeface="Wingdings" panose="05000000000000000000" pitchFamily="2" charset="2"/>
              </a:rPr>
              <a:t>NGOs</a:t>
            </a:r>
            <a:r>
              <a:rPr lang="fr-CA" baseline="0" dirty="0">
                <a:sym typeface="Wingdings" panose="05000000000000000000" pitchFamily="2" charset="2"/>
              </a:rPr>
              <a:t> etc.</a:t>
            </a:r>
          </a:p>
          <a:p>
            <a:endParaRPr lang="fr-CA"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7CA053-64A5-468B-A4AC-F179676E72A7}" type="slidenum">
              <a:rPr kumimoji="0" lang="fr-CA" sz="1200" b="0" i="0" u="none" strike="noStrike" kern="1200" cap="none" spc="0" normalizeH="0" baseline="0" noProof="0" smtClean="0">
                <a:ln>
                  <a:noFill/>
                </a:ln>
                <a:solidFill>
                  <a:prstClr val="black"/>
                </a:solidFill>
                <a:effectLst/>
                <a:uLnTx/>
                <a:uFillTx/>
                <a:latin typeface="Euphemi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fr-CA" sz="1200" b="0" i="0" u="none" strike="noStrike" kern="1200" cap="none" spc="0" normalizeH="0" baseline="0" noProof="0">
              <a:ln>
                <a:noFill/>
              </a:ln>
              <a:solidFill>
                <a:prstClr val="black"/>
              </a:solidFill>
              <a:effectLst/>
              <a:uLnTx/>
              <a:uFillTx/>
              <a:latin typeface="Euphemia"/>
              <a:ea typeface="+mn-ea"/>
              <a:cs typeface="+mn-cs"/>
            </a:endParaRPr>
          </a:p>
        </p:txBody>
      </p:sp>
    </p:spTree>
    <p:extLst>
      <p:ext uri="{BB962C8B-B14F-4D97-AF65-F5344CB8AC3E}">
        <p14:creationId xmlns:p14="http://schemas.microsoft.com/office/powerpoint/2010/main" val="31929374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CA" dirty="0"/>
              <a:t>Note: </a:t>
            </a:r>
            <a:r>
              <a:rPr lang="fr-CA" dirty="0" err="1"/>
              <a:t>we</a:t>
            </a:r>
            <a:r>
              <a:rPr lang="fr-CA" dirty="0"/>
              <a:t> focus on </a:t>
            </a:r>
            <a:r>
              <a:rPr lang="fr-CA" dirty="0" err="1"/>
              <a:t>Privacy</a:t>
            </a:r>
            <a:r>
              <a:rPr lang="fr-CA" dirty="0"/>
              <a:t> </a:t>
            </a:r>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7CA053-64A5-468B-A4AC-F179676E72A7}" type="slidenum">
              <a:rPr kumimoji="0" lang="fr-CA" sz="1200" b="0" i="0" u="none" strike="noStrike" kern="1200" cap="none" spc="0" normalizeH="0" baseline="0" noProof="0" smtClean="0">
                <a:ln>
                  <a:noFill/>
                </a:ln>
                <a:solidFill>
                  <a:prstClr val="black"/>
                </a:solidFill>
                <a:effectLst/>
                <a:uLnTx/>
                <a:uFillTx/>
                <a:latin typeface="Euphemi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fr-CA" sz="1200" b="0" i="0" u="none" strike="noStrike" kern="1200" cap="none" spc="0" normalizeH="0" baseline="0" noProof="0">
              <a:ln>
                <a:noFill/>
              </a:ln>
              <a:solidFill>
                <a:prstClr val="black"/>
              </a:solidFill>
              <a:effectLst/>
              <a:uLnTx/>
              <a:uFillTx/>
              <a:latin typeface="Euphemia"/>
              <a:ea typeface="+mn-ea"/>
              <a:cs typeface="+mn-cs"/>
            </a:endParaRPr>
          </a:p>
        </p:txBody>
      </p:sp>
    </p:spTree>
    <p:extLst>
      <p:ext uri="{BB962C8B-B14F-4D97-AF65-F5344CB8AC3E}">
        <p14:creationId xmlns:p14="http://schemas.microsoft.com/office/powerpoint/2010/main" val="23997236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CA" dirty="0"/>
              <a:t>Note: </a:t>
            </a:r>
            <a:r>
              <a:rPr lang="fr-CA" dirty="0" err="1"/>
              <a:t>difference</a:t>
            </a:r>
            <a:r>
              <a:rPr lang="fr-CA" dirty="0"/>
              <a:t> </a:t>
            </a:r>
            <a:r>
              <a:rPr lang="fr-CA" dirty="0" err="1"/>
              <a:t>between</a:t>
            </a:r>
            <a:r>
              <a:rPr lang="fr-CA" dirty="0"/>
              <a:t> </a:t>
            </a:r>
            <a:r>
              <a:rPr lang="fr-CA" dirty="0" err="1"/>
              <a:t>controllers</a:t>
            </a:r>
            <a:r>
              <a:rPr lang="fr-CA" dirty="0"/>
              <a:t> and processors</a:t>
            </a:r>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7CA053-64A5-468B-A4AC-F179676E72A7}" type="slidenum">
              <a:rPr kumimoji="0" lang="fr-CA" sz="1200" b="0" i="0" u="none" strike="noStrike" kern="1200" cap="none" spc="0" normalizeH="0" baseline="0" noProof="0" smtClean="0">
                <a:ln>
                  <a:noFill/>
                </a:ln>
                <a:solidFill>
                  <a:prstClr val="black"/>
                </a:solidFill>
                <a:effectLst/>
                <a:uLnTx/>
                <a:uFillTx/>
                <a:latin typeface="Euphemi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fr-CA" sz="1200" b="0" i="0" u="none" strike="noStrike" kern="1200" cap="none" spc="0" normalizeH="0" baseline="0" noProof="0">
              <a:ln>
                <a:noFill/>
              </a:ln>
              <a:solidFill>
                <a:prstClr val="black"/>
              </a:solidFill>
              <a:effectLst/>
              <a:uLnTx/>
              <a:uFillTx/>
              <a:latin typeface="Euphemia"/>
              <a:ea typeface="+mn-ea"/>
              <a:cs typeface="+mn-cs"/>
            </a:endParaRPr>
          </a:p>
        </p:txBody>
      </p:sp>
    </p:spTree>
    <p:extLst>
      <p:ext uri="{BB962C8B-B14F-4D97-AF65-F5344CB8AC3E}">
        <p14:creationId xmlns:p14="http://schemas.microsoft.com/office/powerpoint/2010/main" val="71395229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3C37BE-C303-496D-B5CD-85F2937540FC}" type="slidenum">
              <a:rPr kumimoji="0" lang="de-DE" sz="1200" b="0" i="0" u="none" strike="noStrike" kern="1200" cap="none" spc="0" normalizeH="0" baseline="0" noProof="0" smtClean="0">
                <a:ln>
                  <a:noFill/>
                </a:ln>
                <a:solidFill>
                  <a:srgbClr val="514843"/>
                </a:solidFill>
                <a:effectLst/>
                <a:uLnTx/>
                <a:uFillTx/>
                <a:latin typeface="Euphemi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de-DE" sz="1200" b="0" i="0" u="none" strike="noStrike" kern="1200" cap="none" spc="0" normalizeH="0" baseline="0" noProof="0">
              <a:ln>
                <a:noFill/>
              </a:ln>
              <a:solidFill>
                <a:srgbClr val="514843"/>
              </a:solidFill>
              <a:effectLst/>
              <a:uLnTx/>
              <a:uFillTx/>
              <a:latin typeface="Euphemia"/>
              <a:ea typeface="+mn-ea"/>
              <a:cs typeface="+mn-cs"/>
            </a:endParaRPr>
          </a:p>
        </p:txBody>
      </p:sp>
    </p:spTree>
    <p:extLst>
      <p:ext uri="{BB962C8B-B14F-4D97-AF65-F5344CB8AC3E}">
        <p14:creationId xmlns:p14="http://schemas.microsoft.com/office/powerpoint/2010/main" val="419068835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CA" dirty="0"/>
              <a:t>Right to sue </a:t>
            </a:r>
            <a:r>
              <a:rPr lang="fr-CA" dirty="0">
                <a:sym typeface="Wingdings" panose="05000000000000000000" pitchFamily="2" charset="2"/>
              </a:rPr>
              <a:t> has been </a:t>
            </a:r>
            <a:r>
              <a:rPr lang="fr-CA" dirty="0" err="1">
                <a:sym typeface="Wingdings" panose="05000000000000000000" pitchFamily="2" charset="2"/>
              </a:rPr>
              <a:t>changed</a:t>
            </a:r>
            <a:r>
              <a:rPr lang="fr-CA" baseline="0" dirty="0">
                <a:sym typeface="Wingdings" panose="05000000000000000000" pitchFamily="2" charset="2"/>
              </a:rPr>
              <a:t> </a:t>
            </a:r>
            <a:r>
              <a:rPr lang="fr-CA" baseline="0" dirty="0" err="1">
                <a:sym typeface="Wingdings" panose="05000000000000000000" pitchFamily="2" charset="2"/>
              </a:rPr>
              <a:t>under</a:t>
            </a:r>
            <a:r>
              <a:rPr lang="fr-CA" baseline="0" dirty="0">
                <a:sym typeface="Wingdings" panose="05000000000000000000" pitchFamily="2" charset="2"/>
              </a:rPr>
              <a:t> Albrecht  </a:t>
            </a:r>
            <a:r>
              <a:rPr lang="fr-CA" baseline="0" dirty="0" err="1">
                <a:sym typeface="Wingdings" panose="05000000000000000000" pitchFamily="2" charset="2"/>
              </a:rPr>
              <a:t>also</a:t>
            </a:r>
            <a:r>
              <a:rPr lang="fr-CA" baseline="0" dirty="0">
                <a:sym typeface="Wingdings" panose="05000000000000000000" pitchFamily="2" charset="2"/>
              </a:rPr>
              <a:t> </a:t>
            </a:r>
            <a:r>
              <a:rPr lang="fr-CA" baseline="0" dirty="0" err="1">
                <a:sym typeface="Wingdings" panose="05000000000000000000" pitchFamily="2" charset="2"/>
              </a:rPr>
              <a:t>NGOs</a:t>
            </a:r>
            <a:r>
              <a:rPr lang="fr-CA" baseline="0" dirty="0">
                <a:sym typeface="Wingdings" panose="05000000000000000000" pitchFamily="2" charset="2"/>
              </a:rPr>
              <a:t> etc.</a:t>
            </a:r>
          </a:p>
          <a:p>
            <a:endParaRPr lang="fr-CA"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7CA053-64A5-468B-A4AC-F179676E72A7}" type="slidenum">
              <a:rPr kumimoji="0" lang="fr-CA" sz="1200" b="0" i="0" u="none" strike="noStrike" kern="1200" cap="none" spc="0" normalizeH="0" baseline="0" noProof="0" smtClean="0">
                <a:ln>
                  <a:noFill/>
                </a:ln>
                <a:solidFill>
                  <a:prstClr val="black"/>
                </a:solidFill>
                <a:effectLst/>
                <a:uLnTx/>
                <a:uFillTx/>
                <a:latin typeface="Euphemi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fr-CA" sz="1200" b="0" i="0" u="none" strike="noStrike" kern="1200" cap="none" spc="0" normalizeH="0" baseline="0" noProof="0">
              <a:ln>
                <a:noFill/>
              </a:ln>
              <a:solidFill>
                <a:prstClr val="black"/>
              </a:solidFill>
              <a:effectLst/>
              <a:uLnTx/>
              <a:uFillTx/>
              <a:latin typeface="Euphemia"/>
              <a:ea typeface="+mn-ea"/>
              <a:cs typeface="+mn-cs"/>
            </a:endParaRPr>
          </a:p>
        </p:txBody>
      </p:sp>
    </p:spTree>
    <p:extLst>
      <p:ext uri="{BB962C8B-B14F-4D97-AF65-F5344CB8AC3E}">
        <p14:creationId xmlns:p14="http://schemas.microsoft.com/office/powerpoint/2010/main" val="319293746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r>
              <a:rPr lang="fr-CA" dirty="0"/>
              <a:t>Right to sue </a:t>
            </a:r>
            <a:r>
              <a:rPr lang="fr-CA" dirty="0">
                <a:sym typeface="Wingdings" panose="05000000000000000000" pitchFamily="2" charset="2"/>
              </a:rPr>
              <a:t> has been </a:t>
            </a:r>
            <a:r>
              <a:rPr lang="fr-CA" dirty="0" err="1">
                <a:sym typeface="Wingdings" panose="05000000000000000000" pitchFamily="2" charset="2"/>
              </a:rPr>
              <a:t>changed</a:t>
            </a:r>
            <a:r>
              <a:rPr lang="fr-CA" baseline="0" dirty="0">
                <a:sym typeface="Wingdings" panose="05000000000000000000" pitchFamily="2" charset="2"/>
              </a:rPr>
              <a:t> </a:t>
            </a:r>
            <a:r>
              <a:rPr lang="fr-CA" baseline="0" dirty="0" err="1">
                <a:sym typeface="Wingdings" panose="05000000000000000000" pitchFamily="2" charset="2"/>
              </a:rPr>
              <a:t>under</a:t>
            </a:r>
            <a:r>
              <a:rPr lang="fr-CA" baseline="0" dirty="0">
                <a:sym typeface="Wingdings" panose="05000000000000000000" pitchFamily="2" charset="2"/>
              </a:rPr>
              <a:t> Albrecht  </a:t>
            </a:r>
            <a:r>
              <a:rPr lang="fr-CA" baseline="0" dirty="0" err="1">
                <a:sym typeface="Wingdings" panose="05000000000000000000" pitchFamily="2" charset="2"/>
              </a:rPr>
              <a:t>also</a:t>
            </a:r>
            <a:r>
              <a:rPr lang="fr-CA" baseline="0" dirty="0">
                <a:sym typeface="Wingdings" panose="05000000000000000000" pitchFamily="2" charset="2"/>
              </a:rPr>
              <a:t> </a:t>
            </a:r>
            <a:r>
              <a:rPr lang="fr-CA" baseline="0" dirty="0" err="1">
                <a:sym typeface="Wingdings" panose="05000000000000000000" pitchFamily="2" charset="2"/>
              </a:rPr>
              <a:t>NGOs</a:t>
            </a:r>
            <a:r>
              <a:rPr lang="fr-CA" baseline="0" dirty="0">
                <a:sym typeface="Wingdings" panose="05000000000000000000" pitchFamily="2" charset="2"/>
              </a:rPr>
              <a:t> etc.</a:t>
            </a:r>
          </a:p>
          <a:p>
            <a:endParaRPr lang="fr-CA"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7CA053-64A5-468B-A4AC-F179676E72A7}" type="slidenum">
              <a:rPr kumimoji="0" lang="fr-CA" sz="1200" b="0" i="0" u="none" strike="noStrike" kern="1200" cap="none" spc="0" normalizeH="0" baseline="0" noProof="0" smtClean="0">
                <a:ln>
                  <a:noFill/>
                </a:ln>
                <a:solidFill>
                  <a:prstClr val="black"/>
                </a:solidFill>
                <a:effectLst/>
                <a:uLnTx/>
                <a:uFillTx/>
                <a:latin typeface="Euphemi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fr-CA" sz="1200" b="0" i="0" u="none" strike="noStrike" kern="1200" cap="none" spc="0" normalizeH="0" baseline="0" noProof="0">
              <a:ln>
                <a:noFill/>
              </a:ln>
              <a:solidFill>
                <a:prstClr val="black"/>
              </a:solidFill>
              <a:effectLst/>
              <a:uLnTx/>
              <a:uFillTx/>
              <a:latin typeface="Euphemia"/>
              <a:ea typeface="+mn-ea"/>
              <a:cs typeface="+mn-cs"/>
            </a:endParaRPr>
          </a:p>
        </p:txBody>
      </p:sp>
    </p:spTree>
    <p:extLst>
      <p:ext uri="{BB962C8B-B14F-4D97-AF65-F5344CB8AC3E}">
        <p14:creationId xmlns:p14="http://schemas.microsoft.com/office/powerpoint/2010/main" val="319293746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3C37BE-C303-496D-B5CD-85F2937540FC}" type="slidenum">
              <a:rPr kumimoji="0" lang="de-DE" sz="1200" b="0" i="0" u="none" strike="noStrike" kern="1200" cap="none" spc="0" normalizeH="0" baseline="0" noProof="0" smtClean="0">
                <a:ln>
                  <a:noFill/>
                </a:ln>
                <a:solidFill>
                  <a:srgbClr val="514843"/>
                </a:solidFill>
                <a:effectLst/>
                <a:uLnTx/>
                <a:uFillTx/>
                <a:latin typeface="Euphemi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de-DE" sz="1200" b="0" i="0" u="none" strike="noStrike" kern="1200" cap="none" spc="0" normalizeH="0" baseline="0" noProof="0">
              <a:ln>
                <a:noFill/>
              </a:ln>
              <a:solidFill>
                <a:srgbClr val="514843"/>
              </a:solidFill>
              <a:effectLst/>
              <a:uLnTx/>
              <a:uFillTx/>
              <a:latin typeface="Euphemia"/>
              <a:ea typeface="+mn-ea"/>
              <a:cs typeface="+mn-cs"/>
            </a:endParaRPr>
          </a:p>
        </p:txBody>
      </p:sp>
    </p:spTree>
    <p:extLst>
      <p:ext uri="{BB962C8B-B14F-4D97-AF65-F5344CB8AC3E}">
        <p14:creationId xmlns:p14="http://schemas.microsoft.com/office/powerpoint/2010/main" val="32294793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3C37BE-C303-496D-B5CD-85F2937540FC}" type="slidenum">
              <a:rPr kumimoji="0" lang="de-DE" sz="1200" b="0" i="0" u="none" strike="noStrike" kern="1200" cap="none" spc="0" normalizeH="0" baseline="0" noProof="0" smtClean="0">
                <a:ln>
                  <a:noFill/>
                </a:ln>
                <a:solidFill>
                  <a:srgbClr val="514843"/>
                </a:solidFill>
                <a:effectLst/>
                <a:uLnTx/>
                <a:uFillTx/>
                <a:latin typeface="Euphemi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de-DE" sz="1200" b="0" i="0" u="none" strike="noStrike" kern="1200" cap="none" spc="0" normalizeH="0" baseline="0" noProof="0">
              <a:ln>
                <a:noFill/>
              </a:ln>
              <a:solidFill>
                <a:srgbClr val="514843"/>
              </a:solidFill>
              <a:effectLst/>
              <a:uLnTx/>
              <a:uFillTx/>
              <a:latin typeface="Euphemia"/>
              <a:ea typeface="+mn-ea"/>
              <a:cs typeface="+mn-cs"/>
            </a:endParaRPr>
          </a:p>
        </p:txBody>
      </p:sp>
    </p:spTree>
    <p:extLst>
      <p:ext uri="{BB962C8B-B14F-4D97-AF65-F5344CB8AC3E}">
        <p14:creationId xmlns:p14="http://schemas.microsoft.com/office/powerpoint/2010/main" val="6567891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3C37BE-C303-496D-B5CD-85F2937540FC}" type="slidenum">
              <a:rPr kumimoji="0" lang="de-DE" sz="1200" b="0" i="0" u="none" strike="noStrike" kern="1200" cap="none" spc="0" normalizeH="0" baseline="0" noProof="0" smtClean="0">
                <a:ln>
                  <a:noFill/>
                </a:ln>
                <a:solidFill>
                  <a:srgbClr val="514843"/>
                </a:solidFill>
                <a:effectLst/>
                <a:uLnTx/>
                <a:uFillTx/>
                <a:latin typeface="Euphemi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de-DE" sz="1200" b="0" i="0" u="none" strike="noStrike" kern="1200" cap="none" spc="0" normalizeH="0" baseline="0" noProof="0">
              <a:ln>
                <a:noFill/>
              </a:ln>
              <a:solidFill>
                <a:srgbClr val="514843"/>
              </a:solidFill>
              <a:effectLst/>
              <a:uLnTx/>
              <a:uFillTx/>
              <a:latin typeface="Euphemia"/>
              <a:ea typeface="+mn-ea"/>
              <a:cs typeface="+mn-cs"/>
            </a:endParaRPr>
          </a:p>
        </p:txBody>
      </p:sp>
    </p:spTree>
    <p:extLst>
      <p:ext uri="{BB962C8B-B14F-4D97-AF65-F5344CB8AC3E}">
        <p14:creationId xmlns:p14="http://schemas.microsoft.com/office/powerpoint/2010/main" val="13137286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CA"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7CA053-64A5-468B-A4AC-F179676E72A7}" type="slidenum">
              <a:rPr kumimoji="0" lang="fr-CA" sz="1200" b="0" i="0" u="none" strike="noStrike" kern="1200" cap="none" spc="0" normalizeH="0" baseline="0" noProof="0" smtClean="0">
                <a:ln>
                  <a:noFill/>
                </a:ln>
                <a:solidFill>
                  <a:prstClr val="black"/>
                </a:solidFill>
                <a:effectLst/>
                <a:uLnTx/>
                <a:uFillTx/>
                <a:latin typeface="Euphemi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fr-CA" sz="1200" b="0" i="0" u="none" strike="noStrike" kern="1200" cap="none" spc="0" normalizeH="0" baseline="0" noProof="0">
              <a:ln>
                <a:noFill/>
              </a:ln>
              <a:solidFill>
                <a:prstClr val="black"/>
              </a:solidFill>
              <a:effectLst/>
              <a:uLnTx/>
              <a:uFillTx/>
              <a:latin typeface="Euphemia"/>
              <a:ea typeface="+mn-ea"/>
              <a:cs typeface="+mn-cs"/>
            </a:endParaRPr>
          </a:p>
        </p:txBody>
      </p:sp>
    </p:spTree>
    <p:extLst>
      <p:ext uri="{BB962C8B-B14F-4D97-AF65-F5344CB8AC3E}">
        <p14:creationId xmlns:p14="http://schemas.microsoft.com/office/powerpoint/2010/main" val="125164039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CA"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7CA053-64A5-468B-A4AC-F179676E72A7}" type="slidenum">
              <a:rPr kumimoji="0" lang="fr-CA" sz="1200" b="0" i="0" u="none" strike="noStrike" kern="1200" cap="none" spc="0" normalizeH="0" baseline="0" noProof="0" smtClean="0">
                <a:ln>
                  <a:noFill/>
                </a:ln>
                <a:solidFill>
                  <a:prstClr val="black"/>
                </a:solidFill>
                <a:effectLst/>
                <a:uLnTx/>
                <a:uFillTx/>
                <a:latin typeface="Euphemi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fr-CA" sz="1200" b="0" i="0" u="none" strike="noStrike" kern="1200" cap="none" spc="0" normalizeH="0" baseline="0" noProof="0">
              <a:ln>
                <a:noFill/>
              </a:ln>
              <a:solidFill>
                <a:prstClr val="black"/>
              </a:solidFill>
              <a:effectLst/>
              <a:uLnTx/>
              <a:uFillTx/>
              <a:latin typeface="Euphemia"/>
              <a:ea typeface="+mn-ea"/>
              <a:cs typeface="+mn-cs"/>
            </a:endParaRPr>
          </a:p>
        </p:txBody>
      </p:sp>
    </p:spTree>
    <p:extLst>
      <p:ext uri="{BB962C8B-B14F-4D97-AF65-F5344CB8AC3E}">
        <p14:creationId xmlns:p14="http://schemas.microsoft.com/office/powerpoint/2010/main" val="8502781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CA"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F7CA053-64A5-468B-A4AC-F179676E72A7}" type="slidenum">
              <a:rPr kumimoji="0" lang="fr-CA" sz="1200" b="0" i="0" u="none" strike="noStrike" kern="1200" cap="none" spc="0" normalizeH="0" baseline="0" noProof="0" smtClean="0">
                <a:ln>
                  <a:noFill/>
                </a:ln>
                <a:solidFill>
                  <a:prstClr val="black"/>
                </a:solidFill>
                <a:effectLst/>
                <a:uLnTx/>
                <a:uFillTx/>
                <a:latin typeface="Euphemi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fr-CA" sz="1200" b="0" i="0" u="none" strike="noStrike" kern="1200" cap="none" spc="0" normalizeH="0" baseline="0" noProof="0">
              <a:ln>
                <a:noFill/>
              </a:ln>
              <a:solidFill>
                <a:prstClr val="black"/>
              </a:solidFill>
              <a:effectLst/>
              <a:uLnTx/>
              <a:uFillTx/>
              <a:latin typeface="Euphemia"/>
              <a:ea typeface="+mn-ea"/>
              <a:cs typeface="+mn-cs"/>
            </a:endParaRPr>
          </a:p>
        </p:txBody>
      </p:sp>
    </p:spTree>
    <p:extLst>
      <p:ext uri="{BB962C8B-B14F-4D97-AF65-F5344CB8AC3E}">
        <p14:creationId xmlns:p14="http://schemas.microsoft.com/office/powerpoint/2010/main" val="110015025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A3C37BE-C303-496D-B5CD-85F2937540FC}" type="slidenum">
              <a:rPr kumimoji="0" lang="de-DE" sz="1200" b="0" i="0" u="none" strike="noStrike" kern="1200" cap="none" spc="0" normalizeH="0" baseline="0" noProof="0" smtClean="0">
                <a:ln>
                  <a:noFill/>
                </a:ln>
                <a:solidFill>
                  <a:srgbClr val="514843"/>
                </a:solidFill>
                <a:effectLst/>
                <a:uLnTx/>
                <a:uFillTx/>
                <a:latin typeface="Euphemia"/>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de-DE" sz="1200" b="0" i="0" u="none" strike="noStrike" kern="1200" cap="none" spc="0" normalizeH="0" baseline="0" noProof="0">
              <a:ln>
                <a:noFill/>
              </a:ln>
              <a:solidFill>
                <a:srgbClr val="514843"/>
              </a:solidFill>
              <a:effectLst/>
              <a:uLnTx/>
              <a:uFillTx/>
              <a:latin typeface="Euphemia"/>
              <a:ea typeface="+mn-ea"/>
              <a:cs typeface="+mn-cs"/>
            </a:endParaRPr>
          </a:p>
        </p:txBody>
      </p:sp>
    </p:spTree>
    <p:extLst>
      <p:ext uri="{BB962C8B-B14F-4D97-AF65-F5344CB8AC3E}">
        <p14:creationId xmlns:p14="http://schemas.microsoft.com/office/powerpoint/2010/main" val="23931950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9" name="Cover Logo">
            <a:extLst>
              <a:ext uri="{FF2B5EF4-FFF2-40B4-BE49-F238E27FC236}">
                <a16:creationId xmlns:a16="http://schemas.microsoft.com/office/drawing/2014/main" id="{4940C945-8607-4600-B2C1-89DB7F6C2C6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19138" y="719138"/>
            <a:ext cx="1822450" cy="321910"/>
          </a:xfrm>
          <a:prstGeom prst="rect">
            <a:avLst/>
          </a:prstGeom>
        </p:spPr>
      </p:pic>
      <p:sp>
        <p:nvSpPr>
          <p:cNvPr id="14" name="Date Placeholder 1">
            <a:extLst>
              <a:ext uri="{FF2B5EF4-FFF2-40B4-BE49-F238E27FC236}">
                <a16:creationId xmlns:a16="http://schemas.microsoft.com/office/drawing/2014/main" id="{A3AC88BA-6E7A-4F66-A140-439B25DB9248}"/>
              </a:ext>
            </a:extLst>
          </p:cNvPr>
          <p:cNvSpPr>
            <a:spLocks noGrp="1"/>
          </p:cNvSpPr>
          <p:nvPr userDrawn="1">
            <p:ph type="dt" sz="half" idx="10"/>
          </p:nvPr>
        </p:nvSpPr>
        <p:spPr>
          <a:xfrm>
            <a:off x="719138" y="4653512"/>
            <a:ext cx="1655715" cy="448468"/>
          </a:xfrm>
          <a:prstGeom prst="roundRect">
            <a:avLst>
              <a:gd name="adj" fmla="val 50000"/>
            </a:avLst>
          </a:prstGeom>
          <a:solidFill>
            <a:schemeClr val="tx2"/>
          </a:solidFill>
        </p:spPr>
        <p:txBody>
          <a:bodyPr wrap="none" tIns="36000" rIns="72000" bIns="36000" anchor="ctr" anchorCtr="0">
            <a:spAutoFit/>
          </a:bodyPr>
          <a:lstStyle>
            <a:lvl1pPr marL="0">
              <a:defRPr sz="1600" i="1">
                <a:solidFill>
                  <a:schemeClr val="bg1"/>
                </a:solidFill>
                <a:latin typeface="+mj-lt"/>
              </a:defRPr>
            </a:lvl1pPr>
            <a:lvl2pPr marL="0">
              <a:defRPr sz="1600" i="1">
                <a:solidFill>
                  <a:schemeClr val="bg1"/>
                </a:solidFill>
                <a:latin typeface="+mj-lt"/>
              </a:defRPr>
            </a:lvl2pPr>
            <a:lvl3pPr marL="0">
              <a:defRPr sz="1600" i="1">
                <a:solidFill>
                  <a:schemeClr val="bg1"/>
                </a:solidFill>
                <a:latin typeface="+mj-lt"/>
              </a:defRPr>
            </a:lvl3pPr>
            <a:lvl4pPr marL="0">
              <a:defRPr sz="1600" i="1">
                <a:solidFill>
                  <a:schemeClr val="bg1"/>
                </a:solidFill>
                <a:latin typeface="+mj-lt"/>
              </a:defRPr>
            </a:lvl4pPr>
            <a:lvl5pPr marL="0">
              <a:defRPr sz="1600" i="1">
                <a:solidFill>
                  <a:schemeClr val="bg1"/>
                </a:solidFill>
                <a:latin typeface="+mj-lt"/>
              </a:defRPr>
            </a:lvl5pPr>
            <a:lvl6pPr marL="0">
              <a:defRPr sz="1600" i="1">
                <a:solidFill>
                  <a:schemeClr val="bg1"/>
                </a:solidFill>
                <a:latin typeface="+mj-lt"/>
              </a:defRPr>
            </a:lvl6pPr>
            <a:lvl7pPr marL="0">
              <a:defRPr sz="1600" i="1">
                <a:solidFill>
                  <a:schemeClr val="bg1"/>
                </a:solidFill>
                <a:latin typeface="+mj-lt"/>
              </a:defRPr>
            </a:lvl7pPr>
            <a:lvl8pPr marL="0">
              <a:defRPr sz="1600" i="1">
                <a:solidFill>
                  <a:schemeClr val="bg1"/>
                </a:solidFill>
                <a:latin typeface="+mj-lt"/>
              </a:defRPr>
            </a:lvl8pPr>
            <a:lvl9pPr marL="0">
              <a:defRPr sz="1600" i="1">
                <a:solidFill>
                  <a:schemeClr val="bg1"/>
                </a:solidFill>
                <a:latin typeface="+mj-lt"/>
              </a:defRPr>
            </a:lvl9pPr>
          </a:lstStyle>
          <a:p>
            <a:r>
              <a:rPr lang="en-US"/>
              <a:t>dd Month 2021</a:t>
            </a:r>
            <a:endParaRPr lang="en-GB" dirty="0"/>
          </a:p>
        </p:txBody>
      </p:sp>
      <p:sp>
        <p:nvSpPr>
          <p:cNvPr id="3" name="Subtitle 1">
            <a:extLst>
              <a:ext uri="{FF2B5EF4-FFF2-40B4-BE49-F238E27FC236}">
                <a16:creationId xmlns:a16="http://schemas.microsoft.com/office/drawing/2014/main" id="{EDF4FC6D-F465-4529-BC7B-E5213D4E361C}"/>
              </a:ext>
            </a:extLst>
          </p:cNvPr>
          <p:cNvSpPr>
            <a:spLocks noGrp="1"/>
          </p:cNvSpPr>
          <p:nvPr userDrawn="1">
            <p:ph type="subTitle" idx="1"/>
          </p:nvPr>
        </p:nvSpPr>
        <p:spPr>
          <a:xfrm>
            <a:off x="719138" y="3604929"/>
            <a:ext cx="6197600" cy="864000"/>
          </a:xfrm>
        </p:spPr>
        <p:txBody>
          <a:bodyPr>
            <a:noAutofit/>
          </a:bodyPr>
          <a:lstStyle>
            <a:lvl1pPr marL="0" indent="0" algn="l">
              <a:lnSpc>
                <a:spcPct val="100000"/>
              </a:lnSpc>
              <a:spcBef>
                <a:spcPts val="600"/>
              </a:spcBef>
              <a:buNone/>
              <a:defRPr sz="1800">
                <a:solidFill>
                  <a:schemeClr val="tx1"/>
                </a:solidFill>
                <a:latin typeface="+mn-lt"/>
              </a:defRPr>
            </a:lvl1pPr>
            <a:lvl2pPr marL="0" indent="0" algn="l">
              <a:lnSpc>
                <a:spcPct val="100000"/>
              </a:lnSpc>
              <a:spcBef>
                <a:spcPts val="600"/>
              </a:spcBef>
              <a:buNone/>
              <a:defRPr sz="1800">
                <a:solidFill>
                  <a:schemeClr val="tx2"/>
                </a:solidFill>
                <a:latin typeface="+mn-lt"/>
              </a:defRPr>
            </a:lvl2pPr>
            <a:lvl3pPr marL="0" indent="0" algn="l">
              <a:lnSpc>
                <a:spcPct val="100000"/>
              </a:lnSpc>
              <a:spcBef>
                <a:spcPts val="600"/>
              </a:spcBef>
              <a:buNone/>
              <a:defRPr sz="1800">
                <a:solidFill>
                  <a:schemeClr val="bg1"/>
                </a:solidFill>
                <a:latin typeface="+mn-lt"/>
              </a:defRPr>
            </a:lvl3pPr>
            <a:lvl4pPr marL="0" indent="0" algn="l">
              <a:lnSpc>
                <a:spcPct val="100000"/>
              </a:lnSpc>
              <a:spcBef>
                <a:spcPts val="600"/>
              </a:spcBef>
              <a:buNone/>
              <a:defRPr sz="1600">
                <a:solidFill>
                  <a:schemeClr val="tx1"/>
                </a:solidFill>
                <a:latin typeface="+mn-lt"/>
              </a:defRPr>
            </a:lvl4pPr>
            <a:lvl5pPr marL="0" indent="0" algn="l">
              <a:lnSpc>
                <a:spcPct val="100000"/>
              </a:lnSpc>
              <a:spcBef>
                <a:spcPts val="600"/>
              </a:spcBef>
              <a:buNone/>
              <a:defRPr sz="1600">
                <a:solidFill>
                  <a:schemeClr val="tx2"/>
                </a:solidFill>
                <a:latin typeface="+mn-lt"/>
              </a:defRPr>
            </a:lvl5pPr>
            <a:lvl6pPr marL="0" indent="0" algn="l">
              <a:lnSpc>
                <a:spcPct val="100000"/>
              </a:lnSpc>
              <a:spcBef>
                <a:spcPts val="600"/>
              </a:spcBef>
              <a:buNone/>
              <a:defRPr sz="1600">
                <a:solidFill>
                  <a:schemeClr val="bg1"/>
                </a:solidFill>
                <a:latin typeface="+mn-lt"/>
              </a:defRPr>
            </a:lvl6pPr>
            <a:lvl7pPr marL="0" indent="0" algn="l">
              <a:lnSpc>
                <a:spcPct val="100000"/>
              </a:lnSpc>
              <a:spcBef>
                <a:spcPts val="600"/>
              </a:spcBef>
              <a:buNone/>
              <a:defRPr sz="2400">
                <a:solidFill>
                  <a:schemeClr val="tx1"/>
                </a:solidFill>
                <a:latin typeface="+mn-lt"/>
              </a:defRPr>
            </a:lvl7pPr>
            <a:lvl8pPr marL="0" indent="0" algn="l">
              <a:lnSpc>
                <a:spcPct val="100000"/>
              </a:lnSpc>
              <a:spcBef>
                <a:spcPts val="600"/>
              </a:spcBef>
              <a:buNone/>
              <a:defRPr sz="2400">
                <a:solidFill>
                  <a:schemeClr val="tx2"/>
                </a:solidFill>
                <a:latin typeface="+mn-lt"/>
              </a:defRPr>
            </a:lvl8pPr>
            <a:lvl9pPr marL="0" indent="0" algn="l">
              <a:lnSpc>
                <a:spcPct val="100000"/>
              </a:lnSpc>
              <a:spcBef>
                <a:spcPts val="600"/>
              </a:spcBef>
              <a:buNone/>
              <a:defRPr sz="2400">
                <a:solidFill>
                  <a:schemeClr val="bg1"/>
                </a:solidFill>
                <a:latin typeface="+mn-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53A81225-6A2B-4B54-93B4-0385442303F5}"/>
              </a:ext>
            </a:extLst>
          </p:cNvPr>
          <p:cNvSpPr>
            <a:spLocks noGrp="1"/>
          </p:cNvSpPr>
          <p:nvPr userDrawn="1">
            <p:ph type="ctrTitle"/>
          </p:nvPr>
        </p:nvSpPr>
        <p:spPr>
          <a:xfrm>
            <a:off x="719138" y="1908351"/>
            <a:ext cx="6197600" cy="1512000"/>
          </a:xfrm>
        </p:spPr>
        <p:txBody>
          <a:bodyPr lIns="0" rIns="0" anchor="b" anchorCtr="0">
            <a:noAutofit/>
          </a:bodyPr>
          <a:lstStyle>
            <a:lvl1pPr algn="l">
              <a:defRPr sz="4400"/>
            </a:lvl1pPr>
            <a:lvl2pPr>
              <a:defRPr sz="4400"/>
            </a:lvl2pPr>
            <a:lvl3pPr>
              <a:defRPr sz="4400">
                <a:solidFill>
                  <a:schemeClr val="bg1"/>
                </a:solidFill>
              </a:defRPr>
            </a:lvl3pPr>
            <a:lvl4pPr>
              <a:defRPr sz="3600">
                <a:solidFill>
                  <a:schemeClr val="tx1"/>
                </a:solidFill>
              </a:defRPr>
            </a:lvl4pPr>
            <a:lvl5pPr>
              <a:defRPr sz="3600">
                <a:solidFill>
                  <a:schemeClr val="tx2"/>
                </a:solidFill>
              </a:defRPr>
            </a:lvl5pPr>
            <a:lvl6pPr>
              <a:defRPr sz="3600">
                <a:solidFill>
                  <a:schemeClr val="bg1"/>
                </a:solidFill>
              </a:defRPr>
            </a:lvl6pPr>
            <a:lvl7pPr>
              <a:defRPr sz="4000"/>
            </a:lvl7pPr>
            <a:lvl8pPr>
              <a:defRPr sz="4000"/>
            </a:lvl8pPr>
            <a:lvl9pPr>
              <a:defRPr sz="4000" i="0">
                <a:solidFill>
                  <a:schemeClr val="bg1"/>
                </a:solidFill>
              </a:defRPr>
            </a:lvl9pPr>
          </a:lstStyle>
          <a:p>
            <a:pPr lvl="0"/>
            <a:r>
              <a:rPr lang="en-US"/>
              <a:t>Click to edit Master title style</a:t>
            </a:r>
            <a:endParaRPr lang="en-GB" dirty="0"/>
          </a:p>
        </p:txBody>
      </p:sp>
      <p:sp>
        <p:nvSpPr>
          <p:cNvPr id="21" name="Freeform: Shape 20">
            <a:extLst>
              <a:ext uri="{FF2B5EF4-FFF2-40B4-BE49-F238E27FC236}">
                <a16:creationId xmlns:a16="http://schemas.microsoft.com/office/drawing/2014/main" id="{08D0C1AC-DB08-43CD-AC26-CF417079F7D7}"/>
              </a:ext>
            </a:extLst>
          </p:cNvPr>
          <p:cNvSpPr/>
          <p:nvPr/>
        </p:nvSpPr>
        <p:spPr>
          <a:xfrm>
            <a:off x="0" y="8335"/>
            <a:ext cx="12193206" cy="6858000"/>
          </a:xfrm>
          <a:custGeom>
            <a:avLst/>
            <a:gdLst>
              <a:gd name="connsiteX0" fmla="*/ 0 w 12193206"/>
              <a:gd name="connsiteY0" fmla="*/ 0 h 6858000"/>
              <a:gd name="connsiteX1" fmla="*/ 12193206 w 12193206"/>
              <a:gd name="connsiteY1" fmla="*/ 0 h 6858000"/>
              <a:gd name="connsiteX2" fmla="*/ 12193206 w 12193206"/>
              <a:gd name="connsiteY2" fmla="*/ 6858000 h 6858000"/>
              <a:gd name="connsiteX3" fmla="*/ 0 w 121932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06" h="6858000">
                <a:moveTo>
                  <a:pt x="0" y="0"/>
                </a:moveTo>
                <a:lnTo>
                  <a:pt x="12193206" y="0"/>
                </a:lnTo>
                <a:lnTo>
                  <a:pt x="12193206" y="6858000"/>
                </a:lnTo>
                <a:lnTo>
                  <a:pt x="0" y="6858000"/>
                </a:lnTo>
                <a:close/>
              </a:path>
            </a:pathLst>
          </a:custGeom>
          <a:noFill/>
          <a:ln w="12700" cap="flat">
            <a:noFill/>
            <a:prstDash val="solid"/>
            <a:miter/>
          </a:ln>
        </p:spPr>
        <p:txBody>
          <a:bodyPr rtlCol="0" anchor="ctr"/>
          <a:lstStyle/>
          <a:p>
            <a:endParaRPr lang="en-GB"/>
          </a:p>
        </p:txBody>
      </p:sp>
      <p:sp>
        <p:nvSpPr>
          <p:cNvPr id="65" name="Freeform: Shape 64">
            <a:extLst>
              <a:ext uri="{FF2B5EF4-FFF2-40B4-BE49-F238E27FC236}">
                <a16:creationId xmlns:a16="http://schemas.microsoft.com/office/drawing/2014/main" id="{BA095166-32E5-42E9-83A1-AD237E1F5588}"/>
              </a:ext>
            </a:extLst>
          </p:cNvPr>
          <p:cNvSpPr/>
          <p:nvPr/>
        </p:nvSpPr>
        <p:spPr>
          <a:xfrm>
            <a:off x="9082622" y="1746273"/>
            <a:ext cx="3109379" cy="4479053"/>
          </a:xfrm>
          <a:custGeom>
            <a:avLst/>
            <a:gdLst>
              <a:gd name="connsiteX0" fmla="*/ 133363 w 3109379"/>
              <a:gd name="connsiteY0" fmla="*/ 0 h 4479053"/>
              <a:gd name="connsiteX1" fmla="*/ 1912063 w 3109379"/>
              <a:gd name="connsiteY1" fmla="*/ 0 h 4479053"/>
              <a:gd name="connsiteX2" fmla="*/ 2044359 w 3109379"/>
              <a:gd name="connsiteY2" fmla="*/ 116544 h 4479053"/>
              <a:gd name="connsiteX3" fmla="*/ 2073638 w 3109379"/>
              <a:gd name="connsiteY3" fmla="*/ 660203 h 4479053"/>
              <a:gd name="connsiteX4" fmla="*/ 3028725 w 3109379"/>
              <a:gd name="connsiteY4" fmla="*/ 3954882 h 4479053"/>
              <a:gd name="connsiteX5" fmla="*/ 3109379 w 3109379"/>
              <a:gd name="connsiteY5" fmla="*/ 4060781 h 4479053"/>
              <a:gd name="connsiteX6" fmla="*/ 3109379 w 3109379"/>
              <a:gd name="connsiteY6" fmla="*/ 4479053 h 4479053"/>
              <a:gd name="connsiteX7" fmla="*/ 3086052 w 3109379"/>
              <a:gd name="connsiteY7" fmla="*/ 4453039 h 4479053"/>
              <a:gd name="connsiteX8" fmla="*/ 2938406 w 3109379"/>
              <a:gd name="connsiteY8" fmla="*/ 4273886 h 4479053"/>
              <a:gd name="connsiteX9" fmla="*/ 2172651 w 3109379"/>
              <a:gd name="connsiteY9" fmla="*/ 2924999 h 4479053"/>
              <a:gd name="connsiteX10" fmla="*/ 1806996 w 3109379"/>
              <a:gd name="connsiteY10" fmla="*/ 667133 h 4479053"/>
              <a:gd name="connsiteX11" fmla="*/ 1791103 w 3109379"/>
              <a:gd name="connsiteY11" fmla="*/ 266725 h 4479053"/>
              <a:gd name="connsiteX12" fmla="*/ 133363 w 3109379"/>
              <a:gd name="connsiteY12" fmla="*/ 266725 h 4479053"/>
              <a:gd name="connsiteX13" fmla="*/ 0 w 3109379"/>
              <a:gd name="connsiteY13" fmla="*/ 133363 h 4479053"/>
              <a:gd name="connsiteX14" fmla="*/ 133363 w 3109379"/>
              <a:gd name="connsiteY14" fmla="*/ 0 h 4479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09379" h="4479053">
                <a:moveTo>
                  <a:pt x="133363" y="0"/>
                </a:moveTo>
                <a:lnTo>
                  <a:pt x="1912063" y="0"/>
                </a:lnTo>
                <a:cubicBezTo>
                  <a:pt x="1979214" y="0"/>
                  <a:pt x="2035891" y="49929"/>
                  <a:pt x="2044359" y="116544"/>
                </a:cubicBezTo>
                <a:cubicBezTo>
                  <a:pt x="2063397" y="266291"/>
                  <a:pt x="2068143" y="448836"/>
                  <a:pt x="2073638" y="660203"/>
                </a:cubicBezTo>
                <a:cubicBezTo>
                  <a:pt x="2095201" y="1489639"/>
                  <a:pt x="2127205" y="2720705"/>
                  <a:pt x="3028725" y="3954882"/>
                </a:cubicBezTo>
                <a:lnTo>
                  <a:pt x="3109379" y="4060781"/>
                </a:lnTo>
                <a:lnTo>
                  <a:pt x="3109379" y="4479053"/>
                </a:lnTo>
                <a:lnTo>
                  <a:pt x="3086052" y="4453039"/>
                </a:lnTo>
                <a:cubicBezTo>
                  <a:pt x="3035183" y="4393895"/>
                  <a:pt x="2985959" y="4334170"/>
                  <a:pt x="2938406" y="4273886"/>
                </a:cubicBezTo>
                <a:cubicBezTo>
                  <a:pt x="2615252" y="3866347"/>
                  <a:pt x="2356959" y="3411359"/>
                  <a:pt x="2172651" y="2924999"/>
                </a:cubicBezTo>
                <a:cubicBezTo>
                  <a:pt x="1842928" y="2049115"/>
                  <a:pt x="1822159" y="1250360"/>
                  <a:pt x="1806996" y="667133"/>
                </a:cubicBezTo>
                <a:cubicBezTo>
                  <a:pt x="1803094" y="517020"/>
                  <a:pt x="1799582" y="381953"/>
                  <a:pt x="1791103" y="266725"/>
                </a:cubicBezTo>
                <a:lnTo>
                  <a:pt x="133363" y="266725"/>
                </a:lnTo>
                <a:cubicBezTo>
                  <a:pt x="59708" y="266725"/>
                  <a:pt x="0" y="207017"/>
                  <a:pt x="0" y="133363"/>
                </a:cubicBezTo>
                <a:cubicBezTo>
                  <a:pt x="0" y="59708"/>
                  <a:pt x="59708" y="0"/>
                  <a:pt x="133363" y="0"/>
                </a:cubicBezTo>
                <a:close/>
              </a:path>
            </a:pathLst>
          </a:custGeom>
          <a:solidFill>
            <a:srgbClr val="005C82"/>
          </a:solidFill>
          <a:ln w="12700" cap="flat">
            <a:noFill/>
            <a:prstDash val="solid"/>
            <a:miter/>
          </a:ln>
        </p:spPr>
        <p:txBody>
          <a:bodyPr rtlCol="0" anchor="ctr"/>
          <a:lstStyle/>
          <a:p>
            <a:endParaRPr lang="en-GB"/>
          </a:p>
        </p:txBody>
      </p:sp>
      <p:sp>
        <p:nvSpPr>
          <p:cNvPr id="60" name="Freeform: Shape 59">
            <a:extLst>
              <a:ext uri="{FF2B5EF4-FFF2-40B4-BE49-F238E27FC236}">
                <a16:creationId xmlns:a16="http://schemas.microsoft.com/office/drawing/2014/main" id="{529F8AE1-20CF-44F6-BB91-769A89EAC6A4}"/>
              </a:ext>
            </a:extLst>
          </p:cNvPr>
          <p:cNvSpPr/>
          <p:nvPr userDrawn="1"/>
        </p:nvSpPr>
        <p:spPr>
          <a:xfrm>
            <a:off x="5050893" y="0"/>
            <a:ext cx="4385676" cy="2013647"/>
          </a:xfrm>
          <a:custGeom>
            <a:avLst/>
            <a:gdLst>
              <a:gd name="connsiteX0" fmla="*/ 0 w 4385676"/>
              <a:gd name="connsiteY0" fmla="*/ 0 h 2013647"/>
              <a:gd name="connsiteX1" fmla="*/ 322476 w 4385676"/>
              <a:gd name="connsiteY1" fmla="*/ 0 h 2013647"/>
              <a:gd name="connsiteX2" fmla="*/ 382850 w 4385676"/>
              <a:gd name="connsiteY2" fmla="*/ 87045 h 2013647"/>
              <a:gd name="connsiteX3" fmla="*/ 2026201 w 4385676"/>
              <a:gd name="connsiteY3" fmla="*/ 1365797 h 2013647"/>
              <a:gd name="connsiteX4" fmla="*/ 4251339 w 4385676"/>
              <a:gd name="connsiteY4" fmla="*/ 1746706 h 2013647"/>
              <a:gd name="connsiteX5" fmla="*/ 4385673 w 4385676"/>
              <a:gd name="connsiteY5" fmla="*/ 1879097 h 2013647"/>
              <a:gd name="connsiteX6" fmla="*/ 4253282 w 4385676"/>
              <a:gd name="connsiteY6" fmla="*/ 2013431 h 2013647"/>
              <a:gd name="connsiteX7" fmla="*/ 4193287 w 4385676"/>
              <a:gd name="connsiteY7" fmla="*/ 2013647 h 2013647"/>
              <a:gd name="connsiteX8" fmla="*/ 1924855 w 4385676"/>
              <a:gd name="connsiteY8" fmla="*/ 1612527 h 2013647"/>
              <a:gd name="connsiteX9" fmla="*/ 27862 w 4385676"/>
              <a:gd name="connsiteY9" fmla="*/ 45293 h 2013647"/>
              <a:gd name="connsiteX10" fmla="*/ 0 w 4385676"/>
              <a:gd name="connsiteY10" fmla="*/ 0 h 2013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385676" h="2013647">
                <a:moveTo>
                  <a:pt x="0" y="0"/>
                </a:moveTo>
                <a:lnTo>
                  <a:pt x="322476" y="0"/>
                </a:lnTo>
                <a:lnTo>
                  <a:pt x="382850" y="87045"/>
                </a:lnTo>
                <a:cubicBezTo>
                  <a:pt x="807526" y="662942"/>
                  <a:pt x="1356643" y="1090795"/>
                  <a:pt x="2026201" y="1365797"/>
                </a:cubicBezTo>
                <a:cubicBezTo>
                  <a:pt x="2656615" y="1624715"/>
                  <a:pt x="3405283" y="1752930"/>
                  <a:pt x="4251339" y="1746706"/>
                </a:cubicBezTo>
                <a:cubicBezTo>
                  <a:pt x="4324994" y="1746170"/>
                  <a:pt x="4385137" y="1805443"/>
                  <a:pt x="4385673" y="1879097"/>
                </a:cubicBezTo>
                <a:cubicBezTo>
                  <a:pt x="4386210" y="1952752"/>
                  <a:pt x="4326936" y="2012895"/>
                  <a:pt x="4253282" y="2013431"/>
                </a:cubicBezTo>
                <a:cubicBezTo>
                  <a:pt x="4233262" y="2013569"/>
                  <a:pt x="4213210" y="2013647"/>
                  <a:pt x="4193287" y="2013647"/>
                </a:cubicBezTo>
                <a:cubicBezTo>
                  <a:pt x="3336002" y="2013647"/>
                  <a:pt x="2573148" y="1878784"/>
                  <a:pt x="1924855" y="1612527"/>
                </a:cubicBezTo>
                <a:cubicBezTo>
                  <a:pt x="1131246" y="1286568"/>
                  <a:pt x="496966" y="761828"/>
                  <a:pt x="27862" y="45293"/>
                </a:cubicBezTo>
                <a:lnTo>
                  <a:pt x="0" y="0"/>
                </a:lnTo>
                <a:close/>
              </a:path>
            </a:pathLst>
          </a:custGeom>
          <a:solidFill>
            <a:srgbClr val="9EDED4"/>
          </a:solidFill>
          <a:ln w="12700" cap="flat">
            <a:noFill/>
            <a:prstDash val="solid"/>
            <a:miter/>
          </a:ln>
        </p:spPr>
        <p:txBody>
          <a:bodyPr rtlCol="0" anchor="ctr"/>
          <a:lstStyle/>
          <a:p>
            <a:endParaRPr lang="en-GB"/>
          </a:p>
        </p:txBody>
      </p:sp>
      <p:sp>
        <p:nvSpPr>
          <p:cNvPr id="27" name="Picture Placeholder 1">
            <a:extLst>
              <a:ext uri="{FF2B5EF4-FFF2-40B4-BE49-F238E27FC236}">
                <a16:creationId xmlns:a16="http://schemas.microsoft.com/office/drawing/2014/main" id="{58796B95-BF41-4F4C-A925-88BB4F6B8DDC}"/>
              </a:ext>
            </a:extLst>
          </p:cNvPr>
          <p:cNvSpPr>
            <a:spLocks noGrp="1"/>
          </p:cNvSpPr>
          <p:nvPr userDrawn="1">
            <p:ph type="pic" sz="quarter" idx="11"/>
          </p:nvPr>
        </p:nvSpPr>
        <p:spPr>
          <a:xfrm>
            <a:off x="7811228" y="719138"/>
            <a:ext cx="4376737" cy="5418137"/>
          </a:xfrm>
        </p:spPr>
        <p:txBody>
          <a:bodyPr/>
          <a:lstStyle/>
          <a:p>
            <a:r>
              <a:rPr lang="en-US"/>
              <a:t>Click icon to add picture</a:t>
            </a:r>
            <a:endParaRPr lang="en-GB" dirty="0"/>
          </a:p>
        </p:txBody>
      </p:sp>
    </p:spTree>
    <p:extLst>
      <p:ext uri="{BB962C8B-B14F-4D97-AF65-F5344CB8AC3E}">
        <p14:creationId xmlns:p14="http://schemas.microsoft.com/office/powerpoint/2010/main" val="16094200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673771491"/>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Subtitle 2">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8E843608-B7C7-4107-B438-6B64438AA4B9}"/>
              </a:ext>
            </a:extLst>
          </p:cNvPr>
          <p:cNvSpPr/>
          <p:nvPr userDrawn="1"/>
        </p:nvSpPr>
        <p:spPr>
          <a:xfrm>
            <a:off x="0" y="4830317"/>
            <a:ext cx="2965628" cy="2027809"/>
          </a:xfrm>
          <a:custGeom>
            <a:avLst/>
            <a:gdLst>
              <a:gd name="connsiteX0" fmla="*/ 2862200 w 2965628"/>
              <a:gd name="connsiteY0" fmla="*/ 990092 h 2027809"/>
              <a:gd name="connsiteX1" fmla="*/ 2427986 w 2965628"/>
              <a:gd name="connsiteY1" fmla="*/ 922655 h 2027809"/>
              <a:gd name="connsiteX2" fmla="*/ 0 w 2965628"/>
              <a:gd name="connsiteY2" fmla="*/ 0 h 2027809"/>
              <a:gd name="connsiteX3" fmla="*/ 0 w 2965628"/>
              <a:gd name="connsiteY3" fmla="*/ 336804 h 2027809"/>
              <a:gd name="connsiteX4" fmla="*/ 612775 w 2965628"/>
              <a:gd name="connsiteY4" fmla="*/ 712216 h 2027809"/>
              <a:gd name="connsiteX5" fmla="*/ 2394332 w 2965628"/>
              <a:gd name="connsiteY5" fmla="*/ 1187196 h 2027809"/>
              <a:gd name="connsiteX6" fmla="*/ 2687321 w 2965628"/>
              <a:gd name="connsiteY6" fmla="*/ 1227709 h 2027809"/>
              <a:gd name="connsiteX7" fmla="*/ 2606802 w 2965628"/>
              <a:gd name="connsiteY7" fmla="*/ 2027810 h 2027809"/>
              <a:gd name="connsiteX8" fmla="*/ 2874900 w 2965628"/>
              <a:gd name="connsiteY8" fmla="*/ 2027810 h 2027809"/>
              <a:gd name="connsiteX9" fmla="*/ 2964943 w 2965628"/>
              <a:gd name="connsiteY9" fmla="*/ 1133475 h 2027809"/>
              <a:gd name="connsiteX10" fmla="*/ 2862200 w 2965628"/>
              <a:gd name="connsiteY10" fmla="*/ 990092 h 2027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65628" h="2027809">
                <a:moveTo>
                  <a:pt x="2862200" y="990092"/>
                </a:moveTo>
                <a:cubicBezTo>
                  <a:pt x="2742820" y="962533"/>
                  <a:pt x="2596896" y="943991"/>
                  <a:pt x="2427986" y="922655"/>
                </a:cubicBezTo>
                <a:cubicBezTo>
                  <a:pt x="1797939" y="842645"/>
                  <a:pt x="875411" y="725424"/>
                  <a:pt x="0" y="0"/>
                </a:cubicBezTo>
                <a:lnTo>
                  <a:pt x="0" y="336804"/>
                </a:lnTo>
                <a:cubicBezTo>
                  <a:pt x="192630" y="480000"/>
                  <a:pt x="397710" y="605640"/>
                  <a:pt x="612775" y="712216"/>
                </a:cubicBezTo>
                <a:cubicBezTo>
                  <a:pt x="1289558" y="1046988"/>
                  <a:pt x="1928114" y="1128014"/>
                  <a:pt x="2394332" y="1187196"/>
                </a:cubicBezTo>
                <a:cubicBezTo>
                  <a:pt x="2503171" y="1201039"/>
                  <a:pt x="2601977" y="1213485"/>
                  <a:pt x="2687321" y="1227709"/>
                </a:cubicBezTo>
                <a:lnTo>
                  <a:pt x="2606802" y="2027810"/>
                </a:lnTo>
                <a:lnTo>
                  <a:pt x="2874900" y="2027810"/>
                </a:lnTo>
                <a:lnTo>
                  <a:pt x="2964943" y="1133475"/>
                </a:lnTo>
                <a:cubicBezTo>
                  <a:pt x="2971713" y="1066621"/>
                  <a:pt x="2927682" y="1005173"/>
                  <a:pt x="2862200" y="990092"/>
                </a:cubicBezTo>
                <a:close/>
              </a:path>
            </a:pathLst>
          </a:custGeom>
          <a:solidFill>
            <a:srgbClr val="85ABE3"/>
          </a:solidFill>
          <a:ln w="12700" cap="flat">
            <a:noFill/>
            <a:prstDash val="solid"/>
            <a:miter/>
          </a:ln>
        </p:spPr>
        <p:txBody>
          <a:bodyPr rtlCol="0" anchor="ctr"/>
          <a:lstStyle/>
          <a:p>
            <a:endParaRPr lang="en-GB"/>
          </a:p>
        </p:txBody>
      </p:sp>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p:txBody>
          <a:bodyPr/>
          <a:lstStyle/>
          <a:p>
            <a:r>
              <a:rPr lang="en-US"/>
              <a:t>Click to edit Master title style</a:t>
            </a:r>
            <a:endParaRPr lang="en-GB" dirty="0"/>
          </a:p>
        </p:txBody>
      </p:sp>
      <p:sp>
        <p:nvSpPr>
          <p:cNvPr id="12" name="Freeform: Shape 11">
            <a:extLst>
              <a:ext uri="{FF2B5EF4-FFF2-40B4-BE49-F238E27FC236}">
                <a16:creationId xmlns:a16="http://schemas.microsoft.com/office/drawing/2014/main" id="{36075CDD-4EB1-4BFB-AA85-64FE04774B5F}"/>
              </a:ext>
            </a:extLst>
          </p:cNvPr>
          <p:cNvSpPr/>
          <p:nvPr/>
        </p:nvSpPr>
        <p:spPr>
          <a:xfrm>
            <a:off x="0" y="-1"/>
            <a:ext cx="12193145" cy="6858001"/>
          </a:xfrm>
          <a:custGeom>
            <a:avLst/>
            <a:gdLst>
              <a:gd name="connsiteX0" fmla="*/ 0 w 12193145"/>
              <a:gd name="connsiteY0" fmla="*/ 0 h 6858001"/>
              <a:gd name="connsiteX1" fmla="*/ 12193145 w 12193145"/>
              <a:gd name="connsiteY1" fmla="*/ 0 h 6858001"/>
              <a:gd name="connsiteX2" fmla="*/ 12193145 w 12193145"/>
              <a:gd name="connsiteY2" fmla="*/ 6858001 h 6858001"/>
              <a:gd name="connsiteX3" fmla="*/ 0 w 12193145"/>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12193145" h="6858001">
                <a:moveTo>
                  <a:pt x="0" y="0"/>
                </a:moveTo>
                <a:lnTo>
                  <a:pt x="12193145" y="0"/>
                </a:lnTo>
                <a:lnTo>
                  <a:pt x="12193145" y="6858001"/>
                </a:lnTo>
                <a:lnTo>
                  <a:pt x="0" y="6858001"/>
                </a:lnTo>
                <a:close/>
              </a:path>
            </a:pathLst>
          </a:custGeom>
          <a:no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771872845"/>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Subtitle 3">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1266739"/>
            <a:ext cx="80184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a:xfrm>
            <a:off x="719138" y="666745"/>
            <a:ext cx="8018462" cy="720000"/>
          </a:xfrm>
        </p:spPr>
        <p:txBody>
          <a:bodyPr/>
          <a:lstStyle/>
          <a:p>
            <a:r>
              <a:rPr lang="en-US"/>
              <a:t>Click to edit Master title style</a:t>
            </a:r>
            <a:endParaRPr lang="en-GB" dirty="0"/>
          </a:p>
        </p:txBody>
      </p:sp>
      <p:sp>
        <p:nvSpPr>
          <p:cNvPr id="13" name="Freeform: Shape 12">
            <a:extLst>
              <a:ext uri="{FF2B5EF4-FFF2-40B4-BE49-F238E27FC236}">
                <a16:creationId xmlns:a16="http://schemas.microsoft.com/office/drawing/2014/main" id="{DE495F12-C76F-40C5-B5B5-64A9DE3DCDFF}"/>
              </a:ext>
            </a:extLst>
          </p:cNvPr>
          <p:cNvSpPr/>
          <p:nvPr/>
        </p:nvSpPr>
        <p:spPr>
          <a:xfrm>
            <a:off x="0" y="0"/>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9657328E-6812-414B-A3B7-E38242C70EA3}"/>
              </a:ext>
            </a:extLst>
          </p:cNvPr>
          <p:cNvSpPr/>
          <p:nvPr/>
        </p:nvSpPr>
        <p:spPr>
          <a:xfrm>
            <a:off x="3745977" y="0"/>
            <a:ext cx="6428373" cy="5597475"/>
          </a:xfrm>
          <a:custGeom>
            <a:avLst/>
            <a:gdLst>
              <a:gd name="connsiteX0" fmla="*/ 2795284 w 6428373"/>
              <a:gd name="connsiteY0" fmla="*/ 4502023 h 5597475"/>
              <a:gd name="connsiteX1" fmla="*/ 128919 w 6428373"/>
              <a:gd name="connsiteY1" fmla="*/ 5330698 h 5597475"/>
              <a:gd name="connsiteX2" fmla="*/ 78 w 6428373"/>
              <a:gd name="connsiteY2" fmla="*/ 5468557 h 5597475"/>
              <a:gd name="connsiteX3" fmla="*/ 137936 w 6428373"/>
              <a:gd name="connsiteY3" fmla="*/ 5597398 h 5597475"/>
              <a:gd name="connsiteX4" fmla="*/ 147207 w 6428373"/>
              <a:gd name="connsiteY4" fmla="*/ 5597398 h 5597475"/>
              <a:gd name="connsiteX5" fmla="*/ 2928507 w 6428373"/>
              <a:gd name="connsiteY5" fmla="*/ 4733798 h 5597475"/>
              <a:gd name="connsiteX6" fmla="*/ 5107066 w 6428373"/>
              <a:gd name="connsiteY6" fmla="*/ 2848991 h 5597475"/>
              <a:gd name="connsiteX7" fmla="*/ 6188597 w 6428373"/>
              <a:gd name="connsiteY7" fmla="*/ 840232 h 5597475"/>
              <a:gd name="connsiteX8" fmla="*/ 6428374 w 6428373"/>
              <a:gd name="connsiteY8" fmla="*/ 0 h 5597475"/>
              <a:gd name="connsiteX9" fmla="*/ 6154307 w 6428373"/>
              <a:gd name="connsiteY9" fmla="*/ 0 h 5597475"/>
              <a:gd name="connsiteX10" fmla="*/ 5936756 w 6428373"/>
              <a:gd name="connsiteY10" fmla="*/ 752348 h 5597475"/>
              <a:gd name="connsiteX11" fmla="*/ 2795284 w 6428373"/>
              <a:gd name="connsiteY11" fmla="*/ 4502023 h 559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28373" h="5597475">
                <a:moveTo>
                  <a:pt x="2795284" y="4502023"/>
                </a:moveTo>
                <a:cubicBezTo>
                  <a:pt x="1951750" y="4988052"/>
                  <a:pt x="1054622" y="5266944"/>
                  <a:pt x="128919" y="5330698"/>
                </a:cubicBezTo>
                <a:cubicBezTo>
                  <a:pt x="55272" y="5333188"/>
                  <a:pt x="-2412" y="5394909"/>
                  <a:pt x="78" y="5468557"/>
                </a:cubicBezTo>
                <a:cubicBezTo>
                  <a:pt x="2568" y="5542204"/>
                  <a:pt x="64289" y="5599888"/>
                  <a:pt x="137936" y="5597398"/>
                </a:cubicBezTo>
                <a:cubicBezTo>
                  <a:pt x="140984" y="5597398"/>
                  <a:pt x="144032" y="5597398"/>
                  <a:pt x="147207" y="5597398"/>
                </a:cubicBezTo>
                <a:cubicBezTo>
                  <a:pt x="1113677" y="5530850"/>
                  <a:pt x="2049540" y="5240274"/>
                  <a:pt x="2928507" y="4733798"/>
                </a:cubicBezTo>
                <a:cubicBezTo>
                  <a:pt x="3796553" y="4233545"/>
                  <a:pt x="4529596" y="3599434"/>
                  <a:pt x="5107066" y="2848991"/>
                </a:cubicBezTo>
                <a:cubicBezTo>
                  <a:pt x="5572820" y="2241642"/>
                  <a:pt x="5937983" y="1563415"/>
                  <a:pt x="6188597" y="840232"/>
                </a:cubicBezTo>
                <a:cubicBezTo>
                  <a:pt x="6284668" y="565016"/>
                  <a:pt x="6364727" y="284469"/>
                  <a:pt x="6428374" y="0"/>
                </a:cubicBezTo>
                <a:lnTo>
                  <a:pt x="6154307" y="0"/>
                </a:lnTo>
                <a:cubicBezTo>
                  <a:pt x="6095493" y="254544"/>
                  <a:pt x="6022869" y="505698"/>
                  <a:pt x="5936756" y="752348"/>
                </a:cubicBezTo>
                <a:cubicBezTo>
                  <a:pt x="5550422" y="1859915"/>
                  <a:pt x="4691267" y="3409442"/>
                  <a:pt x="2795284" y="4502023"/>
                </a:cubicBezTo>
                <a:close/>
              </a:path>
            </a:pathLst>
          </a:custGeom>
          <a:solidFill>
            <a:srgbClr val="005C82"/>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2A558014-1610-414C-BB1A-A38E64AE4FA5}"/>
              </a:ext>
            </a:extLst>
          </p:cNvPr>
          <p:cNvSpPr/>
          <p:nvPr/>
        </p:nvSpPr>
        <p:spPr>
          <a:xfrm>
            <a:off x="0" y="4447921"/>
            <a:ext cx="3996047" cy="1168934"/>
          </a:xfrm>
          <a:custGeom>
            <a:avLst/>
            <a:gdLst>
              <a:gd name="connsiteX0" fmla="*/ 3868674 w 3996047"/>
              <a:gd name="connsiteY0" fmla="*/ 1155192 h 1168934"/>
              <a:gd name="connsiteX1" fmla="*/ 3995911 w 3996047"/>
              <a:gd name="connsiteY1" fmla="*/ 1015997 h 1168934"/>
              <a:gd name="connsiteX2" fmla="*/ 3856717 w 3996047"/>
              <a:gd name="connsiteY2" fmla="*/ 888760 h 1168934"/>
              <a:gd name="connsiteX3" fmla="*/ 3851148 w 3996047"/>
              <a:gd name="connsiteY3" fmla="*/ 889127 h 1168934"/>
              <a:gd name="connsiteX4" fmla="*/ 8255 w 3996047"/>
              <a:gd name="connsiteY4" fmla="*/ 4318 h 1168934"/>
              <a:gd name="connsiteX5" fmla="*/ 0 w 3996047"/>
              <a:gd name="connsiteY5" fmla="*/ 0 h 1168934"/>
              <a:gd name="connsiteX6" fmla="*/ 0 w 3996047"/>
              <a:gd name="connsiteY6" fmla="*/ 299212 h 1168934"/>
              <a:gd name="connsiteX7" fmla="*/ 1660144 w 3996047"/>
              <a:gd name="connsiteY7" fmla="*/ 931037 h 1168934"/>
              <a:gd name="connsiteX8" fmla="*/ 3868674 w 3996047"/>
              <a:gd name="connsiteY8" fmla="*/ 1155192 h 11689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96047" h="1168934">
                <a:moveTo>
                  <a:pt x="3868674" y="1155192"/>
                </a:moveTo>
                <a:cubicBezTo>
                  <a:pt x="3942247" y="1151890"/>
                  <a:pt x="3999213" y="1089570"/>
                  <a:pt x="3995911" y="1015997"/>
                </a:cubicBezTo>
                <a:cubicBezTo>
                  <a:pt x="3992610" y="942424"/>
                  <a:pt x="3930290" y="885458"/>
                  <a:pt x="3856717" y="888760"/>
                </a:cubicBezTo>
                <a:cubicBezTo>
                  <a:pt x="3854858" y="888843"/>
                  <a:pt x="3853001" y="888966"/>
                  <a:pt x="3851148" y="889127"/>
                </a:cubicBezTo>
                <a:cubicBezTo>
                  <a:pt x="2289048" y="991997"/>
                  <a:pt x="899414" y="464820"/>
                  <a:pt x="8255" y="4318"/>
                </a:cubicBezTo>
                <a:lnTo>
                  <a:pt x="0" y="0"/>
                </a:lnTo>
                <a:lnTo>
                  <a:pt x="0" y="299212"/>
                </a:lnTo>
                <a:cubicBezTo>
                  <a:pt x="530207" y="566292"/>
                  <a:pt x="1086527" y="778019"/>
                  <a:pt x="1660144" y="931037"/>
                </a:cubicBezTo>
                <a:cubicBezTo>
                  <a:pt x="2406904" y="1127379"/>
                  <a:pt x="3149600" y="1202563"/>
                  <a:pt x="3868674" y="1155192"/>
                </a:cubicBezTo>
                <a:close/>
              </a:path>
            </a:pathLst>
          </a:custGeom>
          <a:solidFill>
            <a:schemeClr val="accent3"/>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4288792572"/>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Subtitle 4">
    <p:bg>
      <p:bgPr>
        <a:solidFill>
          <a:schemeClr val="accent2"/>
        </a:solidFill>
        <a:effectLst/>
      </p:bgPr>
    </p:bg>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8E843608-B7C7-4107-B438-6B64438AA4B9}"/>
              </a:ext>
            </a:extLst>
          </p:cNvPr>
          <p:cNvSpPr/>
          <p:nvPr userDrawn="1"/>
        </p:nvSpPr>
        <p:spPr>
          <a:xfrm>
            <a:off x="0" y="4830317"/>
            <a:ext cx="2965628" cy="2027809"/>
          </a:xfrm>
          <a:custGeom>
            <a:avLst/>
            <a:gdLst>
              <a:gd name="connsiteX0" fmla="*/ 2862200 w 2965628"/>
              <a:gd name="connsiteY0" fmla="*/ 990092 h 2027809"/>
              <a:gd name="connsiteX1" fmla="*/ 2427986 w 2965628"/>
              <a:gd name="connsiteY1" fmla="*/ 922655 h 2027809"/>
              <a:gd name="connsiteX2" fmla="*/ 0 w 2965628"/>
              <a:gd name="connsiteY2" fmla="*/ 0 h 2027809"/>
              <a:gd name="connsiteX3" fmla="*/ 0 w 2965628"/>
              <a:gd name="connsiteY3" fmla="*/ 336804 h 2027809"/>
              <a:gd name="connsiteX4" fmla="*/ 612775 w 2965628"/>
              <a:gd name="connsiteY4" fmla="*/ 712216 h 2027809"/>
              <a:gd name="connsiteX5" fmla="*/ 2394332 w 2965628"/>
              <a:gd name="connsiteY5" fmla="*/ 1187196 h 2027809"/>
              <a:gd name="connsiteX6" fmla="*/ 2687321 w 2965628"/>
              <a:gd name="connsiteY6" fmla="*/ 1227709 h 2027809"/>
              <a:gd name="connsiteX7" fmla="*/ 2606802 w 2965628"/>
              <a:gd name="connsiteY7" fmla="*/ 2027810 h 2027809"/>
              <a:gd name="connsiteX8" fmla="*/ 2874900 w 2965628"/>
              <a:gd name="connsiteY8" fmla="*/ 2027810 h 2027809"/>
              <a:gd name="connsiteX9" fmla="*/ 2964943 w 2965628"/>
              <a:gd name="connsiteY9" fmla="*/ 1133475 h 2027809"/>
              <a:gd name="connsiteX10" fmla="*/ 2862200 w 2965628"/>
              <a:gd name="connsiteY10" fmla="*/ 990092 h 2027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65628" h="2027809">
                <a:moveTo>
                  <a:pt x="2862200" y="990092"/>
                </a:moveTo>
                <a:cubicBezTo>
                  <a:pt x="2742820" y="962533"/>
                  <a:pt x="2596896" y="943991"/>
                  <a:pt x="2427986" y="922655"/>
                </a:cubicBezTo>
                <a:cubicBezTo>
                  <a:pt x="1797939" y="842645"/>
                  <a:pt x="875411" y="725424"/>
                  <a:pt x="0" y="0"/>
                </a:cubicBezTo>
                <a:lnTo>
                  <a:pt x="0" y="336804"/>
                </a:lnTo>
                <a:cubicBezTo>
                  <a:pt x="192630" y="480000"/>
                  <a:pt x="397710" y="605640"/>
                  <a:pt x="612775" y="712216"/>
                </a:cubicBezTo>
                <a:cubicBezTo>
                  <a:pt x="1289558" y="1046988"/>
                  <a:pt x="1928114" y="1128014"/>
                  <a:pt x="2394332" y="1187196"/>
                </a:cubicBezTo>
                <a:cubicBezTo>
                  <a:pt x="2503171" y="1201039"/>
                  <a:pt x="2601977" y="1213485"/>
                  <a:pt x="2687321" y="1227709"/>
                </a:cubicBezTo>
                <a:lnTo>
                  <a:pt x="2606802" y="2027810"/>
                </a:lnTo>
                <a:lnTo>
                  <a:pt x="2874900" y="2027810"/>
                </a:lnTo>
                <a:lnTo>
                  <a:pt x="2964943" y="1133475"/>
                </a:lnTo>
                <a:cubicBezTo>
                  <a:pt x="2971713" y="1066621"/>
                  <a:pt x="2927682" y="1005173"/>
                  <a:pt x="2862200" y="990092"/>
                </a:cubicBezTo>
                <a:close/>
              </a:path>
            </a:pathLst>
          </a:custGeom>
          <a:solidFill>
            <a:srgbClr val="85ABE3"/>
          </a:solidFill>
          <a:ln w="12700" cap="flat">
            <a:noFill/>
            <a:prstDash val="solid"/>
            <a:miter/>
          </a:ln>
        </p:spPr>
        <p:txBody>
          <a:bodyPr rtlCol="0" anchor="ctr"/>
          <a:lstStyle/>
          <a:p>
            <a:endParaRPr lang="en-GB"/>
          </a:p>
        </p:txBody>
      </p:sp>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2140498"/>
            <a:ext cx="4375151" cy="3274782"/>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p:txBody>
          <a:bodyPr/>
          <a:lstStyle/>
          <a:p>
            <a:r>
              <a:rPr lang="en-US"/>
              <a:t>Click to edit Master title style</a:t>
            </a:r>
            <a:endParaRPr lang="en-GB" dirty="0"/>
          </a:p>
        </p:txBody>
      </p:sp>
      <p:sp>
        <p:nvSpPr>
          <p:cNvPr id="12" name="Freeform: Shape 11">
            <a:extLst>
              <a:ext uri="{FF2B5EF4-FFF2-40B4-BE49-F238E27FC236}">
                <a16:creationId xmlns:a16="http://schemas.microsoft.com/office/drawing/2014/main" id="{36075CDD-4EB1-4BFB-AA85-64FE04774B5F}"/>
              </a:ext>
            </a:extLst>
          </p:cNvPr>
          <p:cNvSpPr/>
          <p:nvPr/>
        </p:nvSpPr>
        <p:spPr>
          <a:xfrm>
            <a:off x="0" y="-1"/>
            <a:ext cx="12193145" cy="6858001"/>
          </a:xfrm>
          <a:custGeom>
            <a:avLst/>
            <a:gdLst>
              <a:gd name="connsiteX0" fmla="*/ 0 w 12193145"/>
              <a:gd name="connsiteY0" fmla="*/ 0 h 6858001"/>
              <a:gd name="connsiteX1" fmla="*/ 12193145 w 12193145"/>
              <a:gd name="connsiteY1" fmla="*/ 0 h 6858001"/>
              <a:gd name="connsiteX2" fmla="*/ 12193145 w 12193145"/>
              <a:gd name="connsiteY2" fmla="*/ 6858001 h 6858001"/>
              <a:gd name="connsiteX3" fmla="*/ 0 w 12193145"/>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12193145" h="6858001">
                <a:moveTo>
                  <a:pt x="0" y="0"/>
                </a:moveTo>
                <a:lnTo>
                  <a:pt x="12193145" y="0"/>
                </a:lnTo>
                <a:lnTo>
                  <a:pt x="12193145" y="6858001"/>
                </a:lnTo>
                <a:lnTo>
                  <a:pt x="0" y="6858001"/>
                </a:lnTo>
                <a:close/>
              </a:path>
            </a:pathLst>
          </a:custGeom>
          <a:no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1407860235"/>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Subtitle 5">
    <p:bg>
      <p:bgPr>
        <a:solidFill>
          <a:schemeClr val="accent3"/>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1145309727"/>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Subtitle 6">
    <p:bg>
      <p:bgPr>
        <a:solidFill>
          <a:schemeClr val="accent6"/>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498749428"/>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Subtitle 7">
    <p:bg>
      <p:bgPr>
        <a:solidFill>
          <a:schemeClr val="accent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5" name="Subtitle 1">
            <a:extLst>
              <a:ext uri="{FF2B5EF4-FFF2-40B4-BE49-F238E27FC236}">
                <a16:creationId xmlns:a16="http://schemas.microsoft.com/office/drawing/2014/main" id="{AC759B61-B364-4688-9466-729706D76E30}"/>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204112443"/>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Subtitle 8">
    <p:bg>
      <p:bgPr>
        <a:solidFill>
          <a:schemeClr val="accent5"/>
        </a:solidFill>
        <a:effectLst/>
      </p:bgPr>
    </p:bg>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10752136"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7" cy="720000"/>
          </a:xfrm>
        </p:spPr>
        <p:txBody>
          <a:bodyPr/>
          <a:lstStyle/>
          <a:p>
            <a:pPr lvl="0"/>
            <a:r>
              <a:rPr lang="en-US"/>
              <a:t>Click to edit Master title style</a:t>
            </a:r>
            <a:endParaRPr lang="en-GB" dirty="0"/>
          </a:p>
        </p:txBody>
      </p:sp>
      <p:grpSp>
        <p:nvGrpSpPr>
          <p:cNvPr id="11" name="Group 10">
            <a:extLst>
              <a:ext uri="{FF2B5EF4-FFF2-40B4-BE49-F238E27FC236}">
                <a16:creationId xmlns:a16="http://schemas.microsoft.com/office/drawing/2014/main" id="{D202DB31-16C5-4FA3-852C-A940D8BE4910}"/>
              </a:ext>
            </a:extLst>
          </p:cNvPr>
          <p:cNvGrpSpPr/>
          <p:nvPr userDrawn="1"/>
        </p:nvGrpSpPr>
        <p:grpSpPr>
          <a:xfrm>
            <a:off x="10733882" y="0"/>
            <a:ext cx="1458118" cy="4629473"/>
            <a:chOff x="10733882" y="0"/>
            <a:chExt cx="1458118" cy="4629473"/>
          </a:xfrm>
        </p:grpSpPr>
        <p:sp>
          <p:nvSpPr>
            <p:cNvPr id="12" name="Freeform: Shape 11">
              <a:extLst>
                <a:ext uri="{FF2B5EF4-FFF2-40B4-BE49-F238E27FC236}">
                  <a16:creationId xmlns:a16="http://schemas.microsoft.com/office/drawing/2014/main" id="{7D4071B5-1F44-4E9B-9556-AA2FFAE39D46}"/>
                </a:ext>
              </a:extLst>
            </p:cNvPr>
            <p:cNvSpPr/>
            <p:nvPr userDrawn="1"/>
          </p:nvSpPr>
          <p:spPr>
            <a:xfrm>
              <a:off x="10866992" y="1042890"/>
              <a:ext cx="1325008" cy="3586583"/>
            </a:xfrm>
            <a:custGeom>
              <a:avLst/>
              <a:gdLst>
                <a:gd name="connsiteX0" fmla="*/ 627454 w 1325008"/>
                <a:gd name="connsiteY0" fmla="*/ 1300 h 3586583"/>
                <a:gd name="connsiteX1" fmla="*/ 737712 w 1325008"/>
                <a:gd name="connsiteY1" fmla="*/ 99045 h 3586583"/>
                <a:gd name="connsiteX2" fmla="*/ 664860 w 1325008"/>
                <a:gd name="connsiteY2" fmla="*/ 2403940 h 3586583"/>
                <a:gd name="connsiteX3" fmla="*/ 369797 w 1325008"/>
                <a:gd name="connsiteY3" fmla="*/ 3185866 h 3586583"/>
                <a:gd name="connsiteX4" fmla="*/ 1175959 w 1325008"/>
                <a:gd name="connsiteY4" fmla="*/ 3250406 h 3586583"/>
                <a:gd name="connsiteX5" fmla="*/ 1325008 w 1325008"/>
                <a:gd name="connsiteY5" fmla="*/ 3302370 h 3586583"/>
                <a:gd name="connsiteX6" fmla="*/ 1325008 w 1325008"/>
                <a:gd name="connsiteY6" fmla="*/ 3586583 h 3586583"/>
                <a:gd name="connsiteX7" fmla="*/ 1263323 w 1325008"/>
                <a:gd name="connsiteY7" fmla="*/ 3557369 h 3586583"/>
                <a:gd name="connsiteX8" fmla="*/ 158137 w 1325008"/>
                <a:gd name="connsiteY8" fmla="*/ 3484993 h 3586583"/>
                <a:gd name="connsiteX9" fmla="*/ 2327 w 1325008"/>
                <a:gd name="connsiteY9" fmla="*/ 3378795 h 3586583"/>
                <a:gd name="connsiteX10" fmla="*/ 18415 w 1325008"/>
                <a:gd name="connsiteY10" fmla="*/ 3286375 h 3586583"/>
                <a:gd name="connsiteX11" fmla="*/ 410966 w 1325008"/>
                <a:gd name="connsiteY11" fmla="*/ 2322009 h 3586583"/>
                <a:gd name="connsiteX12" fmla="*/ 480007 w 1325008"/>
                <a:gd name="connsiteY12" fmla="*/ 167610 h 3586583"/>
                <a:gd name="connsiteX13" fmla="*/ 574625 w 1325008"/>
                <a:gd name="connsiteY13" fmla="*/ 4504 h 3586583"/>
                <a:gd name="connsiteX14" fmla="*/ 627454 w 1325008"/>
                <a:gd name="connsiteY14" fmla="*/ 1300 h 3586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5008" h="3586583">
                  <a:moveTo>
                    <a:pt x="627454" y="1300"/>
                  </a:moveTo>
                  <a:cubicBezTo>
                    <a:pt x="678885" y="8561"/>
                    <a:pt x="723503" y="45701"/>
                    <a:pt x="737712" y="99045"/>
                  </a:cubicBezTo>
                  <a:cubicBezTo>
                    <a:pt x="973943" y="986883"/>
                    <a:pt x="828481" y="1842499"/>
                    <a:pt x="664860" y="2403940"/>
                  </a:cubicBezTo>
                  <a:cubicBezTo>
                    <a:pt x="587018" y="2671867"/>
                    <a:pt x="488363" y="2933304"/>
                    <a:pt x="369797" y="3185866"/>
                  </a:cubicBezTo>
                  <a:cubicBezTo>
                    <a:pt x="654772" y="3159247"/>
                    <a:pt x="924439" y="3180842"/>
                    <a:pt x="1175959" y="3250406"/>
                  </a:cubicBezTo>
                  <a:lnTo>
                    <a:pt x="1325008" y="3302370"/>
                  </a:lnTo>
                  <a:lnTo>
                    <a:pt x="1325008" y="3586583"/>
                  </a:lnTo>
                  <a:lnTo>
                    <a:pt x="1263323" y="3557369"/>
                  </a:lnTo>
                  <a:cubicBezTo>
                    <a:pt x="940822" y="3434875"/>
                    <a:pt x="565063" y="3407951"/>
                    <a:pt x="158137" y="3484993"/>
                  </a:cubicBezTo>
                  <a:cubicBezTo>
                    <a:pt x="85781" y="3498695"/>
                    <a:pt x="16028" y="3451151"/>
                    <a:pt x="2327" y="3378795"/>
                  </a:cubicBezTo>
                  <a:cubicBezTo>
                    <a:pt x="-3680" y="3347049"/>
                    <a:pt x="2035" y="3314210"/>
                    <a:pt x="18415" y="3286375"/>
                  </a:cubicBezTo>
                  <a:cubicBezTo>
                    <a:pt x="20599" y="3282641"/>
                    <a:pt x="243878" y="2898561"/>
                    <a:pt x="410966" y="2322009"/>
                  </a:cubicBezTo>
                  <a:cubicBezTo>
                    <a:pt x="563717" y="1794917"/>
                    <a:pt x="699693" y="993296"/>
                    <a:pt x="480007" y="167610"/>
                  </a:cubicBezTo>
                  <a:cubicBezTo>
                    <a:pt x="461100" y="96441"/>
                    <a:pt x="503462" y="23416"/>
                    <a:pt x="574625" y="4504"/>
                  </a:cubicBezTo>
                  <a:cubicBezTo>
                    <a:pt x="592409" y="-221"/>
                    <a:pt x="610310" y="-1121"/>
                    <a:pt x="627454" y="1300"/>
                  </a:cubicBezTo>
                  <a:close/>
                </a:path>
              </a:pathLst>
            </a:custGeom>
            <a:solidFill>
              <a:srgbClr val="005C82"/>
            </a:solidFill>
            <a:ln w="12690" cap="flat">
              <a:noFill/>
              <a:prstDash val="solid"/>
              <a:miter/>
            </a:ln>
          </p:spPr>
          <p:txBody>
            <a:bodyPr rtlCol="0" anchor="ctr"/>
            <a:lstStyle/>
            <a:p>
              <a:endParaRPr lang="en-GB" dirty="0"/>
            </a:p>
          </p:txBody>
        </p:sp>
        <p:sp>
          <p:nvSpPr>
            <p:cNvPr id="13" name="Freeform: Shape 12">
              <a:extLst>
                <a:ext uri="{FF2B5EF4-FFF2-40B4-BE49-F238E27FC236}">
                  <a16:creationId xmlns:a16="http://schemas.microsoft.com/office/drawing/2014/main" id="{80D39D0D-F812-465D-A10D-687AA8034212}"/>
                </a:ext>
              </a:extLst>
            </p:cNvPr>
            <p:cNvSpPr/>
            <p:nvPr/>
          </p:nvSpPr>
          <p:spPr>
            <a:xfrm>
              <a:off x="10733882" y="0"/>
              <a:ext cx="869267" cy="1297131"/>
            </a:xfrm>
            <a:custGeom>
              <a:avLst/>
              <a:gdLst>
                <a:gd name="connsiteX0" fmla="*/ 0 w 869267"/>
                <a:gd name="connsiteY0" fmla="*/ 0 h 1297131"/>
                <a:gd name="connsiteX1" fmla="*/ 332244 w 869267"/>
                <a:gd name="connsiteY1" fmla="*/ 0 h 1297131"/>
                <a:gd name="connsiteX2" fmla="*/ 344096 w 869267"/>
                <a:gd name="connsiteY2" fmla="*/ 16058 h 1297131"/>
                <a:gd name="connsiteX3" fmla="*/ 864676 w 869267"/>
                <a:gd name="connsiteY3" fmla="*/ 1129109 h 1297131"/>
                <a:gd name="connsiteX4" fmla="*/ 770377 w 869267"/>
                <a:gd name="connsiteY4" fmla="*/ 1292572 h 1297131"/>
                <a:gd name="connsiteX5" fmla="*/ 735849 w 869267"/>
                <a:gd name="connsiteY5" fmla="*/ 1297131 h 1297131"/>
                <a:gd name="connsiteX6" fmla="*/ 607175 w 869267"/>
                <a:gd name="connsiteY6" fmla="*/ 1198418 h 1297131"/>
                <a:gd name="connsiteX7" fmla="*/ 8319 w 869267"/>
                <a:gd name="connsiteY7" fmla="*/ 10072 h 1297131"/>
                <a:gd name="connsiteX8" fmla="*/ 0 w 869267"/>
                <a:gd name="connsiteY8" fmla="*/ 0 h 1297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9267" h="1297131">
                  <a:moveTo>
                    <a:pt x="0" y="0"/>
                  </a:moveTo>
                  <a:lnTo>
                    <a:pt x="332244" y="0"/>
                  </a:lnTo>
                  <a:lnTo>
                    <a:pt x="344096" y="16058"/>
                  </a:lnTo>
                  <a:cubicBezTo>
                    <a:pt x="583437" y="359835"/>
                    <a:pt x="757989" y="732751"/>
                    <a:pt x="864676" y="1129109"/>
                  </a:cubicBezTo>
                  <a:cubicBezTo>
                    <a:pt x="883775" y="1200290"/>
                    <a:pt x="841552" y="1273474"/>
                    <a:pt x="770377" y="1292572"/>
                  </a:cubicBezTo>
                  <a:cubicBezTo>
                    <a:pt x="759113" y="1295595"/>
                    <a:pt x="747506" y="1297131"/>
                    <a:pt x="735849" y="1297131"/>
                  </a:cubicBezTo>
                  <a:cubicBezTo>
                    <a:pt x="675582" y="1297068"/>
                    <a:pt x="622845" y="1256611"/>
                    <a:pt x="607175" y="1198418"/>
                  </a:cubicBezTo>
                  <a:cubicBezTo>
                    <a:pt x="492008" y="770543"/>
                    <a:pt x="290874" y="371626"/>
                    <a:pt x="8319" y="10072"/>
                  </a:cubicBezTo>
                  <a:lnTo>
                    <a:pt x="0" y="0"/>
                  </a:lnTo>
                  <a:close/>
                </a:path>
              </a:pathLst>
            </a:custGeom>
            <a:solidFill>
              <a:schemeClr val="bg1"/>
            </a:solidFill>
            <a:ln w="12690" cap="flat">
              <a:noFill/>
              <a:prstDash val="solid"/>
              <a:miter/>
            </a:ln>
          </p:spPr>
          <p:txBody>
            <a:bodyPr rtlCol="0" anchor="ctr"/>
            <a:lstStyle/>
            <a:p>
              <a:endParaRPr lang="en-GB"/>
            </a:p>
          </p:txBody>
        </p:sp>
      </p:grpSp>
    </p:spTree>
    <p:extLst>
      <p:ext uri="{BB962C8B-B14F-4D97-AF65-F5344CB8AC3E}">
        <p14:creationId xmlns:p14="http://schemas.microsoft.com/office/powerpoint/2010/main" val="1383074963"/>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Subtitle 9">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623F42A6-7097-4D1F-8F48-FDAEECAAEB72}"/>
              </a:ext>
            </a:extLst>
          </p:cNvPr>
          <p:cNvGrpSpPr/>
          <p:nvPr userDrawn="1"/>
        </p:nvGrpSpPr>
        <p:grpSpPr>
          <a:xfrm>
            <a:off x="8944357" y="1706544"/>
            <a:ext cx="3247771" cy="5151963"/>
            <a:chOff x="8944357" y="1706544"/>
            <a:chExt cx="3247771" cy="5151963"/>
          </a:xfrm>
        </p:grpSpPr>
        <p:sp>
          <p:nvSpPr>
            <p:cNvPr id="15" name="Freeform: Shape 14">
              <a:extLst>
                <a:ext uri="{FF2B5EF4-FFF2-40B4-BE49-F238E27FC236}">
                  <a16:creationId xmlns:a16="http://schemas.microsoft.com/office/drawing/2014/main" id="{321533E8-4C38-475F-B611-B8828AB98470}"/>
                </a:ext>
              </a:extLst>
            </p:cNvPr>
            <p:cNvSpPr/>
            <p:nvPr/>
          </p:nvSpPr>
          <p:spPr>
            <a:xfrm>
              <a:off x="10661843" y="1723135"/>
              <a:ext cx="1530285" cy="499378"/>
            </a:xfrm>
            <a:custGeom>
              <a:avLst/>
              <a:gdLst>
                <a:gd name="connsiteX0" fmla="*/ 156018 w 1530285"/>
                <a:gd name="connsiteY0" fmla="*/ 197739 h 499378"/>
                <a:gd name="connsiteX1" fmla="*/ 1904 w 1530285"/>
                <a:gd name="connsiteY1" fmla="*/ 307150 h 499378"/>
                <a:gd name="connsiteX2" fmla="*/ 111314 w 1530285"/>
                <a:gd name="connsiteY2" fmla="*/ 461264 h 499378"/>
                <a:gd name="connsiteX3" fmla="*/ 561657 w 1530285"/>
                <a:gd name="connsiteY3" fmla="*/ 499364 h 499378"/>
                <a:gd name="connsiteX4" fmla="*/ 1443799 w 1530285"/>
                <a:gd name="connsiteY4" fmla="*/ 331343 h 499378"/>
                <a:gd name="connsiteX5" fmla="*/ 1530286 w 1530285"/>
                <a:gd name="connsiteY5" fmla="*/ 294259 h 499378"/>
                <a:gd name="connsiteX6" fmla="*/ 1530286 w 1530285"/>
                <a:gd name="connsiteY6" fmla="*/ 0 h 499378"/>
                <a:gd name="connsiteX7" fmla="*/ 156018 w 1530285"/>
                <a:gd name="connsiteY7" fmla="*/ 197739 h 499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30285" h="499378">
                  <a:moveTo>
                    <a:pt x="156018" y="197739"/>
                  </a:moveTo>
                  <a:cubicBezTo>
                    <a:pt x="83248" y="185395"/>
                    <a:pt x="14249" y="234379"/>
                    <a:pt x="1904" y="307150"/>
                  </a:cubicBezTo>
                  <a:cubicBezTo>
                    <a:pt x="-10441" y="379920"/>
                    <a:pt x="38544" y="448920"/>
                    <a:pt x="111314" y="461264"/>
                  </a:cubicBezTo>
                  <a:cubicBezTo>
                    <a:pt x="260093" y="486584"/>
                    <a:pt x="410739" y="499329"/>
                    <a:pt x="561657" y="499364"/>
                  </a:cubicBezTo>
                  <a:cubicBezTo>
                    <a:pt x="863755" y="500417"/>
                    <a:pt x="1163239" y="443375"/>
                    <a:pt x="1443799" y="331343"/>
                  </a:cubicBezTo>
                  <a:cubicBezTo>
                    <a:pt x="1472882" y="319659"/>
                    <a:pt x="1501711" y="307213"/>
                    <a:pt x="1530286" y="294259"/>
                  </a:cubicBezTo>
                  <a:lnTo>
                    <a:pt x="1530286" y="0"/>
                  </a:lnTo>
                  <a:cubicBezTo>
                    <a:pt x="1126426" y="210693"/>
                    <a:pt x="653859" y="282194"/>
                    <a:pt x="156018" y="197739"/>
                  </a:cubicBezTo>
                  <a:close/>
                </a:path>
              </a:pathLst>
            </a:custGeom>
            <a:solidFill>
              <a:srgbClr val="9EDED4"/>
            </a:solidFill>
            <a:ln w="12700"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002651D8-68D2-4C77-A852-FB29D7F2CA05}"/>
                </a:ext>
              </a:extLst>
            </p:cNvPr>
            <p:cNvSpPr/>
            <p:nvPr/>
          </p:nvSpPr>
          <p:spPr>
            <a:xfrm>
              <a:off x="8944357" y="1706544"/>
              <a:ext cx="1984567" cy="5151963"/>
            </a:xfrm>
            <a:custGeom>
              <a:avLst/>
              <a:gdLst>
                <a:gd name="connsiteX0" fmla="*/ 1510919 w 1984567"/>
                <a:gd name="connsiteY0" fmla="*/ 2170384 h 5151963"/>
                <a:gd name="connsiteX1" fmla="*/ 1344041 w 1984567"/>
                <a:gd name="connsiteY1" fmla="*/ 352379 h 5151963"/>
                <a:gd name="connsiteX2" fmla="*/ 1828800 w 1984567"/>
                <a:gd name="connsiteY2" fmla="*/ 477855 h 5151963"/>
                <a:gd name="connsiteX3" fmla="*/ 1982660 w 1984567"/>
                <a:gd name="connsiteY3" fmla="*/ 368699 h 5151963"/>
                <a:gd name="connsiteX4" fmla="*/ 1873504 w 1984567"/>
                <a:gd name="connsiteY4" fmla="*/ 214838 h 5151963"/>
                <a:gd name="connsiteX5" fmla="*/ 1199642 w 1984567"/>
                <a:gd name="connsiteY5" fmla="*/ 11003 h 5151963"/>
                <a:gd name="connsiteX6" fmla="*/ 1024297 w 1984567"/>
                <a:gd name="connsiteY6" fmla="*/ 80421 h 5151963"/>
                <a:gd name="connsiteX7" fmla="*/ 1019810 w 1984567"/>
                <a:gd name="connsiteY7" fmla="*/ 174452 h 5151963"/>
                <a:gd name="connsiteX8" fmla="*/ 1244600 w 1984567"/>
                <a:gd name="connsiteY8" fmla="*/ 2157812 h 5151963"/>
                <a:gd name="connsiteX9" fmla="*/ 0 w 1984567"/>
                <a:gd name="connsiteY9" fmla="*/ 5151964 h 5151963"/>
                <a:gd name="connsiteX10" fmla="*/ 363474 w 1984567"/>
                <a:gd name="connsiteY10" fmla="*/ 5151964 h 5151963"/>
                <a:gd name="connsiteX11" fmla="*/ 1079500 w 1984567"/>
                <a:gd name="connsiteY11" fmla="*/ 4042619 h 5151963"/>
                <a:gd name="connsiteX12" fmla="*/ 1510919 w 1984567"/>
                <a:gd name="connsiteY12" fmla="*/ 2170384 h 5151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84567" h="5151963">
                  <a:moveTo>
                    <a:pt x="1510919" y="2170384"/>
                  </a:moveTo>
                  <a:cubicBezTo>
                    <a:pt x="1539305" y="1559589"/>
                    <a:pt x="1483148" y="947800"/>
                    <a:pt x="1344041" y="352379"/>
                  </a:cubicBezTo>
                  <a:cubicBezTo>
                    <a:pt x="1501954" y="407291"/>
                    <a:pt x="1664076" y="449255"/>
                    <a:pt x="1828800" y="477855"/>
                  </a:cubicBezTo>
                  <a:cubicBezTo>
                    <a:pt x="1901430" y="490200"/>
                    <a:pt x="1970316" y="441329"/>
                    <a:pt x="1982660" y="368699"/>
                  </a:cubicBezTo>
                  <a:cubicBezTo>
                    <a:pt x="1995005" y="296069"/>
                    <a:pt x="1946134" y="227183"/>
                    <a:pt x="1873504" y="214838"/>
                  </a:cubicBezTo>
                  <a:cubicBezTo>
                    <a:pt x="1641537" y="174100"/>
                    <a:pt x="1415298" y="105666"/>
                    <a:pt x="1199642" y="11003"/>
                  </a:cubicBezTo>
                  <a:cubicBezTo>
                    <a:pt x="1132053" y="-18248"/>
                    <a:pt x="1053548" y="12831"/>
                    <a:pt x="1024297" y="80421"/>
                  </a:cubicBezTo>
                  <a:cubicBezTo>
                    <a:pt x="1011420" y="110176"/>
                    <a:pt x="1009825" y="143605"/>
                    <a:pt x="1019810" y="174452"/>
                  </a:cubicBezTo>
                  <a:cubicBezTo>
                    <a:pt x="1022604" y="183088"/>
                    <a:pt x="1299210" y="1052911"/>
                    <a:pt x="1244600" y="2157812"/>
                  </a:cubicBezTo>
                  <a:cubicBezTo>
                    <a:pt x="1184783" y="3375869"/>
                    <a:pt x="766699" y="4380312"/>
                    <a:pt x="0" y="5151964"/>
                  </a:cubicBezTo>
                  <a:lnTo>
                    <a:pt x="363474" y="5151964"/>
                  </a:lnTo>
                  <a:cubicBezTo>
                    <a:pt x="656641" y="4820341"/>
                    <a:pt x="898039" y="4446342"/>
                    <a:pt x="1079500" y="4042619"/>
                  </a:cubicBezTo>
                  <a:cubicBezTo>
                    <a:pt x="1332357" y="3479882"/>
                    <a:pt x="1477645" y="2850216"/>
                    <a:pt x="1510919" y="2170384"/>
                  </a:cubicBezTo>
                  <a:close/>
                </a:path>
              </a:pathLst>
            </a:custGeom>
            <a:solidFill>
              <a:srgbClr val="85ABE3"/>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892968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p:txBody>
          <a:bodyPr/>
          <a:lstStyle/>
          <a:p>
            <a:pPr lvl="0"/>
            <a:r>
              <a:rPr lang="en-US"/>
              <a:t>Click to edit Master title style</a:t>
            </a:r>
            <a:endParaRPr lang="en-GB" dirty="0"/>
          </a:p>
        </p:txBody>
      </p:sp>
    </p:spTree>
    <p:extLst>
      <p:ext uri="{BB962C8B-B14F-4D97-AF65-F5344CB8AC3E}">
        <p14:creationId xmlns:p14="http://schemas.microsoft.com/office/powerpoint/2010/main" val="3097331950"/>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ne Content Right">
    <p:bg>
      <p:bgPr>
        <a:solidFill>
          <a:schemeClr val="accent2"/>
        </a:solidFill>
        <a:effectLst/>
      </p:bgPr>
    </p:bg>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6184899" y="2143471"/>
            <a:ext cx="5286376" cy="40064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75213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8" cy="720000"/>
          </a:xfrm>
        </p:spPr>
        <p:txBody>
          <a:bodyPr/>
          <a:lstStyle/>
          <a:p>
            <a:pPr lvl="0"/>
            <a:r>
              <a:rPr lang="en-US"/>
              <a:t>Click to edit Master title style</a:t>
            </a:r>
            <a:endParaRPr lang="en-GB" dirty="0"/>
          </a:p>
        </p:txBody>
      </p:sp>
      <p:grpSp>
        <p:nvGrpSpPr>
          <p:cNvPr id="2" name="Group 1">
            <a:extLst>
              <a:ext uri="{FF2B5EF4-FFF2-40B4-BE49-F238E27FC236}">
                <a16:creationId xmlns:a16="http://schemas.microsoft.com/office/drawing/2014/main" id="{DD23392F-1141-48BF-934D-1B5AF5F59FAA}"/>
              </a:ext>
            </a:extLst>
          </p:cNvPr>
          <p:cNvGrpSpPr/>
          <p:nvPr userDrawn="1"/>
        </p:nvGrpSpPr>
        <p:grpSpPr>
          <a:xfrm>
            <a:off x="-1782691" y="240179"/>
            <a:ext cx="5985088" cy="6857999"/>
            <a:chOff x="-1782691" y="240179"/>
            <a:chExt cx="5985088" cy="6857999"/>
          </a:xfrm>
        </p:grpSpPr>
        <p:sp>
          <p:nvSpPr>
            <p:cNvPr id="11" name="Freeform: Shape 10">
              <a:extLst>
                <a:ext uri="{FF2B5EF4-FFF2-40B4-BE49-F238E27FC236}">
                  <a16:creationId xmlns:a16="http://schemas.microsoft.com/office/drawing/2014/main" id="{8BC97F1A-7072-4DD4-9C7D-20E5A7F3B667}"/>
                </a:ext>
              </a:extLst>
            </p:cNvPr>
            <p:cNvSpPr/>
            <p:nvPr/>
          </p:nvSpPr>
          <p:spPr>
            <a:xfrm flipH="1">
              <a:off x="-1782691" y="240179"/>
              <a:ext cx="2349849" cy="1903292"/>
            </a:xfrm>
            <a:custGeom>
              <a:avLst/>
              <a:gdLst>
                <a:gd name="connsiteX0" fmla="*/ 18734 w 2366201"/>
                <a:gd name="connsiteY0" fmla="*/ 1701800 h 1903292"/>
                <a:gd name="connsiteX1" fmla="*/ 65249 w 2366201"/>
                <a:gd name="connsiteY1" fmla="*/ 1884559 h 1903292"/>
                <a:gd name="connsiteX2" fmla="*/ 248008 w 2366201"/>
                <a:gd name="connsiteY2" fmla="*/ 1838044 h 1903292"/>
                <a:gd name="connsiteX3" fmla="*/ 250381 w 2366201"/>
                <a:gd name="connsiteY3" fmla="*/ 1833880 h 1903292"/>
                <a:gd name="connsiteX4" fmla="*/ 1527621 w 2366201"/>
                <a:gd name="connsiteY4" fmla="*/ 465074 h 1903292"/>
                <a:gd name="connsiteX5" fmla="*/ 2366202 w 2366201"/>
                <a:gd name="connsiteY5" fmla="*/ 0 h 1903292"/>
                <a:gd name="connsiteX6" fmla="*/ 1770190 w 2366201"/>
                <a:gd name="connsiteY6" fmla="*/ 0 h 1903292"/>
                <a:gd name="connsiteX7" fmla="*/ 1377252 w 2366201"/>
                <a:gd name="connsiteY7" fmla="*/ 244348 h 1903292"/>
                <a:gd name="connsiteX8" fmla="*/ 18734 w 2366201"/>
                <a:gd name="connsiteY8" fmla="*/ 1701800 h 1903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6201" h="1903292">
                  <a:moveTo>
                    <a:pt x="18734" y="1701800"/>
                  </a:moveTo>
                  <a:cubicBezTo>
                    <a:pt x="-18889" y="1765112"/>
                    <a:pt x="1937" y="1846936"/>
                    <a:pt x="65249" y="1884559"/>
                  </a:cubicBezTo>
                  <a:cubicBezTo>
                    <a:pt x="128562" y="1922181"/>
                    <a:pt x="210385" y="1901356"/>
                    <a:pt x="248008" y="1838044"/>
                  </a:cubicBezTo>
                  <a:cubicBezTo>
                    <a:pt x="248824" y="1836670"/>
                    <a:pt x="249616" y="1835282"/>
                    <a:pt x="250381" y="1833880"/>
                  </a:cubicBezTo>
                  <a:cubicBezTo>
                    <a:pt x="558484" y="1293622"/>
                    <a:pt x="988124" y="832993"/>
                    <a:pt x="1527621" y="465074"/>
                  </a:cubicBezTo>
                  <a:cubicBezTo>
                    <a:pt x="1791749" y="283777"/>
                    <a:pt x="2072543" y="128049"/>
                    <a:pt x="2366202" y="0"/>
                  </a:cubicBezTo>
                  <a:lnTo>
                    <a:pt x="1770190" y="0"/>
                  </a:lnTo>
                  <a:cubicBezTo>
                    <a:pt x="1637263" y="75099"/>
                    <a:pt x="1506285" y="156549"/>
                    <a:pt x="1377252" y="244348"/>
                  </a:cubicBezTo>
                  <a:cubicBezTo>
                    <a:pt x="804101" y="635000"/>
                    <a:pt x="347028" y="1125474"/>
                    <a:pt x="18734" y="1701800"/>
                  </a:cubicBezTo>
                  <a:close/>
                </a:path>
              </a:pathLst>
            </a:custGeom>
            <a:solidFill>
              <a:schemeClr val="accent6"/>
            </a:solidFill>
            <a:ln w="12700" cap="flat">
              <a:noFill/>
              <a:prstDash val="solid"/>
              <a:miter/>
            </a:ln>
          </p:spPr>
          <p:txBody>
            <a:bodyPr rtlCol="0" anchor="ctr"/>
            <a:lstStyle/>
            <a:p>
              <a:endParaRPr lang="en-GB" dirty="0"/>
            </a:p>
          </p:txBody>
        </p:sp>
        <p:sp>
          <p:nvSpPr>
            <p:cNvPr id="12" name="Freeform: Shape 11">
              <a:extLst>
                <a:ext uri="{FF2B5EF4-FFF2-40B4-BE49-F238E27FC236}">
                  <a16:creationId xmlns:a16="http://schemas.microsoft.com/office/drawing/2014/main" id="{0C842388-7877-49D2-B401-D6C1377BF4FF}"/>
                </a:ext>
              </a:extLst>
            </p:cNvPr>
            <p:cNvSpPr/>
            <p:nvPr/>
          </p:nvSpPr>
          <p:spPr>
            <a:xfrm flipH="1">
              <a:off x="327475" y="1888637"/>
              <a:ext cx="3874922" cy="5209541"/>
            </a:xfrm>
            <a:custGeom>
              <a:avLst/>
              <a:gdLst>
                <a:gd name="connsiteX0" fmla="*/ 797179 w 3901887"/>
                <a:gd name="connsiteY0" fmla="*/ 4469132 h 5209541"/>
                <a:gd name="connsiteX1" fmla="*/ 3281807 w 3901887"/>
                <a:gd name="connsiteY1" fmla="*/ 4198876 h 5209541"/>
                <a:gd name="connsiteX2" fmla="*/ 3459460 w 3901887"/>
                <a:gd name="connsiteY2" fmla="*/ 4135066 h 5209541"/>
                <a:gd name="connsiteX3" fmla="*/ 3467226 w 3901887"/>
                <a:gd name="connsiteY3" fmla="*/ 4042031 h 5209541"/>
                <a:gd name="connsiteX4" fmla="*/ 3299841 w 3901887"/>
                <a:gd name="connsiteY4" fmla="*/ 2777619 h 5209541"/>
                <a:gd name="connsiteX5" fmla="*/ 3885437 w 3901887"/>
                <a:gd name="connsiteY5" fmla="*/ 197487 h 5209541"/>
                <a:gd name="connsiteX6" fmla="*/ 3832628 w 3901887"/>
                <a:gd name="connsiteY6" fmla="*/ 16447 h 5209541"/>
                <a:gd name="connsiteX7" fmla="*/ 3653409 w 3901887"/>
                <a:gd name="connsiteY7" fmla="*/ 66042 h 5209541"/>
                <a:gd name="connsiteX8" fmla="*/ 3033395 w 3901887"/>
                <a:gd name="connsiteY8" fmla="*/ 2792859 h 5209541"/>
                <a:gd name="connsiteX9" fmla="*/ 3150235 w 3901887"/>
                <a:gd name="connsiteY9" fmla="*/ 3852801 h 5209541"/>
                <a:gd name="connsiteX10" fmla="*/ 1829435 w 3901887"/>
                <a:gd name="connsiteY10" fmla="*/ 3689479 h 5209541"/>
                <a:gd name="connsiteX11" fmla="*/ 615950 w 3901887"/>
                <a:gd name="connsiteY11" fmla="*/ 4273679 h 5209541"/>
                <a:gd name="connsiteX12" fmla="*/ 0 w 3901887"/>
                <a:gd name="connsiteY12" fmla="*/ 5209542 h 5209541"/>
                <a:gd name="connsiteX13" fmla="*/ 286258 w 3901887"/>
                <a:gd name="connsiteY13" fmla="*/ 5209542 h 5209541"/>
                <a:gd name="connsiteX14" fmla="*/ 797179 w 3901887"/>
                <a:gd name="connsiteY14" fmla="*/ 4469132 h 5209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01887" h="5209541">
                  <a:moveTo>
                    <a:pt x="797179" y="4469132"/>
                  </a:moveTo>
                  <a:cubicBezTo>
                    <a:pt x="1451863" y="3859532"/>
                    <a:pt x="2357500" y="3761107"/>
                    <a:pt x="3281807" y="4198876"/>
                  </a:cubicBezTo>
                  <a:cubicBezTo>
                    <a:pt x="3348485" y="4230313"/>
                    <a:pt x="3428023" y="4201744"/>
                    <a:pt x="3459460" y="4135066"/>
                  </a:cubicBezTo>
                  <a:cubicBezTo>
                    <a:pt x="3473163" y="4106000"/>
                    <a:pt x="3475921" y="4072967"/>
                    <a:pt x="3467226" y="4042031"/>
                  </a:cubicBezTo>
                  <a:cubicBezTo>
                    <a:pt x="3465703" y="4036824"/>
                    <a:pt x="3319780" y="3512695"/>
                    <a:pt x="3299841" y="2777619"/>
                  </a:cubicBezTo>
                  <a:cubicBezTo>
                    <a:pt x="3281553" y="2104519"/>
                    <a:pt x="3368421" y="1110490"/>
                    <a:pt x="3885437" y="197487"/>
                  </a:cubicBezTo>
                  <a:cubicBezTo>
                    <a:pt x="3920848" y="132911"/>
                    <a:pt x="3897204" y="51856"/>
                    <a:pt x="3832628" y="16447"/>
                  </a:cubicBezTo>
                  <a:cubicBezTo>
                    <a:pt x="3769313" y="-18272"/>
                    <a:pt x="3689867" y="3713"/>
                    <a:pt x="3653409" y="66042"/>
                  </a:cubicBezTo>
                  <a:cubicBezTo>
                    <a:pt x="3104642" y="1035052"/>
                    <a:pt x="3013329" y="2083691"/>
                    <a:pt x="3033395" y="2792859"/>
                  </a:cubicBezTo>
                  <a:cubicBezTo>
                    <a:pt x="3043054" y="3148790"/>
                    <a:pt x="3082134" y="3503312"/>
                    <a:pt x="3150235" y="3852801"/>
                  </a:cubicBezTo>
                  <a:cubicBezTo>
                    <a:pt x="2700655" y="3681224"/>
                    <a:pt x="2257298" y="3626360"/>
                    <a:pt x="1829435" y="3689479"/>
                  </a:cubicBezTo>
                  <a:cubicBezTo>
                    <a:pt x="1374903" y="3756149"/>
                    <a:pt x="951548" y="3959962"/>
                    <a:pt x="615950" y="4273679"/>
                  </a:cubicBezTo>
                  <a:cubicBezTo>
                    <a:pt x="338451" y="4531638"/>
                    <a:pt x="127176" y="4852646"/>
                    <a:pt x="0" y="5209542"/>
                  </a:cubicBezTo>
                  <a:lnTo>
                    <a:pt x="286258" y="5209542"/>
                  </a:lnTo>
                  <a:cubicBezTo>
                    <a:pt x="400867" y="4928613"/>
                    <a:pt x="575203" y="4675972"/>
                    <a:pt x="797179" y="4469132"/>
                  </a:cubicBezTo>
                  <a:close/>
                </a:path>
              </a:pathLst>
            </a:custGeom>
            <a:solidFill>
              <a:srgbClr val="FFFFFF"/>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3703961953"/>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2130804"/>
            <a:ext cx="10752137" cy="40064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75213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7"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2804290501"/>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73FF853F-1700-4061-8D05-4C80124D5391}"/>
              </a:ext>
            </a:extLst>
          </p:cNvPr>
          <p:cNvSpPr/>
          <p:nvPr/>
        </p:nvSpPr>
        <p:spPr>
          <a:xfrm>
            <a:off x="0" y="-1"/>
            <a:ext cx="12192000" cy="6857357"/>
          </a:xfrm>
          <a:custGeom>
            <a:avLst/>
            <a:gdLst>
              <a:gd name="connsiteX0" fmla="*/ 0 w 1280120"/>
              <a:gd name="connsiteY0" fmla="*/ 0 h 720000"/>
              <a:gd name="connsiteX1" fmla="*/ 1280120 w 1280120"/>
              <a:gd name="connsiteY1" fmla="*/ 0 h 720000"/>
              <a:gd name="connsiteX2" fmla="*/ 1280120 w 1280120"/>
              <a:gd name="connsiteY2" fmla="*/ 720000 h 720000"/>
              <a:gd name="connsiteX3" fmla="*/ 0 w 1280120"/>
              <a:gd name="connsiteY3" fmla="*/ 720000 h 720000"/>
            </a:gdLst>
            <a:ahLst/>
            <a:cxnLst>
              <a:cxn ang="0">
                <a:pos x="connsiteX0" y="connsiteY0"/>
              </a:cxn>
              <a:cxn ang="0">
                <a:pos x="connsiteX1" y="connsiteY1"/>
              </a:cxn>
              <a:cxn ang="0">
                <a:pos x="connsiteX2" y="connsiteY2"/>
              </a:cxn>
              <a:cxn ang="0">
                <a:pos x="connsiteX3" y="connsiteY3"/>
              </a:cxn>
            </a:cxnLst>
            <a:rect l="l" t="t" r="r" b="b"/>
            <a:pathLst>
              <a:path w="1280120" h="720000">
                <a:moveTo>
                  <a:pt x="0" y="0"/>
                </a:moveTo>
                <a:lnTo>
                  <a:pt x="1280120" y="0"/>
                </a:lnTo>
                <a:lnTo>
                  <a:pt x="1280120" y="720000"/>
                </a:lnTo>
                <a:lnTo>
                  <a:pt x="0" y="720000"/>
                </a:lnTo>
                <a:close/>
              </a:path>
            </a:pathLst>
          </a:custGeom>
          <a:noFill/>
          <a:ln w="1330" cap="flat">
            <a:noFill/>
            <a:prstDash val="solid"/>
            <a:miter/>
          </a:ln>
        </p:spPr>
        <p:txBody>
          <a:bodyPr rtlCol="0" anchor="ctr"/>
          <a:lstStyle/>
          <a:p>
            <a:endParaRPr lang="en-GB" dirty="0"/>
          </a:p>
        </p:txBody>
      </p:sp>
      <p:sp>
        <p:nvSpPr>
          <p:cNvPr id="4" name="Date Placeholder 1">
            <a:extLst>
              <a:ext uri="{FF2B5EF4-FFF2-40B4-BE49-F238E27FC236}">
                <a16:creationId xmlns:a16="http://schemas.microsoft.com/office/drawing/2014/main" id="{E6B42DA3-9CCD-4D6E-87E7-1EA69180B150}"/>
              </a:ext>
            </a:extLst>
          </p:cNvPr>
          <p:cNvSpPr>
            <a:spLocks noGrp="1"/>
          </p:cNvSpPr>
          <p:nvPr userDrawn="1">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userDrawn="1">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userDrawn="1">
            <p:ph idx="1"/>
          </p:nvPr>
        </p:nvSpPr>
        <p:spPr>
          <a:xfrm>
            <a:off x="719137" y="2128838"/>
            <a:ext cx="10752137"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userDrawn="1">
            <p:ph type="subTitle" idx="12"/>
          </p:nvPr>
        </p:nvSpPr>
        <p:spPr>
          <a:xfrm>
            <a:off x="719137" y="1266739"/>
            <a:ext cx="10020301"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userDrawn="1">
            <p:ph type="title"/>
          </p:nvPr>
        </p:nvSpPr>
        <p:spPr>
          <a:xfrm>
            <a:off x="719137" y="666745"/>
            <a:ext cx="9110663" cy="720000"/>
          </a:xfrm>
        </p:spPr>
        <p:txBody>
          <a:bodyPr/>
          <a:lstStyle/>
          <a:p>
            <a:pPr lvl="0"/>
            <a:r>
              <a:rPr lang="en-US"/>
              <a:t>Click to edit Master title style</a:t>
            </a:r>
            <a:endParaRPr lang="en-GB" dirty="0"/>
          </a:p>
        </p:txBody>
      </p:sp>
      <p:sp>
        <p:nvSpPr>
          <p:cNvPr id="21" name="Freeform: Shape 20">
            <a:extLst>
              <a:ext uri="{FF2B5EF4-FFF2-40B4-BE49-F238E27FC236}">
                <a16:creationId xmlns:a16="http://schemas.microsoft.com/office/drawing/2014/main" id="{7EF30BA1-DAC8-4EBD-95C0-F7481F97E296}"/>
              </a:ext>
            </a:extLst>
          </p:cNvPr>
          <p:cNvSpPr/>
          <p:nvPr userDrawn="1"/>
        </p:nvSpPr>
        <p:spPr>
          <a:xfrm>
            <a:off x="8828904" y="0"/>
            <a:ext cx="3363096" cy="3729110"/>
          </a:xfrm>
          <a:custGeom>
            <a:avLst/>
            <a:gdLst>
              <a:gd name="connsiteX0" fmla="*/ 0 w 3363096"/>
              <a:gd name="connsiteY0" fmla="*/ 0 h 3729110"/>
              <a:gd name="connsiteX1" fmla="*/ 728074 w 3363096"/>
              <a:gd name="connsiteY1" fmla="*/ 0 h 3729110"/>
              <a:gd name="connsiteX2" fmla="*/ 968906 w 3363096"/>
              <a:gd name="connsiteY2" fmla="*/ 116498 h 3729110"/>
              <a:gd name="connsiteX3" fmla="*/ 3096120 w 3363096"/>
              <a:gd name="connsiteY3" fmla="*/ 2231288 h 3729110"/>
              <a:gd name="connsiteX4" fmla="*/ 3240633 w 3363096"/>
              <a:gd name="connsiteY4" fmla="*/ 2529001 h 3729110"/>
              <a:gd name="connsiteX5" fmla="*/ 3363096 w 3363096"/>
              <a:gd name="connsiteY5" fmla="*/ 2824201 h 3729110"/>
              <a:gd name="connsiteX6" fmla="*/ 3363096 w 3363096"/>
              <a:gd name="connsiteY6" fmla="*/ 3729110 h 3729110"/>
              <a:gd name="connsiteX7" fmla="*/ 3328737 w 3363096"/>
              <a:gd name="connsiteY7" fmla="*/ 3584522 h 3729110"/>
              <a:gd name="connsiteX8" fmla="*/ 2859849 w 3363096"/>
              <a:gd name="connsiteY8" fmla="*/ 2354986 h 3729110"/>
              <a:gd name="connsiteX9" fmla="*/ 277127 w 3363096"/>
              <a:gd name="connsiteY9" fmla="*/ 98569 h 3729110"/>
              <a:gd name="connsiteX10" fmla="*/ 0 w 3363096"/>
              <a:gd name="connsiteY10" fmla="*/ 0 h 3729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63096" h="3729110">
                <a:moveTo>
                  <a:pt x="0" y="0"/>
                </a:moveTo>
                <a:lnTo>
                  <a:pt x="728074" y="0"/>
                </a:lnTo>
                <a:lnTo>
                  <a:pt x="968906" y="116498"/>
                </a:lnTo>
                <a:cubicBezTo>
                  <a:pt x="1900050" y="599885"/>
                  <a:pt x="2612194" y="1306901"/>
                  <a:pt x="3096120" y="2231288"/>
                </a:cubicBezTo>
                <a:cubicBezTo>
                  <a:pt x="3146748" y="2327997"/>
                  <a:pt x="3194924" y="2427252"/>
                  <a:pt x="3240633" y="2529001"/>
                </a:cubicBezTo>
                <a:lnTo>
                  <a:pt x="3363096" y="2824201"/>
                </a:lnTo>
                <a:lnTo>
                  <a:pt x="3363096" y="3729110"/>
                </a:lnTo>
                <a:lnTo>
                  <a:pt x="3328737" y="3584522"/>
                </a:lnTo>
                <a:cubicBezTo>
                  <a:pt x="3210521" y="3136652"/>
                  <a:pt x="3053949" y="2725763"/>
                  <a:pt x="2859849" y="2354986"/>
                </a:cubicBezTo>
                <a:cubicBezTo>
                  <a:pt x="2309303" y="1303371"/>
                  <a:pt x="1443340" y="547810"/>
                  <a:pt x="277127" y="98569"/>
                </a:cubicBezTo>
                <a:lnTo>
                  <a:pt x="0" y="0"/>
                </a:lnTo>
                <a:close/>
              </a:path>
            </a:pathLst>
          </a:custGeom>
          <a:solidFill>
            <a:srgbClr val="005C82"/>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B4938F81-27E5-4205-B28F-059205C194F7}"/>
              </a:ext>
            </a:extLst>
          </p:cNvPr>
          <p:cNvSpPr/>
          <p:nvPr userDrawn="1"/>
        </p:nvSpPr>
        <p:spPr>
          <a:xfrm>
            <a:off x="1" y="-1"/>
            <a:ext cx="12193208" cy="6858001"/>
          </a:xfrm>
          <a:custGeom>
            <a:avLst/>
            <a:gdLst>
              <a:gd name="connsiteX0" fmla="*/ 0 w 12193208"/>
              <a:gd name="connsiteY0" fmla="*/ 0 h 6858001"/>
              <a:gd name="connsiteX1" fmla="*/ 12193208 w 12193208"/>
              <a:gd name="connsiteY1" fmla="*/ 0 h 6858001"/>
              <a:gd name="connsiteX2" fmla="*/ 12193208 w 12193208"/>
              <a:gd name="connsiteY2" fmla="*/ 6858001 h 6858001"/>
              <a:gd name="connsiteX3" fmla="*/ 0 w 12193208"/>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12193208" h="6858001">
                <a:moveTo>
                  <a:pt x="0" y="0"/>
                </a:moveTo>
                <a:lnTo>
                  <a:pt x="12193208" y="0"/>
                </a:lnTo>
                <a:lnTo>
                  <a:pt x="12193208" y="6858001"/>
                </a:lnTo>
                <a:lnTo>
                  <a:pt x="0" y="6858001"/>
                </a:lnTo>
                <a:close/>
              </a:path>
            </a:pathLst>
          </a:custGeom>
          <a:no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2233760496"/>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2128838"/>
            <a:ext cx="9840913"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84091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840913" cy="720000"/>
          </a:xfrm>
        </p:spPr>
        <p:txBody>
          <a:bodyPr/>
          <a:lstStyle/>
          <a:p>
            <a:pPr lvl="0"/>
            <a:r>
              <a:rPr lang="en-US"/>
              <a:t>Click to edit Master title style</a:t>
            </a:r>
            <a:endParaRPr lang="en-GB" dirty="0"/>
          </a:p>
        </p:txBody>
      </p:sp>
      <p:sp>
        <p:nvSpPr>
          <p:cNvPr id="10" name="Freeform: Shape 9">
            <a:extLst>
              <a:ext uri="{FF2B5EF4-FFF2-40B4-BE49-F238E27FC236}">
                <a16:creationId xmlns:a16="http://schemas.microsoft.com/office/drawing/2014/main" id="{78EBFD0D-ABB4-451E-A8CE-2293BB2B30DE}"/>
              </a:ext>
            </a:extLst>
          </p:cNvPr>
          <p:cNvSpPr/>
          <p:nvPr/>
        </p:nvSpPr>
        <p:spPr>
          <a:xfrm>
            <a:off x="1392" y="-1"/>
            <a:ext cx="12191814" cy="6857217"/>
          </a:xfrm>
          <a:custGeom>
            <a:avLst/>
            <a:gdLst>
              <a:gd name="connsiteX0" fmla="*/ 0 w 12191814"/>
              <a:gd name="connsiteY0" fmla="*/ 0 h 6857217"/>
              <a:gd name="connsiteX1" fmla="*/ 12191814 w 12191814"/>
              <a:gd name="connsiteY1" fmla="*/ 0 h 6857217"/>
              <a:gd name="connsiteX2" fmla="*/ 12191814 w 12191814"/>
              <a:gd name="connsiteY2" fmla="*/ 6857217 h 6857217"/>
              <a:gd name="connsiteX3" fmla="*/ 0 w 12191814"/>
              <a:gd name="connsiteY3" fmla="*/ 6857217 h 6857217"/>
            </a:gdLst>
            <a:ahLst/>
            <a:cxnLst>
              <a:cxn ang="0">
                <a:pos x="connsiteX0" y="connsiteY0"/>
              </a:cxn>
              <a:cxn ang="0">
                <a:pos x="connsiteX1" y="connsiteY1"/>
              </a:cxn>
              <a:cxn ang="0">
                <a:pos x="connsiteX2" y="connsiteY2"/>
              </a:cxn>
              <a:cxn ang="0">
                <a:pos x="connsiteX3" y="connsiteY3"/>
              </a:cxn>
            </a:cxnLst>
            <a:rect l="l" t="t" r="r" b="b"/>
            <a:pathLst>
              <a:path w="12191814" h="6857217">
                <a:moveTo>
                  <a:pt x="0" y="0"/>
                </a:moveTo>
                <a:lnTo>
                  <a:pt x="12191814" y="0"/>
                </a:lnTo>
                <a:lnTo>
                  <a:pt x="12191814" y="6857217"/>
                </a:lnTo>
                <a:lnTo>
                  <a:pt x="0" y="6857217"/>
                </a:lnTo>
                <a:close/>
              </a:path>
            </a:pathLst>
          </a:custGeom>
          <a:noFill/>
          <a:ln w="12690" cap="flat">
            <a:noFill/>
            <a:prstDash val="solid"/>
            <a:miter/>
          </a:ln>
        </p:spPr>
        <p:txBody>
          <a:bodyPr rtlCol="0" anchor="ctr"/>
          <a:lstStyle/>
          <a:p>
            <a:endParaRPr lang="en-GB"/>
          </a:p>
        </p:txBody>
      </p:sp>
      <p:grpSp>
        <p:nvGrpSpPr>
          <p:cNvPr id="24" name="Group 23">
            <a:extLst>
              <a:ext uri="{FF2B5EF4-FFF2-40B4-BE49-F238E27FC236}">
                <a16:creationId xmlns:a16="http://schemas.microsoft.com/office/drawing/2014/main" id="{1F6D1870-CBAC-40FE-93C3-CEC6F8B5FC5C}"/>
              </a:ext>
            </a:extLst>
          </p:cNvPr>
          <p:cNvGrpSpPr/>
          <p:nvPr userDrawn="1"/>
        </p:nvGrpSpPr>
        <p:grpSpPr>
          <a:xfrm>
            <a:off x="10733882" y="0"/>
            <a:ext cx="1458118" cy="4629473"/>
            <a:chOff x="10733882" y="0"/>
            <a:chExt cx="1458118" cy="4629473"/>
          </a:xfrm>
        </p:grpSpPr>
        <p:sp>
          <p:nvSpPr>
            <p:cNvPr id="23" name="Freeform: Shape 22">
              <a:extLst>
                <a:ext uri="{FF2B5EF4-FFF2-40B4-BE49-F238E27FC236}">
                  <a16:creationId xmlns:a16="http://schemas.microsoft.com/office/drawing/2014/main" id="{7FA73F1C-0C77-460E-8713-00D68890376A}"/>
                </a:ext>
              </a:extLst>
            </p:cNvPr>
            <p:cNvSpPr/>
            <p:nvPr userDrawn="1"/>
          </p:nvSpPr>
          <p:spPr>
            <a:xfrm>
              <a:off x="10866992" y="1042890"/>
              <a:ext cx="1325008" cy="3586583"/>
            </a:xfrm>
            <a:custGeom>
              <a:avLst/>
              <a:gdLst>
                <a:gd name="connsiteX0" fmla="*/ 627454 w 1325008"/>
                <a:gd name="connsiteY0" fmla="*/ 1300 h 3586583"/>
                <a:gd name="connsiteX1" fmla="*/ 737712 w 1325008"/>
                <a:gd name="connsiteY1" fmla="*/ 99045 h 3586583"/>
                <a:gd name="connsiteX2" fmla="*/ 664860 w 1325008"/>
                <a:gd name="connsiteY2" fmla="*/ 2403940 h 3586583"/>
                <a:gd name="connsiteX3" fmla="*/ 369797 w 1325008"/>
                <a:gd name="connsiteY3" fmla="*/ 3185866 h 3586583"/>
                <a:gd name="connsiteX4" fmla="*/ 1175959 w 1325008"/>
                <a:gd name="connsiteY4" fmla="*/ 3250406 h 3586583"/>
                <a:gd name="connsiteX5" fmla="*/ 1325008 w 1325008"/>
                <a:gd name="connsiteY5" fmla="*/ 3302370 h 3586583"/>
                <a:gd name="connsiteX6" fmla="*/ 1325008 w 1325008"/>
                <a:gd name="connsiteY6" fmla="*/ 3586583 h 3586583"/>
                <a:gd name="connsiteX7" fmla="*/ 1263323 w 1325008"/>
                <a:gd name="connsiteY7" fmla="*/ 3557369 h 3586583"/>
                <a:gd name="connsiteX8" fmla="*/ 158137 w 1325008"/>
                <a:gd name="connsiteY8" fmla="*/ 3484993 h 3586583"/>
                <a:gd name="connsiteX9" fmla="*/ 2327 w 1325008"/>
                <a:gd name="connsiteY9" fmla="*/ 3378795 h 3586583"/>
                <a:gd name="connsiteX10" fmla="*/ 18415 w 1325008"/>
                <a:gd name="connsiteY10" fmla="*/ 3286375 h 3586583"/>
                <a:gd name="connsiteX11" fmla="*/ 410966 w 1325008"/>
                <a:gd name="connsiteY11" fmla="*/ 2322009 h 3586583"/>
                <a:gd name="connsiteX12" fmla="*/ 480007 w 1325008"/>
                <a:gd name="connsiteY12" fmla="*/ 167610 h 3586583"/>
                <a:gd name="connsiteX13" fmla="*/ 574625 w 1325008"/>
                <a:gd name="connsiteY13" fmla="*/ 4504 h 3586583"/>
                <a:gd name="connsiteX14" fmla="*/ 627454 w 1325008"/>
                <a:gd name="connsiteY14" fmla="*/ 1300 h 3586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5008" h="3586583">
                  <a:moveTo>
                    <a:pt x="627454" y="1300"/>
                  </a:moveTo>
                  <a:cubicBezTo>
                    <a:pt x="678885" y="8561"/>
                    <a:pt x="723503" y="45701"/>
                    <a:pt x="737712" y="99045"/>
                  </a:cubicBezTo>
                  <a:cubicBezTo>
                    <a:pt x="973943" y="986883"/>
                    <a:pt x="828481" y="1842499"/>
                    <a:pt x="664860" y="2403940"/>
                  </a:cubicBezTo>
                  <a:cubicBezTo>
                    <a:pt x="587018" y="2671867"/>
                    <a:pt x="488363" y="2933304"/>
                    <a:pt x="369797" y="3185866"/>
                  </a:cubicBezTo>
                  <a:cubicBezTo>
                    <a:pt x="654772" y="3159247"/>
                    <a:pt x="924439" y="3180842"/>
                    <a:pt x="1175959" y="3250406"/>
                  </a:cubicBezTo>
                  <a:lnTo>
                    <a:pt x="1325008" y="3302370"/>
                  </a:lnTo>
                  <a:lnTo>
                    <a:pt x="1325008" y="3586583"/>
                  </a:lnTo>
                  <a:lnTo>
                    <a:pt x="1263323" y="3557369"/>
                  </a:lnTo>
                  <a:cubicBezTo>
                    <a:pt x="940822" y="3434875"/>
                    <a:pt x="565063" y="3407951"/>
                    <a:pt x="158137" y="3484993"/>
                  </a:cubicBezTo>
                  <a:cubicBezTo>
                    <a:pt x="85781" y="3498695"/>
                    <a:pt x="16028" y="3451151"/>
                    <a:pt x="2327" y="3378795"/>
                  </a:cubicBezTo>
                  <a:cubicBezTo>
                    <a:pt x="-3680" y="3347049"/>
                    <a:pt x="2035" y="3314210"/>
                    <a:pt x="18415" y="3286375"/>
                  </a:cubicBezTo>
                  <a:cubicBezTo>
                    <a:pt x="20599" y="3282641"/>
                    <a:pt x="243878" y="2898561"/>
                    <a:pt x="410966" y="2322009"/>
                  </a:cubicBezTo>
                  <a:cubicBezTo>
                    <a:pt x="563717" y="1794917"/>
                    <a:pt x="699693" y="993296"/>
                    <a:pt x="480007" y="167610"/>
                  </a:cubicBezTo>
                  <a:cubicBezTo>
                    <a:pt x="461100" y="96441"/>
                    <a:pt x="503462" y="23416"/>
                    <a:pt x="574625" y="4504"/>
                  </a:cubicBezTo>
                  <a:cubicBezTo>
                    <a:pt x="592409" y="-221"/>
                    <a:pt x="610310" y="-1121"/>
                    <a:pt x="627454" y="1300"/>
                  </a:cubicBezTo>
                  <a:close/>
                </a:path>
              </a:pathLst>
            </a:custGeom>
            <a:solidFill>
              <a:srgbClr val="005C82"/>
            </a:solidFill>
            <a:ln w="12690" cap="flat">
              <a:noFill/>
              <a:prstDash val="solid"/>
              <a:miter/>
            </a:ln>
          </p:spPr>
          <p:txBody>
            <a:bodyPr rtlCol="0" anchor="ctr"/>
            <a:lstStyle/>
            <a:p>
              <a:endParaRPr lang="en-GB" dirty="0"/>
            </a:p>
          </p:txBody>
        </p:sp>
        <p:sp>
          <p:nvSpPr>
            <p:cNvPr id="19" name="Freeform: Shape 18">
              <a:extLst>
                <a:ext uri="{FF2B5EF4-FFF2-40B4-BE49-F238E27FC236}">
                  <a16:creationId xmlns:a16="http://schemas.microsoft.com/office/drawing/2014/main" id="{88F300F0-88EC-4B44-8816-B3D1834130B0}"/>
                </a:ext>
              </a:extLst>
            </p:cNvPr>
            <p:cNvSpPr/>
            <p:nvPr/>
          </p:nvSpPr>
          <p:spPr>
            <a:xfrm>
              <a:off x="10733882" y="0"/>
              <a:ext cx="869267" cy="1297131"/>
            </a:xfrm>
            <a:custGeom>
              <a:avLst/>
              <a:gdLst>
                <a:gd name="connsiteX0" fmla="*/ 0 w 869267"/>
                <a:gd name="connsiteY0" fmla="*/ 0 h 1297131"/>
                <a:gd name="connsiteX1" fmla="*/ 332244 w 869267"/>
                <a:gd name="connsiteY1" fmla="*/ 0 h 1297131"/>
                <a:gd name="connsiteX2" fmla="*/ 344096 w 869267"/>
                <a:gd name="connsiteY2" fmla="*/ 16058 h 1297131"/>
                <a:gd name="connsiteX3" fmla="*/ 864676 w 869267"/>
                <a:gd name="connsiteY3" fmla="*/ 1129109 h 1297131"/>
                <a:gd name="connsiteX4" fmla="*/ 770377 w 869267"/>
                <a:gd name="connsiteY4" fmla="*/ 1292572 h 1297131"/>
                <a:gd name="connsiteX5" fmla="*/ 735849 w 869267"/>
                <a:gd name="connsiteY5" fmla="*/ 1297131 h 1297131"/>
                <a:gd name="connsiteX6" fmla="*/ 607175 w 869267"/>
                <a:gd name="connsiteY6" fmla="*/ 1198418 h 1297131"/>
                <a:gd name="connsiteX7" fmla="*/ 8319 w 869267"/>
                <a:gd name="connsiteY7" fmla="*/ 10072 h 1297131"/>
                <a:gd name="connsiteX8" fmla="*/ 0 w 869267"/>
                <a:gd name="connsiteY8" fmla="*/ 0 h 1297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9267" h="1297131">
                  <a:moveTo>
                    <a:pt x="0" y="0"/>
                  </a:moveTo>
                  <a:lnTo>
                    <a:pt x="332244" y="0"/>
                  </a:lnTo>
                  <a:lnTo>
                    <a:pt x="344096" y="16058"/>
                  </a:lnTo>
                  <a:cubicBezTo>
                    <a:pt x="583437" y="359835"/>
                    <a:pt x="757989" y="732751"/>
                    <a:pt x="864676" y="1129109"/>
                  </a:cubicBezTo>
                  <a:cubicBezTo>
                    <a:pt x="883775" y="1200290"/>
                    <a:pt x="841552" y="1273474"/>
                    <a:pt x="770377" y="1292572"/>
                  </a:cubicBezTo>
                  <a:cubicBezTo>
                    <a:pt x="759113" y="1295595"/>
                    <a:pt x="747506" y="1297131"/>
                    <a:pt x="735849" y="1297131"/>
                  </a:cubicBezTo>
                  <a:cubicBezTo>
                    <a:pt x="675582" y="1297068"/>
                    <a:pt x="622845" y="1256611"/>
                    <a:pt x="607175" y="1198418"/>
                  </a:cubicBezTo>
                  <a:cubicBezTo>
                    <a:pt x="492008" y="770543"/>
                    <a:pt x="290874" y="371626"/>
                    <a:pt x="8319" y="10072"/>
                  </a:cubicBezTo>
                  <a:lnTo>
                    <a:pt x="0" y="0"/>
                  </a:lnTo>
                  <a:close/>
                </a:path>
              </a:pathLst>
            </a:custGeom>
            <a:solidFill>
              <a:schemeClr val="accent1"/>
            </a:solidFill>
            <a:ln w="12690" cap="flat">
              <a:noFill/>
              <a:prstDash val="solid"/>
              <a:miter/>
            </a:ln>
          </p:spPr>
          <p:txBody>
            <a:bodyPr rtlCol="0" anchor="ctr"/>
            <a:lstStyle/>
            <a:p>
              <a:endParaRPr lang="en-GB"/>
            </a:p>
          </p:txBody>
        </p:sp>
      </p:grpSp>
    </p:spTree>
    <p:extLst>
      <p:ext uri="{BB962C8B-B14F-4D97-AF65-F5344CB8AC3E}">
        <p14:creationId xmlns:p14="http://schemas.microsoft.com/office/powerpoint/2010/main" val="3878786654"/>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ntent 2">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7" name="Freeform: Shape 16">
            <a:extLst>
              <a:ext uri="{FF2B5EF4-FFF2-40B4-BE49-F238E27FC236}">
                <a16:creationId xmlns:a16="http://schemas.microsoft.com/office/drawing/2014/main" id="{FFF2922D-B6DA-4B2F-AD1E-E425875027A4}"/>
              </a:ext>
            </a:extLst>
          </p:cNvPr>
          <p:cNvSpPr/>
          <p:nvPr userDrawn="1"/>
        </p:nvSpPr>
        <p:spPr>
          <a:xfrm>
            <a:off x="0" y="-16"/>
            <a:ext cx="12193206" cy="6858000"/>
          </a:xfrm>
          <a:custGeom>
            <a:avLst/>
            <a:gdLst>
              <a:gd name="connsiteX0" fmla="*/ 0 w 12193206"/>
              <a:gd name="connsiteY0" fmla="*/ 0 h 6858000"/>
              <a:gd name="connsiteX1" fmla="*/ 12193206 w 12193206"/>
              <a:gd name="connsiteY1" fmla="*/ 0 h 6858000"/>
              <a:gd name="connsiteX2" fmla="*/ 12193206 w 12193206"/>
              <a:gd name="connsiteY2" fmla="*/ 6858000 h 6858000"/>
              <a:gd name="connsiteX3" fmla="*/ 0 w 121932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06" h="6858000">
                <a:moveTo>
                  <a:pt x="0" y="0"/>
                </a:moveTo>
                <a:lnTo>
                  <a:pt x="12193206" y="0"/>
                </a:lnTo>
                <a:lnTo>
                  <a:pt x="12193206" y="6858000"/>
                </a:lnTo>
                <a:lnTo>
                  <a:pt x="0" y="6858000"/>
                </a:lnTo>
                <a:close/>
              </a:path>
            </a:pathLst>
          </a:custGeom>
          <a:no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B7D8B2CC-62C9-4801-A964-D64E671125A4}"/>
              </a:ext>
            </a:extLst>
          </p:cNvPr>
          <p:cNvSpPr/>
          <p:nvPr/>
        </p:nvSpPr>
        <p:spPr>
          <a:xfrm>
            <a:off x="6983859" y="-1094286"/>
            <a:ext cx="4213" cy="5609"/>
          </a:xfrm>
          <a:custGeom>
            <a:avLst/>
            <a:gdLst>
              <a:gd name="connsiteX0" fmla="*/ 4213 w 4213"/>
              <a:gd name="connsiteY0" fmla="*/ 0 h 5609"/>
              <a:gd name="connsiteX1" fmla="*/ 4213 w 4213"/>
              <a:gd name="connsiteY1" fmla="*/ 7 h 5609"/>
              <a:gd name="connsiteX2" fmla="*/ 0 w 4213"/>
              <a:gd name="connsiteY2" fmla="*/ 5609 h 5609"/>
              <a:gd name="connsiteX3" fmla="*/ 4213 w 4213"/>
              <a:gd name="connsiteY3" fmla="*/ 0 h 5609"/>
            </a:gdLst>
            <a:ahLst/>
            <a:cxnLst>
              <a:cxn ang="0">
                <a:pos x="connsiteX0" y="connsiteY0"/>
              </a:cxn>
              <a:cxn ang="0">
                <a:pos x="connsiteX1" y="connsiteY1"/>
              </a:cxn>
              <a:cxn ang="0">
                <a:pos x="connsiteX2" y="connsiteY2"/>
              </a:cxn>
              <a:cxn ang="0">
                <a:pos x="connsiteX3" y="connsiteY3"/>
              </a:cxn>
            </a:cxnLst>
            <a:rect l="l" t="t" r="r" b="b"/>
            <a:pathLst>
              <a:path w="4213" h="5609">
                <a:moveTo>
                  <a:pt x="4213" y="0"/>
                </a:moveTo>
                <a:lnTo>
                  <a:pt x="4213" y="7"/>
                </a:lnTo>
                <a:lnTo>
                  <a:pt x="0" y="5609"/>
                </a:lnTo>
                <a:lnTo>
                  <a:pt x="4213" y="0"/>
                </a:lnTo>
                <a:close/>
              </a:path>
            </a:pathLst>
          </a:custGeom>
          <a:solidFill>
            <a:srgbClr val="FFE84C"/>
          </a:solid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93A1AC9D-26ED-430D-BBA6-30DEB5C677A8}"/>
              </a:ext>
            </a:extLst>
          </p:cNvPr>
          <p:cNvSpPr/>
          <p:nvPr/>
        </p:nvSpPr>
        <p:spPr>
          <a:xfrm>
            <a:off x="6945172" y="-1088677"/>
            <a:ext cx="38687" cy="81370"/>
          </a:xfrm>
          <a:custGeom>
            <a:avLst/>
            <a:gdLst>
              <a:gd name="connsiteX0" fmla="*/ 38687 w 38687"/>
              <a:gd name="connsiteY0" fmla="*/ 0 h 81370"/>
              <a:gd name="connsiteX1" fmla="*/ 13263 w 38687"/>
              <a:gd name="connsiteY1" fmla="*/ 33842 h 81370"/>
              <a:gd name="connsiteX2" fmla="*/ 0 w 38687"/>
              <a:gd name="connsiteY2" fmla="*/ 81370 h 81370"/>
              <a:gd name="connsiteX3" fmla="*/ 13238 w 38687"/>
              <a:gd name="connsiteY3" fmla="*/ 33833 h 81370"/>
              <a:gd name="connsiteX4" fmla="*/ 38687 w 38687"/>
              <a:gd name="connsiteY4" fmla="*/ 0 h 81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87" h="81370">
                <a:moveTo>
                  <a:pt x="38687" y="0"/>
                </a:moveTo>
                <a:lnTo>
                  <a:pt x="13263" y="33842"/>
                </a:lnTo>
                <a:cubicBezTo>
                  <a:pt x="5986" y="48596"/>
                  <a:pt x="1439" y="64695"/>
                  <a:pt x="0" y="81370"/>
                </a:cubicBezTo>
                <a:cubicBezTo>
                  <a:pt x="1420" y="64691"/>
                  <a:pt x="5960" y="48587"/>
                  <a:pt x="13238" y="33833"/>
                </a:cubicBezTo>
                <a:lnTo>
                  <a:pt x="38687" y="0"/>
                </a:lnTo>
                <a:close/>
              </a:path>
            </a:pathLst>
          </a:custGeom>
          <a:solidFill>
            <a:srgbClr val="FFE84C"/>
          </a:solidFill>
          <a:ln w="1270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11783701-B8B6-468A-B87D-CCFDD51E11BC}"/>
              </a:ext>
            </a:extLst>
          </p:cNvPr>
          <p:cNvSpPr/>
          <p:nvPr/>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rgbClr val="FFE84C"/>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452281826"/>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ntent 3">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5286376" cy="27369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75213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7" cy="720000"/>
          </a:xfrm>
        </p:spPr>
        <p:txBody>
          <a:bodyPr/>
          <a:lstStyle/>
          <a:p>
            <a:pPr lvl="0"/>
            <a:r>
              <a:rPr lang="en-US"/>
              <a:t>Click to edit Master title style</a:t>
            </a:r>
            <a:endParaRPr lang="en-GB" dirty="0"/>
          </a:p>
        </p:txBody>
      </p:sp>
      <p:sp>
        <p:nvSpPr>
          <p:cNvPr id="22" name="Freeform: Shape 21">
            <a:extLst>
              <a:ext uri="{FF2B5EF4-FFF2-40B4-BE49-F238E27FC236}">
                <a16:creationId xmlns:a16="http://schemas.microsoft.com/office/drawing/2014/main" id="{2EED502E-C7AA-4CAB-8C16-D9B1E95B4C90}"/>
              </a:ext>
            </a:extLst>
          </p:cNvPr>
          <p:cNvSpPr/>
          <p:nvPr userDrawn="1"/>
        </p:nvSpPr>
        <p:spPr>
          <a:xfrm>
            <a:off x="10849636" y="4991211"/>
            <a:ext cx="1342365" cy="795586"/>
          </a:xfrm>
          <a:custGeom>
            <a:avLst/>
            <a:gdLst>
              <a:gd name="connsiteX0" fmla="*/ 1342365 w 1342365"/>
              <a:gd name="connsiteY0" fmla="*/ 0 h 795586"/>
              <a:gd name="connsiteX1" fmla="*/ 1342365 w 1342365"/>
              <a:gd name="connsiteY1" fmla="*/ 310659 h 795586"/>
              <a:gd name="connsiteX2" fmla="*/ 1175229 w 1342365"/>
              <a:gd name="connsiteY2" fmla="*/ 404301 h 795586"/>
              <a:gd name="connsiteX3" fmla="*/ 166319 w 1342365"/>
              <a:gd name="connsiteY3" fmla="*/ 791416 h 795586"/>
              <a:gd name="connsiteX4" fmla="*/ 133252 w 1342365"/>
              <a:gd name="connsiteY4" fmla="*/ 795586 h 795586"/>
              <a:gd name="connsiteX5" fmla="*/ 0 w 1342365"/>
              <a:gd name="connsiteY5" fmla="*/ 662105 h 795586"/>
              <a:gd name="connsiteX6" fmla="*/ 100375 w 1342365"/>
              <a:gd name="connsiteY6" fmla="*/ 532998 h 795586"/>
              <a:gd name="connsiteX7" fmla="*/ 1277902 w 1342365"/>
              <a:gd name="connsiteY7" fmla="*/ 41089 h 795586"/>
              <a:gd name="connsiteX8" fmla="*/ 1342365 w 1342365"/>
              <a:gd name="connsiteY8" fmla="*/ 0 h 795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42365" h="795586">
                <a:moveTo>
                  <a:pt x="1342365" y="0"/>
                </a:moveTo>
                <a:lnTo>
                  <a:pt x="1342365" y="310659"/>
                </a:lnTo>
                <a:lnTo>
                  <a:pt x="1175229" y="404301"/>
                </a:lnTo>
                <a:cubicBezTo>
                  <a:pt x="853625" y="572605"/>
                  <a:pt x="516572" y="702036"/>
                  <a:pt x="166319" y="791416"/>
                </a:cubicBezTo>
                <a:cubicBezTo>
                  <a:pt x="155514" y="794180"/>
                  <a:pt x="144405" y="795581"/>
                  <a:pt x="133252" y="795586"/>
                </a:cubicBezTo>
                <a:cubicBezTo>
                  <a:pt x="59596" y="795522"/>
                  <a:pt x="-63" y="735761"/>
                  <a:pt x="0" y="662105"/>
                </a:cubicBezTo>
                <a:cubicBezTo>
                  <a:pt x="52" y="601198"/>
                  <a:pt x="41361" y="548065"/>
                  <a:pt x="100375" y="532998"/>
                </a:cubicBezTo>
                <a:cubicBezTo>
                  <a:pt x="513437" y="427588"/>
                  <a:pt x="907329" y="262895"/>
                  <a:pt x="1277902" y="41089"/>
                </a:cubicBezTo>
                <a:lnTo>
                  <a:pt x="1342365" y="0"/>
                </a:lnTo>
                <a:close/>
              </a:path>
            </a:pathLst>
          </a:custGeom>
          <a:solidFill>
            <a:srgbClr val="005C82"/>
          </a:solid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F347DFF4-3BA3-4254-8FCD-6F3D10FE181D}"/>
              </a:ext>
            </a:extLst>
          </p:cNvPr>
          <p:cNvSpPr/>
          <p:nvPr userDrawn="1"/>
        </p:nvSpPr>
        <p:spPr>
          <a:xfrm>
            <a:off x="6242805" y="4837629"/>
            <a:ext cx="4856836" cy="2019647"/>
          </a:xfrm>
          <a:custGeom>
            <a:avLst/>
            <a:gdLst>
              <a:gd name="connsiteX0" fmla="*/ 414366 w 4856836"/>
              <a:gd name="connsiteY0" fmla="*/ 2013 h 2019647"/>
              <a:gd name="connsiteX1" fmla="*/ 506569 w 4856836"/>
              <a:gd name="connsiteY1" fmla="*/ 19315 h 2019647"/>
              <a:gd name="connsiteX2" fmla="*/ 1793206 w 4856836"/>
              <a:gd name="connsiteY2" fmla="*/ 563337 h 2019647"/>
              <a:gd name="connsiteX3" fmla="*/ 4690854 w 4856836"/>
              <a:gd name="connsiteY3" fmla="*/ 694325 h 2019647"/>
              <a:gd name="connsiteX4" fmla="*/ 4852759 w 4856836"/>
              <a:gd name="connsiteY4" fmla="*/ 791034 h 2019647"/>
              <a:gd name="connsiteX5" fmla="*/ 4756049 w 4856836"/>
              <a:gd name="connsiteY5" fmla="*/ 952939 h 2019647"/>
              <a:gd name="connsiteX6" fmla="*/ 3105915 w 4856836"/>
              <a:gd name="connsiteY6" fmla="*/ 1085146 h 2019647"/>
              <a:gd name="connsiteX7" fmla="*/ 1707916 w 4856836"/>
              <a:gd name="connsiteY7" fmla="*/ 816157 h 2019647"/>
              <a:gd name="connsiteX8" fmla="*/ 605961 w 4856836"/>
              <a:gd name="connsiteY8" fmla="*/ 376370 h 2019647"/>
              <a:gd name="connsiteX9" fmla="*/ 398316 w 4856836"/>
              <a:gd name="connsiteY9" fmla="*/ 1833149 h 2019647"/>
              <a:gd name="connsiteX10" fmla="*/ 316644 w 4856836"/>
              <a:gd name="connsiteY10" fmla="*/ 2001258 h 2019647"/>
              <a:gd name="connsiteX11" fmla="*/ 305914 w 4856836"/>
              <a:gd name="connsiteY11" fmla="*/ 2019647 h 2019647"/>
              <a:gd name="connsiteX12" fmla="*/ 0 w 4856836"/>
              <a:gd name="connsiteY12" fmla="*/ 2019647 h 2019647"/>
              <a:gd name="connsiteX13" fmla="*/ 34107 w 4856836"/>
              <a:gd name="connsiteY13" fmla="*/ 1967301 h 2019647"/>
              <a:gd name="connsiteX14" fmla="*/ 306107 w 4856836"/>
              <a:gd name="connsiteY14" fmla="*/ 156429 h 2019647"/>
              <a:gd name="connsiteX15" fmla="*/ 414366 w 4856836"/>
              <a:gd name="connsiteY15" fmla="*/ 2013 h 2019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856836" h="2019647">
                <a:moveTo>
                  <a:pt x="414366" y="2013"/>
                </a:moveTo>
                <a:cubicBezTo>
                  <a:pt x="446182" y="-3578"/>
                  <a:pt x="478945" y="2570"/>
                  <a:pt x="506569" y="19315"/>
                </a:cubicBezTo>
                <a:cubicBezTo>
                  <a:pt x="511580" y="22341"/>
                  <a:pt x="1022667" y="328729"/>
                  <a:pt x="1793206" y="563337"/>
                </a:cubicBezTo>
                <a:cubicBezTo>
                  <a:pt x="2499326" y="778333"/>
                  <a:pt x="3575224" y="975573"/>
                  <a:pt x="4690854" y="694325"/>
                </a:cubicBezTo>
                <a:cubicBezTo>
                  <a:pt x="4762268" y="676322"/>
                  <a:pt x="4834755" y="719620"/>
                  <a:pt x="4852759" y="791034"/>
                </a:cubicBezTo>
                <a:cubicBezTo>
                  <a:pt x="4870763" y="862449"/>
                  <a:pt x="4827464" y="934936"/>
                  <a:pt x="4756049" y="952939"/>
                </a:cubicBezTo>
                <a:cubicBezTo>
                  <a:pt x="4235065" y="1084273"/>
                  <a:pt x="3679881" y="1128760"/>
                  <a:pt x="3105915" y="1085146"/>
                </a:cubicBezTo>
                <a:cubicBezTo>
                  <a:pt x="2631446" y="1047130"/>
                  <a:pt x="2162615" y="956922"/>
                  <a:pt x="1707916" y="816157"/>
                </a:cubicBezTo>
                <a:cubicBezTo>
                  <a:pt x="1328864" y="700870"/>
                  <a:pt x="960233" y="553751"/>
                  <a:pt x="605961" y="376370"/>
                </a:cubicBezTo>
                <a:cubicBezTo>
                  <a:pt x="660472" y="906557"/>
                  <a:pt x="590920" y="1395545"/>
                  <a:pt x="398316" y="1833149"/>
                </a:cubicBezTo>
                <a:cubicBezTo>
                  <a:pt x="373170" y="1890349"/>
                  <a:pt x="345917" y="1946419"/>
                  <a:pt x="316644" y="2001258"/>
                </a:cubicBezTo>
                <a:lnTo>
                  <a:pt x="305914" y="2019647"/>
                </a:lnTo>
                <a:lnTo>
                  <a:pt x="0" y="2019647"/>
                </a:lnTo>
                <a:lnTo>
                  <a:pt x="34107" y="1967301"/>
                </a:lnTo>
                <a:cubicBezTo>
                  <a:pt x="329331" y="1471210"/>
                  <a:pt x="427687" y="848162"/>
                  <a:pt x="306107" y="156429"/>
                </a:cubicBezTo>
                <a:cubicBezTo>
                  <a:pt x="293361" y="83893"/>
                  <a:pt x="341830" y="14759"/>
                  <a:pt x="414366" y="2013"/>
                </a:cubicBezTo>
                <a:close/>
              </a:path>
            </a:pathLst>
          </a:custGeom>
          <a:solidFill>
            <a:srgbClr val="85ABE3"/>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98535759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ntent 4">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455454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020301"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020301" cy="720000"/>
          </a:xfrm>
        </p:spPr>
        <p:txBody>
          <a:bodyPr/>
          <a:lstStyle/>
          <a:p>
            <a:pPr lvl="0"/>
            <a:r>
              <a:rPr lang="en-US"/>
              <a:t>Click to edit Master title style</a:t>
            </a:r>
            <a:endParaRPr lang="en-GB" dirty="0"/>
          </a:p>
        </p:txBody>
      </p:sp>
      <p:grpSp>
        <p:nvGrpSpPr>
          <p:cNvPr id="16" name="Group 15">
            <a:extLst>
              <a:ext uri="{FF2B5EF4-FFF2-40B4-BE49-F238E27FC236}">
                <a16:creationId xmlns:a16="http://schemas.microsoft.com/office/drawing/2014/main" id="{4ED4FA2E-BB61-419C-9C40-ADC558A0472A}"/>
              </a:ext>
            </a:extLst>
          </p:cNvPr>
          <p:cNvGrpSpPr/>
          <p:nvPr userDrawn="1"/>
        </p:nvGrpSpPr>
        <p:grpSpPr>
          <a:xfrm>
            <a:off x="10733882" y="0"/>
            <a:ext cx="1458118" cy="4629473"/>
            <a:chOff x="10733882" y="0"/>
            <a:chExt cx="1458118" cy="4629473"/>
          </a:xfrm>
        </p:grpSpPr>
        <p:sp>
          <p:nvSpPr>
            <p:cNvPr id="20" name="Freeform: Shape 19">
              <a:extLst>
                <a:ext uri="{FF2B5EF4-FFF2-40B4-BE49-F238E27FC236}">
                  <a16:creationId xmlns:a16="http://schemas.microsoft.com/office/drawing/2014/main" id="{3E5198A0-3E34-4A3C-BF63-5B0BE0A7CDD5}"/>
                </a:ext>
              </a:extLst>
            </p:cNvPr>
            <p:cNvSpPr/>
            <p:nvPr userDrawn="1"/>
          </p:nvSpPr>
          <p:spPr>
            <a:xfrm>
              <a:off x="10866992" y="1042890"/>
              <a:ext cx="1325008" cy="3586583"/>
            </a:xfrm>
            <a:custGeom>
              <a:avLst/>
              <a:gdLst>
                <a:gd name="connsiteX0" fmla="*/ 627454 w 1325008"/>
                <a:gd name="connsiteY0" fmla="*/ 1300 h 3586583"/>
                <a:gd name="connsiteX1" fmla="*/ 737712 w 1325008"/>
                <a:gd name="connsiteY1" fmla="*/ 99045 h 3586583"/>
                <a:gd name="connsiteX2" fmla="*/ 664860 w 1325008"/>
                <a:gd name="connsiteY2" fmla="*/ 2403940 h 3586583"/>
                <a:gd name="connsiteX3" fmla="*/ 369797 w 1325008"/>
                <a:gd name="connsiteY3" fmla="*/ 3185866 h 3586583"/>
                <a:gd name="connsiteX4" fmla="*/ 1175959 w 1325008"/>
                <a:gd name="connsiteY4" fmla="*/ 3250406 h 3586583"/>
                <a:gd name="connsiteX5" fmla="*/ 1325008 w 1325008"/>
                <a:gd name="connsiteY5" fmla="*/ 3302370 h 3586583"/>
                <a:gd name="connsiteX6" fmla="*/ 1325008 w 1325008"/>
                <a:gd name="connsiteY6" fmla="*/ 3586583 h 3586583"/>
                <a:gd name="connsiteX7" fmla="*/ 1263323 w 1325008"/>
                <a:gd name="connsiteY7" fmla="*/ 3557369 h 3586583"/>
                <a:gd name="connsiteX8" fmla="*/ 158137 w 1325008"/>
                <a:gd name="connsiteY8" fmla="*/ 3484993 h 3586583"/>
                <a:gd name="connsiteX9" fmla="*/ 2327 w 1325008"/>
                <a:gd name="connsiteY9" fmla="*/ 3378795 h 3586583"/>
                <a:gd name="connsiteX10" fmla="*/ 18415 w 1325008"/>
                <a:gd name="connsiteY10" fmla="*/ 3286375 h 3586583"/>
                <a:gd name="connsiteX11" fmla="*/ 410966 w 1325008"/>
                <a:gd name="connsiteY11" fmla="*/ 2322009 h 3586583"/>
                <a:gd name="connsiteX12" fmla="*/ 480007 w 1325008"/>
                <a:gd name="connsiteY12" fmla="*/ 167610 h 3586583"/>
                <a:gd name="connsiteX13" fmla="*/ 574625 w 1325008"/>
                <a:gd name="connsiteY13" fmla="*/ 4504 h 3586583"/>
                <a:gd name="connsiteX14" fmla="*/ 627454 w 1325008"/>
                <a:gd name="connsiteY14" fmla="*/ 1300 h 3586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25008" h="3586583">
                  <a:moveTo>
                    <a:pt x="627454" y="1300"/>
                  </a:moveTo>
                  <a:cubicBezTo>
                    <a:pt x="678885" y="8561"/>
                    <a:pt x="723503" y="45701"/>
                    <a:pt x="737712" y="99045"/>
                  </a:cubicBezTo>
                  <a:cubicBezTo>
                    <a:pt x="973943" y="986883"/>
                    <a:pt x="828481" y="1842499"/>
                    <a:pt x="664860" y="2403940"/>
                  </a:cubicBezTo>
                  <a:cubicBezTo>
                    <a:pt x="587018" y="2671867"/>
                    <a:pt x="488363" y="2933304"/>
                    <a:pt x="369797" y="3185866"/>
                  </a:cubicBezTo>
                  <a:cubicBezTo>
                    <a:pt x="654772" y="3159247"/>
                    <a:pt x="924439" y="3180842"/>
                    <a:pt x="1175959" y="3250406"/>
                  </a:cubicBezTo>
                  <a:lnTo>
                    <a:pt x="1325008" y="3302370"/>
                  </a:lnTo>
                  <a:lnTo>
                    <a:pt x="1325008" y="3586583"/>
                  </a:lnTo>
                  <a:lnTo>
                    <a:pt x="1263323" y="3557369"/>
                  </a:lnTo>
                  <a:cubicBezTo>
                    <a:pt x="940822" y="3434875"/>
                    <a:pt x="565063" y="3407951"/>
                    <a:pt x="158137" y="3484993"/>
                  </a:cubicBezTo>
                  <a:cubicBezTo>
                    <a:pt x="85781" y="3498695"/>
                    <a:pt x="16028" y="3451151"/>
                    <a:pt x="2327" y="3378795"/>
                  </a:cubicBezTo>
                  <a:cubicBezTo>
                    <a:pt x="-3680" y="3347049"/>
                    <a:pt x="2035" y="3314210"/>
                    <a:pt x="18415" y="3286375"/>
                  </a:cubicBezTo>
                  <a:cubicBezTo>
                    <a:pt x="20599" y="3282641"/>
                    <a:pt x="243878" y="2898561"/>
                    <a:pt x="410966" y="2322009"/>
                  </a:cubicBezTo>
                  <a:cubicBezTo>
                    <a:pt x="563717" y="1794917"/>
                    <a:pt x="699693" y="993296"/>
                    <a:pt x="480007" y="167610"/>
                  </a:cubicBezTo>
                  <a:cubicBezTo>
                    <a:pt x="461100" y="96441"/>
                    <a:pt x="503462" y="23416"/>
                    <a:pt x="574625" y="4504"/>
                  </a:cubicBezTo>
                  <a:cubicBezTo>
                    <a:pt x="592409" y="-221"/>
                    <a:pt x="610310" y="-1121"/>
                    <a:pt x="627454" y="1300"/>
                  </a:cubicBezTo>
                  <a:close/>
                </a:path>
              </a:pathLst>
            </a:custGeom>
            <a:solidFill>
              <a:srgbClr val="005C82"/>
            </a:solidFill>
            <a:ln w="12690" cap="flat">
              <a:noFill/>
              <a:prstDash val="solid"/>
              <a:miter/>
            </a:ln>
          </p:spPr>
          <p:txBody>
            <a:bodyPr rtlCol="0" anchor="ctr"/>
            <a:lstStyle/>
            <a:p>
              <a:endParaRPr lang="en-GB" dirty="0"/>
            </a:p>
          </p:txBody>
        </p:sp>
        <p:sp>
          <p:nvSpPr>
            <p:cNvPr id="21" name="Freeform: Shape 20">
              <a:extLst>
                <a:ext uri="{FF2B5EF4-FFF2-40B4-BE49-F238E27FC236}">
                  <a16:creationId xmlns:a16="http://schemas.microsoft.com/office/drawing/2014/main" id="{A421163C-FF91-4CA0-9AA0-81D8F30EC952}"/>
                </a:ext>
              </a:extLst>
            </p:cNvPr>
            <p:cNvSpPr/>
            <p:nvPr/>
          </p:nvSpPr>
          <p:spPr>
            <a:xfrm>
              <a:off x="10733882" y="0"/>
              <a:ext cx="869267" cy="1297131"/>
            </a:xfrm>
            <a:custGeom>
              <a:avLst/>
              <a:gdLst>
                <a:gd name="connsiteX0" fmla="*/ 0 w 869267"/>
                <a:gd name="connsiteY0" fmla="*/ 0 h 1297131"/>
                <a:gd name="connsiteX1" fmla="*/ 332244 w 869267"/>
                <a:gd name="connsiteY1" fmla="*/ 0 h 1297131"/>
                <a:gd name="connsiteX2" fmla="*/ 344096 w 869267"/>
                <a:gd name="connsiteY2" fmla="*/ 16058 h 1297131"/>
                <a:gd name="connsiteX3" fmla="*/ 864676 w 869267"/>
                <a:gd name="connsiteY3" fmla="*/ 1129109 h 1297131"/>
                <a:gd name="connsiteX4" fmla="*/ 770377 w 869267"/>
                <a:gd name="connsiteY4" fmla="*/ 1292572 h 1297131"/>
                <a:gd name="connsiteX5" fmla="*/ 735849 w 869267"/>
                <a:gd name="connsiteY5" fmla="*/ 1297131 h 1297131"/>
                <a:gd name="connsiteX6" fmla="*/ 607175 w 869267"/>
                <a:gd name="connsiteY6" fmla="*/ 1198418 h 1297131"/>
                <a:gd name="connsiteX7" fmla="*/ 8319 w 869267"/>
                <a:gd name="connsiteY7" fmla="*/ 10072 h 1297131"/>
                <a:gd name="connsiteX8" fmla="*/ 0 w 869267"/>
                <a:gd name="connsiteY8" fmla="*/ 0 h 1297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9267" h="1297131">
                  <a:moveTo>
                    <a:pt x="0" y="0"/>
                  </a:moveTo>
                  <a:lnTo>
                    <a:pt x="332244" y="0"/>
                  </a:lnTo>
                  <a:lnTo>
                    <a:pt x="344096" y="16058"/>
                  </a:lnTo>
                  <a:cubicBezTo>
                    <a:pt x="583437" y="359835"/>
                    <a:pt x="757989" y="732751"/>
                    <a:pt x="864676" y="1129109"/>
                  </a:cubicBezTo>
                  <a:cubicBezTo>
                    <a:pt x="883775" y="1200290"/>
                    <a:pt x="841552" y="1273474"/>
                    <a:pt x="770377" y="1292572"/>
                  </a:cubicBezTo>
                  <a:cubicBezTo>
                    <a:pt x="759113" y="1295595"/>
                    <a:pt x="747506" y="1297131"/>
                    <a:pt x="735849" y="1297131"/>
                  </a:cubicBezTo>
                  <a:cubicBezTo>
                    <a:pt x="675582" y="1297068"/>
                    <a:pt x="622845" y="1256611"/>
                    <a:pt x="607175" y="1198418"/>
                  </a:cubicBezTo>
                  <a:cubicBezTo>
                    <a:pt x="492008" y="770543"/>
                    <a:pt x="290874" y="371626"/>
                    <a:pt x="8319" y="10072"/>
                  </a:cubicBezTo>
                  <a:lnTo>
                    <a:pt x="0" y="0"/>
                  </a:lnTo>
                  <a:close/>
                </a:path>
              </a:pathLst>
            </a:custGeom>
            <a:solidFill>
              <a:schemeClr val="accent1"/>
            </a:solidFill>
            <a:ln w="12690" cap="flat">
              <a:noFill/>
              <a:prstDash val="solid"/>
              <a:miter/>
            </a:ln>
          </p:spPr>
          <p:txBody>
            <a:bodyPr rtlCol="0" anchor="ctr"/>
            <a:lstStyle/>
            <a:p>
              <a:endParaRPr lang="en-GB"/>
            </a:p>
          </p:txBody>
        </p:sp>
      </p:grpSp>
    </p:spTree>
    <p:extLst>
      <p:ext uri="{BB962C8B-B14F-4D97-AF65-F5344CB8AC3E}">
        <p14:creationId xmlns:p14="http://schemas.microsoft.com/office/powerpoint/2010/main" val="739126788"/>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ntent 5">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5273675" y="2128838"/>
            <a:ext cx="437515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437515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84091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840913" cy="720000"/>
          </a:xfrm>
        </p:spPr>
        <p:txBody>
          <a:bodyPr/>
          <a:lstStyle/>
          <a:p>
            <a:pPr lvl="0"/>
            <a:r>
              <a:rPr lang="en-US"/>
              <a:t>Click to edit Master title style</a:t>
            </a:r>
            <a:endParaRPr lang="en-GB" dirty="0"/>
          </a:p>
        </p:txBody>
      </p:sp>
      <p:sp>
        <p:nvSpPr>
          <p:cNvPr id="11" name="Freeform: Shape 10">
            <a:extLst>
              <a:ext uri="{FF2B5EF4-FFF2-40B4-BE49-F238E27FC236}">
                <a16:creationId xmlns:a16="http://schemas.microsoft.com/office/drawing/2014/main" id="{91F8207E-FBEF-454B-A804-A68BB4023C31}"/>
              </a:ext>
            </a:extLst>
          </p:cNvPr>
          <p:cNvSpPr/>
          <p:nvPr/>
        </p:nvSpPr>
        <p:spPr>
          <a:xfrm>
            <a:off x="2" y="-1"/>
            <a:ext cx="12193204" cy="6857999"/>
          </a:xfrm>
          <a:custGeom>
            <a:avLst/>
            <a:gdLst>
              <a:gd name="connsiteX0" fmla="*/ 0 w 12193204"/>
              <a:gd name="connsiteY0" fmla="*/ 0 h 6857999"/>
              <a:gd name="connsiteX1" fmla="*/ 12193204 w 12193204"/>
              <a:gd name="connsiteY1" fmla="*/ 0 h 6857999"/>
              <a:gd name="connsiteX2" fmla="*/ 12193204 w 12193204"/>
              <a:gd name="connsiteY2" fmla="*/ 6857999 h 6857999"/>
              <a:gd name="connsiteX3" fmla="*/ 0 w 12193204"/>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204" h="6857999">
                <a:moveTo>
                  <a:pt x="0" y="0"/>
                </a:moveTo>
                <a:lnTo>
                  <a:pt x="12193204" y="0"/>
                </a:lnTo>
                <a:lnTo>
                  <a:pt x="12193204" y="6857999"/>
                </a:lnTo>
                <a:lnTo>
                  <a:pt x="0" y="6857999"/>
                </a:lnTo>
                <a:close/>
              </a:path>
            </a:pathLst>
          </a:custGeom>
          <a:noFill/>
          <a:ln w="12690"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F7397474-9EF1-4786-9F3A-D567C56BA18F}"/>
              </a:ext>
            </a:extLst>
          </p:cNvPr>
          <p:cNvSpPr/>
          <p:nvPr/>
        </p:nvSpPr>
        <p:spPr>
          <a:xfrm>
            <a:off x="8756757" y="-736501"/>
            <a:ext cx="82489" cy="51643"/>
          </a:xfrm>
          <a:custGeom>
            <a:avLst/>
            <a:gdLst>
              <a:gd name="connsiteX0" fmla="*/ 82489 w 82489"/>
              <a:gd name="connsiteY0" fmla="*/ 0 h 51643"/>
              <a:gd name="connsiteX1" fmla="*/ 0 w 82489"/>
              <a:gd name="connsiteY1" fmla="*/ 51643 h 51643"/>
              <a:gd name="connsiteX2" fmla="*/ 82489 w 82489"/>
              <a:gd name="connsiteY2" fmla="*/ 0 h 51643"/>
            </a:gdLst>
            <a:ahLst/>
            <a:cxnLst>
              <a:cxn ang="0">
                <a:pos x="connsiteX0" y="connsiteY0"/>
              </a:cxn>
              <a:cxn ang="0">
                <a:pos x="connsiteX1" y="connsiteY1"/>
              </a:cxn>
              <a:cxn ang="0">
                <a:pos x="connsiteX2" y="connsiteY2"/>
              </a:cxn>
            </a:cxnLst>
            <a:rect l="l" t="t" r="r" b="b"/>
            <a:pathLst>
              <a:path w="82489" h="51643">
                <a:moveTo>
                  <a:pt x="82489" y="0"/>
                </a:moveTo>
                <a:cubicBezTo>
                  <a:pt x="49468" y="6207"/>
                  <a:pt x="20008" y="24651"/>
                  <a:pt x="0" y="51643"/>
                </a:cubicBezTo>
                <a:cubicBezTo>
                  <a:pt x="19980" y="24621"/>
                  <a:pt x="49453" y="6169"/>
                  <a:pt x="82489" y="0"/>
                </a:cubicBezTo>
                <a:close/>
              </a:path>
            </a:pathLst>
          </a:custGeom>
          <a:solidFill>
            <a:schemeClr val="accent3"/>
          </a:solidFill>
          <a:ln w="12690"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B6AB145D-04C3-4FAE-BE8F-88061D87C676}"/>
              </a:ext>
            </a:extLst>
          </p:cNvPr>
          <p:cNvSpPr/>
          <p:nvPr/>
        </p:nvSpPr>
        <p:spPr>
          <a:xfrm>
            <a:off x="10015704" y="0"/>
            <a:ext cx="2176296" cy="4175528"/>
          </a:xfrm>
          <a:custGeom>
            <a:avLst/>
            <a:gdLst>
              <a:gd name="connsiteX0" fmla="*/ 103142 w 2176296"/>
              <a:gd name="connsiteY0" fmla="*/ 0 h 4175528"/>
              <a:gd name="connsiteX1" fmla="*/ 489726 w 2176296"/>
              <a:gd name="connsiteY1" fmla="*/ 0 h 4175528"/>
              <a:gd name="connsiteX2" fmla="*/ 520852 w 2176296"/>
              <a:gd name="connsiteY2" fmla="*/ 32449 h 4175528"/>
              <a:gd name="connsiteX3" fmla="*/ 960887 w 2176296"/>
              <a:gd name="connsiteY3" fmla="*/ 751382 h 4175528"/>
              <a:gd name="connsiteX4" fmla="*/ 1054090 w 2176296"/>
              <a:gd name="connsiteY4" fmla="*/ 2095042 h 4175528"/>
              <a:gd name="connsiteX5" fmla="*/ 412790 w 2176296"/>
              <a:gd name="connsiteY5" fmla="*/ 3261754 h 4175528"/>
              <a:gd name="connsiteX6" fmla="*/ 1440484 w 2176296"/>
              <a:gd name="connsiteY6" fmla="*/ 3546067 h 4175528"/>
              <a:gd name="connsiteX7" fmla="*/ 1983366 w 2176296"/>
              <a:gd name="connsiteY7" fmla="*/ 3774735 h 4175528"/>
              <a:gd name="connsiteX8" fmla="*/ 2176296 w 2176296"/>
              <a:gd name="connsiteY8" fmla="*/ 3873834 h 4175528"/>
              <a:gd name="connsiteX9" fmla="*/ 2176296 w 2176296"/>
              <a:gd name="connsiteY9" fmla="*/ 4175528 h 4175528"/>
              <a:gd name="connsiteX10" fmla="*/ 2150160 w 2176296"/>
              <a:gd name="connsiteY10" fmla="*/ 4160076 h 4175528"/>
              <a:gd name="connsiteX11" fmla="*/ 1355901 w 2176296"/>
              <a:gd name="connsiteY11" fmla="*/ 3799122 h 4175528"/>
              <a:gd name="connsiteX12" fmla="*/ 119536 w 2176296"/>
              <a:gd name="connsiteY12" fmla="*/ 3486036 h 4175528"/>
              <a:gd name="connsiteX13" fmla="*/ 732 w 2176296"/>
              <a:gd name="connsiteY13" fmla="*/ 3339530 h 4175528"/>
              <a:gd name="connsiteX14" fmla="*/ 42542 w 2176296"/>
              <a:gd name="connsiteY14" fmla="*/ 3255726 h 4175528"/>
              <a:gd name="connsiteX15" fmla="*/ 712245 w 2176296"/>
              <a:gd name="connsiteY15" fmla="*/ 847841 h 4175528"/>
              <a:gd name="connsiteX16" fmla="*/ 204588 w 2176296"/>
              <a:gd name="connsiteY16" fmla="*/ 89932 h 4175528"/>
              <a:gd name="connsiteX17" fmla="*/ 103142 w 2176296"/>
              <a:gd name="connsiteY17" fmla="*/ 0 h 4175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76296" h="4175528">
                <a:moveTo>
                  <a:pt x="103142" y="0"/>
                </a:moveTo>
                <a:lnTo>
                  <a:pt x="489726" y="0"/>
                </a:lnTo>
                <a:lnTo>
                  <a:pt x="520852" y="32449"/>
                </a:lnTo>
                <a:cubicBezTo>
                  <a:pt x="708567" y="242737"/>
                  <a:pt x="858030" y="485991"/>
                  <a:pt x="960887" y="751382"/>
                </a:cubicBezTo>
                <a:cubicBezTo>
                  <a:pt x="1128005" y="1179340"/>
                  <a:pt x="1160521" y="1648110"/>
                  <a:pt x="1054090" y="2095042"/>
                </a:cubicBezTo>
                <a:cubicBezTo>
                  <a:pt x="953966" y="2516331"/>
                  <a:pt x="738621" y="2907804"/>
                  <a:pt x="412790" y="3261754"/>
                </a:cubicBezTo>
                <a:cubicBezTo>
                  <a:pt x="762602" y="3328051"/>
                  <a:pt x="1106337" y="3423146"/>
                  <a:pt x="1440484" y="3546067"/>
                </a:cubicBezTo>
                <a:cubicBezTo>
                  <a:pt x="1607006" y="3607097"/>
                  <a:pt x="1790664" y="3682454"/>
                  <a:pt x="1983366" y="3774735"/>
                </a:cubicBezTo>
                <a:lnTo>
                  <a:pt x="2176296" y="3873834"/>
                </a:lnTo>
                <a:lnTo>
                  <a:pt x="2176296" y="4175528"/>
                </a:lnTo>
                <a:lnTo>
                  <a:pt x="2150160" y="4160076"/>
                </a:lnTo>
                <a:cubicBezTo>
                  <a:pt x="1866326" y="4003932"/>
                  <a:pt x="1592891" y="3886307"/>
                  <a:pt x="1355901" y="3799122"/>
                </a:cubicBezTo>
                <a:cubicBezTo>
                  <a:pt x="665797" y="3545249"/>
                  <a:pt x="124919" y="3486595"/>
                  <a:pt x="119536" y="3486036"/>
                </a:cubicBezTo>
                <a:cubicBezTo>
                  <a:pt x="46272" y="3478386"/>
                  <a:pt x="-6918" y="3412793"/>
                  <a:pt x="732" y="3339530"/>
                </a:cubicBezTo>
                <a:cubicBezTo>
                  <a:pt x="4080" y="3307460"/>
                  <a:pt x="18934" y="3277688"/>
                  <a:pt x="42542" y="3255726"/>
                </a:cubicBezTo>
                <a:cubicBezTo>
                  <a:pt x="791657" y="2559451"/>
                  <a:pt x="1035759" y="1681815"/>
                  <a:pt x="712245" y="847841"/>
                </a:cubicBezTo>
                <a:cubicBezTo>
                  <a:pt x="598736" y="555233"/>
                  <a:pt x="422828" y="297865"/>
                  <a:pt x="204588" y="89932"/>
                </a:cubicBezTo>
                <a:lnTo>
                  <a:pt x="103142" y="0"/>
                </a:lnTo>
                <a:close/>
              </a:path>
            </a:pathLst>
          </a:custGeom>
          <a:solidFill>
            <a:schemeClr val="accent3"/>
          </a:solidFill>
          <a:ln w="12690" cap="flat">
            <a:noFill/>
            <a:prstDash val="solid"/>
            <a:miter/>
          </a:ln>
        </p:spPr>
        <p:txBody>
          <a:bodyPr rtlCol="0" anchor="ctr"/>
          <a:lstStyle/>
          <a:p>
            <a:endParaRPr lang="en-GB"/>
          </a:p>
        </p:txBody>
      </p:sp>
    </p:spTree>
    <p:extLst>
      <p:ext uri="{BB962C8B-B14F-4D97-AF65-F5344CB8AC3E}">
        <p14:creationId xmlns:p14="http://schemas.microsoft.com/office/powerpoint/2010/main" val="2930882782"/>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ntent 6">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7" name="Freeform: Shape 16">
            <a:extLst>
              <a:ext uri="{FF2B5EF4-FFF2-40B4-BE49-F238E27FC236}">
                <a16:creationId xmlns:a16="http://schemas.microsoft.com/office/drawing/2014/main" id="{FFF2922D-B6DA-4B2F-AD1E-E425875027A4}"/>
              </a:ext>
            </a:extLst>
          </p:cNvPr>
          <p:cNvSpPr/>
          <p:nvPr userDrawn="1"/>
        </p:nvSpPr>
        <p:spPr>
          <a:xfrm>
            <a:off x="0" y="-16"/>
            <a:ext cx="12193206" cy="6858000"/>
          </a:xfrm>
          <a:custGeom>
            <a:avLst/>
            <a:gdLst>
              <a:gd name="connsiteX0" fmla="*/ 0 w 12193206"/>
              <a:gd name="connsiteY0" fmla="*/ 0 h 6858000"/>
              <a:gd name="connsiteX1" fmla="*/ 12193206 w 12193206"/>
              <a:gd name="connsiteY1" fmla="*/ 0 h 6858000"/>
              <a:gd name="connsiteX2" fmla="*/ 12193206 w 12193206"/>
              <a:gd name="connsiteY2" fmla="*/ 6858000 h 6858000"/>
              <a:gd name="connsiteX3" fmla="*/ 0 w 121932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06" h="6858000">
                <a:moveTo>
                  <a:pt x="0" y="0"/>
                </a:moveTo>
                <a:lnTo>
                  <a:pt x="12193206" y="0"/>
                </a:lnTo>
                <a:lnTo>
                  <a:pt x="12193206" y="6858000"/>
                </a:lnTo>
                <a:lnTo>
                  <a:pt x="0" y="6858000"/>
                </a:lnTo>
                <a:close/>
              </a:path>
            </a:pathLst>
          </a:custGeom>
          <a:no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B7D8B2CC-62C9-4801-A964-D64E671125A4}"/>
              </a:ext>
            </a:extLst>
          </p:cNvPr>
          <p:cNvSpPr/>
          <p:nvPr/>
        </p:nvSpPr>
        <p:spPr>
          <a:xfrm>
            <a:off x="6983859" y="-1094286"/>
            <a:ext cx="4213" cy="5609"/>
          </a:xfrm>
          <a:custGeom>
            <a:avLst/>
            <a:gdLst>
              <a:gd name="connsiteX0" fmla="*/ 4213 w 4213"/>
              <a:gd name="connsiteY0" fmla="*/ 0 h 5609"/>
              <a:gd name="connsiteX1" fmla="*/ 4213 w 4213"/>
              <a:gd name="connsiteY1" fmla="*/ 7 h 5609"/>
              <a:gd name="connsiteX2" fmla="*/ 0 w 4213"/>
              <a:gd name="connsiteY2" fmla="*/ 5609 h 5609"/>
              <a:gd name="connsiteX3" fmla="*/ 4213 w 4213"/>
              <a:gd name="connsiteY3" fmla="*/ 0 h 5609"/>
            </a:gdLst>
            <a:ahLst/>
            <a:cxnLst>
              <a:cxn ang="0">
                <a:pos x="connsiteX0" y="connsiteY0"/>
              </a:cxn>
              <a:cxn ang="0">
                <a:pos x="connsiteX1" y="connsiteY1"/>
              </a:cxn>
              <a:cxn ang="0">
                <a:pos x="connsiteX2" y="connsiteY2"/>
              </a:cxn>
              <a:cxn ang="0">
                <a:pos x="connsiteX3" y="connsiteY3"/>
              </a:cxn>
            </a:cxnLst>
            <a:rect l="l" t="t" r="r" b="b"/>
            <a:pathLst>
              <a:path w="4213" h="5609">
                <a:moveTo>
                  <a:pt x="4213" y="0"/>
                </a:moveTo>
                <a:lnTo>
                  <a:pt x="4213" y="7"/>
                </a:lnTo>
                <a:lnTo>
                  <a:pt x="0" y="5609"/>
                </a:lnTo>
                <a:lnTo>
                  <a:pt x="4213" y="0"/>
                </a:lnTo>
                <a:close/>
              </a:path>
            </a:pathLst>
          </a:custGeom>
          <a:solidFill>
            <a:srgbClr val="FFE84C"/>
          </a:solid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93A1AC9D-26ED-430D-BBA6-30DEB5C677A8}"/>
              </a:ext>
            </a:extLst>
          </p:cNvPr>
          <p:cNvSpPr/>
          <p:nvPr/>
        </p:nvSpPr>
        <p:spPr>
          <a:xfrm>
            <a:off x="6945172" y="-1088677"/>
            <a:ext cx="38687" cy="81370"/>
          </a:xfrm>
          <a:custGeom>
            <a:avLst/>
            <a:gdLst>
              <a:gd name="connsiteX0" fmla="*/ 38687 w 38687"/>
              <a:gd name="connsiteY0" fmla="*/ 0 h 81370"/>
              <a:gd name="connsiteX1" fmla="*/ 13263 w 38687"/>
              <a:gd name="connsiteY1" fmla="*/ 33842 h 81370"/>
              <a:gd name="connsiteX2" fmla="*/ 0 w 38687"/>
              <a:gd name="connsiteY2" fmla="*/ 81370 h 81370"/>
              <a:gd name="connsiteX3" fmla="*/ 13238 w 38687"/>
              <a:gd name="connsiteY3" fmla="*/ 33833 h 81370"/>
              <a:gd name="connsiteX4" fmla="*/ 38687 w 38687"/>
              <a:gd name="connsiteY4" fmla="*/ 0 h 81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87" h="81370">
                <a:moveTo>
                  <a:pt x="38687" y="0"/>
                </a:moveTo>
                <a:lnTo>
                  <a:pt x="13263" y="33842"/>
                </a:lnTo>
                <a:cubicBezTo>
                  <a:pt x="5986" y="48596"/>
                  <a:pt x="1439" y="64695"/>
                  <a:pt x="0" y="81370"/>
                </a:cubicBezTo>
                <a:cubicBezTo>
                  <a:pt x="1420" y="64691"/>
                  <a:pt x="5960" y="48587"/>
                  <a:pt x="13238" y="33833"/>
                </a:cubicBezTo>
                <a:lnTo>
                  <a:pt x="38687" y="0"/>
                </a:lnTo>
                <a:close/>
              </a:path>
            </a:pathLst>
          </a:custGeom>
          <a:solidFill>
            <a:srgbClr val="FFE84C"/>
          </a:solidFill>
          <a:ln w="1270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11783701-B8B6-468A-B87D-CCFDD51E11BC}"/>
              </a:ext>
            </a:extLst>
          </p:cNvPr>
          <p:cNvSpPr/>
          <p:nvPr/>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1"/>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15114205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wo Content 7">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7" name="Freeform: Shape 16">
            <a:extLst>
              <a:ext uri="{FF2B5EF4-FFF2-40B4-BE49-F238E27FC236}">
                <a16:creationId xmlns:a16="http://schemas.microsoft.com/office/drawing/2014/main" id="{FFF2922D-B6DA-4B2F-AD1E-E425875027A4}"/>
              </a:ext>
            </a:extLst>
          </p:cNvPr>
          <p:cNvSpPr/>
          <p:nvPr userDrawn="1"/>
        </p:nvSpPr>
        <p:spPr>
          <a:xfrm>
            <a:off x="0" y="-16"/>
            <a:ext cx="12193206" cy="6858000"/>
          </a:xfrm>
          <a:custGeom>
            <a:avLst/>
            <a:gdLst>
              <a:gd name="connsiteX0" fmla="*/ 0 w 12193206"/>
              <a:gd name="connsiteY0" fmla="*/ 0 h 6858000"/>
              <a:gd name="connsiteX1" fmla="*/ 12193206 w 12193206"/>
              <a:gd name="connsiteY1" fmla="*/ 0 h 6858000"/>
              <a:gd name="connsiteX2" fmla="*/ 12193206 w 12193206"/>
              <a:gd name="connsiteY2" fmla="*/ 6858000 h 6858000"/>
              <a:gd name="connsiteX3" fmla="*/ 0 w 121932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06" h="6858000">
                <a:moveTo>
                  <a:pt x="0" y="0"/>
                </a:moveTo>
                <a:lnTo>
                  <a:pt x="12193206" y="0"/>
                </a:lnTo>
                <a:lnTo>
                  <a:pt x="12193206" y="6858000"/>
                </a:lnTo>
                <a:lnTo>
                  <a:pt x="0" y="6858000"/>
                </a:lnTo>
                <a:close/>
              </a:path>
            </a:pathLst>
          </a:custGeom>
          <a:no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B7D8B2CC-62C9-4801-A964-D64E671125A4}"/>
              </a:ext>
            </a:extLst>
          </p:cNvPr>
          <p:cNvSpPr/>
          <p:nvPr/>
        </p:nvSpPr>
        <p:spPr>
          <a:xfrm>
            <a:off x="6983859" y="-1094286"/>
            <a:ext cx="4213" cy="5609"/>
          </a:xfrm>
          <a:custGeom>
            <a:avLst/>
            <a:gdLst>
              <a:gd name="connsiteX0" fmla="*/ 4213 w 4213"/>
              <a:gd name="connsiteY0" fmla="*/ 0 h 5609"/>
              <a:gd name="connsiteX1" fmla="*/ 4213 w 4213"/>
              <a:gd name="connsiteY1" fmla="*/ 7 h 5609"/>
              <a:gd name="connsiteX2" fmla="*/ 0 w 4213"/>
              <a:gd name="connsiteY2" fmla="*/ 5609 h 5609"/>
              <a:gd name="connsiteX3" fmla="*/ 4213 w 4213"/>
              <a:gd name="connsiteY3" fmla="*/ 0 h 5609"/>
            </a:gdLst>
            <a:ahLst/>
            <a:cxnLst>
              <a:cxn ang="0">
                <a:pos x="connsiteX0" y="connsiteY0"/>
              </a:cxn>
              <a:cxn ang="0">
                <a:pos x="connsiteX1" y="connsiteY1"/>
              </a:cxn>
              <a:cxn ang="0">
                <a:pos x="connsiteX2" y="connsiteY2"/>
              </a:cxn>
              <a:cxn ang="0">
                <a:pos x="connsiteX3" y="connsiteY3"/>
              </a:cxn>
            </a:cxnLst>
            <a:rect l="l" t="t" r="r" b="b"/>
            <a:pathLst>
              <a:path w="4213" h="5609">
                <a:moveTo>
                  <a:pt x="4213" y="0"/>
                </a:moveTo>
                <a:lnTo>
                  <a:pt x="4213" y="7"/>
                </a:lnTo>
                <a:lnTo>
                  <a:pt x="0" y="5609"/>
                </a:lnTo>
                <a:lnTo>
                  <a:pt x="4213" y="0"/>
                </a:lnTo>
                <a:close/>
              </a:path>
            </a:pathLst>
          </a:custGeom>
          <a:solidFill>
            <a:srgbClr val="FFE84C"/>
          </a:solid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93A1AC9D-26ED-430D-BBA6-30DEB5C677A8}"/>
              </a:ext>
            </a:extLst>
          </p:cNvPr>
          <p:cNvSpPr/>
          <p:nvPr/>
        </p:nvSpPr>
        <p:spPr>
          <a:xfrm>
            <a:off x="6945172" y="-1088677"/>
            <a:ext cx="38687" cy="81370"/>
          </a:xfrm>
          <a:custGeom>
            <a:avLst/>
            <a:gdLst>
              <a:gd name="connsiteX0" fmla="*/ 38687 w 38687"/>
              <a:gd name="connsiteY0" fmla="*/ 0 h 81370"/>
              <a:gd name="connsiteX1" fmla="*/ 13263 w 38687"/>
              <a:gd name="connsiteY1" fmla="*/ 33842 h 81370"/>
              <a:gd name="connsiteX2" fmla="*/ 0 w 38687"/>
              <a:gd name="connsiteY2" fmla="*/ 81370 h 81370"/>
              <a:gd name="connsiteX3" fmla="*/ 13238 w 38687"/>
              <a:gd name="connsiteY3" fmla="*/ 33833 h 81370"/>
              <a:gd name="connsiteX4" fmla="*/ 38687 w 38687"/>
              <a:gd name="connsiteY4" fmla="*/ 0 h 81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87" h="81370">
                <a:moveTo>
                  <a:pt x="38687" y="0"/>
                </a:moveTo>
                <a:lnTo>
                  <a:pt x="13263" y="33842"/>
                </a:lnTo>
                <a:cubicBezTo>
                  <a:pt x="5986" y="48596"/>
                  <a:pt x="1439" y="64695"/>
                  <a:pt x="0" y="81370"/>
                </a:cubicBezTo>
                <a:cubicBezTo>
                  <a:pt x="1420" y="64691"/>
                  <a:pt x="5960" y="48587"/>
                  <a:pt x="13238" y="33833"/>
                </a:cubicBezTo>
                <a:lnTo>
                  <a:pt x="38687" y="0"/>
                </a:lnTo>
                <a:close/>
              </a:path>
            </a:pathLst>
          </a:custGeom>
          <a:solidFill>
            <a:srgbClr val="FFE84C"/>
          </a:solidFill>
          <a:ln w="1270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11783701-B8B6-468A-B87D-CCFDD51E11BC}"/>
              </a:ext>
            </a:extLst>
          </p:cNvPr>
          <p:cNvSpPr/>
          <p:nvPr/>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2"/>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516956463"/>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8">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7" name="Freeform: Shape 16">
            <a:extLst>
              <a:ext uri="{FF2B5EF4-FFF2-40B4-BE49-F238E27FC236}">
                <a16:creationId xmlns:a16="http://schemas.microsoft.com/office/drawing/2014/main" id="{FFF2922D-B6DA-4B2F-AD1E-E425875027A4}"/>
              </a:ext>
            </a:extLst>
          </p:cNvPr>
          <p:cNvSpPr/>
          <p:nvPr userDrawn="1"/>
        </p:nvSpPr>
        <p:spPr>
          <a:xfrm>
            <a:off x="0" y="-16"/>
            <a:ext cx="12193206" cy="6858000"/>
          </a:xfrm>
          <a:custGeom>
            <a:avLst/>
            <a:gdLst>
              <a:gd name="connsiteX0" fmla="*/ 0 w 12193206"/>
              <a:gd name="connsiteY0" fmla="*/ 0 h 6858000"/>
              <a:gd name="connsiteX1" fmla="*/ 12193206 w 12193206"/>
              <a:gd name="connsiteY1" fmla="*/ 0 h 6858000"/>
              <a:gd name="connsiteX2" fmla="*/ 12193206 w 12193206"/>
              <a:gd name="connsiteY2" fmla="*/ 6858000 h 6858000"/>
              <a:gd name="connsiteX3" fmla="*/ 0 w 121932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06" h="6858000">
                <a:moveTo>
                  <a:pt x="0" y="0"/>
                </a:moveTo>
                <a:lnTo>
                  <a:pt x="12193206" y="0"/>
                </a:lnTo>
                <a:lnTo>
                  <a:pt x="12193206" y="6858000"/>
                </a:lnTo>
                <a:lnTo>
                  <a:pt x="0" y="6858000"/>
                </a:lnTo>
                <a:close/>
              </a:path>
            </a:pathLst>
          </a:custGeom>
          <a:no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B7D8B2CC-62C9-4801-A964-D64E671125A4}"/>
              </a:ext>
            </a:extLst>
          </p:cNvPr>
          <p:cNvSpPr/>
          <p:nvPr/>
        </p:nvSpPr>
        <p:spPr>
          <a:xfrm>
            <a:off x="6983859" y="-1094286"/>
            <a:ext cx="4213" cy="5609"/>
          </a:xfrm>
          <a:custGeom>
            <a:avLst/>
            <a:gdLst>
              <a:gd name="connsiteX0" fmla="*/ 4213 w 4213"/>
              <a:gd name="connsiteY0" fmla="*/ 0 h 5609"/>
              <a:gd name="connsiteX1" fmla="*/ 4213 w 4213"/>
              <a:gd name="connsiteY1" fmla="*/ 7 h 5609"/>
              <a:gd name="connsiteX2" fmla="*/ 0 w 4213"/>
              <a:gd name="connsiteY2" fmla="*/ 5609 h 5609"/>
              <a:gd name="connsiteX3" fmla="*/ 4213 w 4213"/>
              <a:gd name="connsiteY3" fmla="*/ 0 h 5609"/>
            </a:gdLst>
            <a:ahLst/>
            <a:cxnLst>
              <a:cxn ang="0">
                <a:pos x="connsiteX0" y="connsiteY0"/>
              </a:cxn>
              <a:cxn ang="0">
                <a:pos x="connsiteX1" y="connsiteY1"/>
              </a:cxn>
              <a:cxn ang="0">
                <a:pos x="connsiteX2" y="connsiteY2"/>
              </a:cxn>
              <a:cxn ang="0">
                <a:pos x="connsiteX3" y="connsiteY3"/>
              </a:cxn>
            </a:cxnLst>
            <a:rect l="l" t="t" r="r" b="b"/>
            <a:pathLst>
              <a:path w="4213" h="5609">
                <a:moveTo>
                  <a:pt x="4213" y="0"/>
                </a:moveTo>
                <a:lnTo>
                  <a:pt x="4213" y="7"/>
                </a:lnTo>
                <a:lnTo>
                  <a:pt x="0" y="5609"/>
                </a:lnTo>
                <a:lnTo>
                  <a:pt x="4213" y="0"/>
                </a:lnTo>
                <a:close/>
              </a:path>
            </a:pathLst>
          </a:custGeom>
          <a:solidFill>
            <a:srgbClr val="FFE84C"/>
          </a:solid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93A1AC9D-26ED-430D-BBA6-30DEB5C677A8}"/>
              </a:ext>
            </a:extLst>
          </p:cNvPr>
          <p:cNvSpPr/>
          <p:nvPr/>
        </p:nvSpPr>
        <p:spPr>
          <a:xfrm>
            <a:off x="6945172" y="-1088677"/>
            <a:ext cx="38687" cy="81370"/>
          </a:xfrm>
          <a:custGeom>
            <a:avLst/>
            <a:gdLst>
              <a:gd name="connsiteX0" fmla="*/ 38687 w 38687"/>
              <a:gd name="connsiteY0" fmla="*/ 0 h 81370"/>
              <a:gd name="connsiteX1" fmla="*/ 13263 w 38687"/>
              <a:gd name="connsiteY1" fmla="*/ 33842 h 81370"/>
              <a:gd name="connsiteX2" fmla="*/ 0 w 38687"/>
              <a:gd name="connsiteY2" fmla="*/ 81370 h 81370"/>
              <a:gd name="connsiteX3" fmla="*/ 13238 w 38687"/>
              <a:gd name="connsiteY3" fmla="*/ 33833 h 81370"/>
              <a:gd name="connsiteX4" fmla="*/ 38687 w 38687"/>
              <a:gd name="connsiteY4" fmla="*/ 0 h 81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87" h="81370">
                <a:moveTo>
                  <a:pt x="38687" y="0"/>
                </a:moveTo>
                <a:lnTo>
                  <a:pt x="13263" y="33842"/>
                </a:lnTo>
                <a:cubicBezTo>
                  <a:pt x="5986" y="48596"/>
                  <a:pt x="1439" y="64695"/>
                  <a:pt x="0" y="81370"/>
                </a:cubicBezTo>
                <a:cubicBezTo>
                  <a:pt x="1420" y="64691"/>
                  <a:pt x="5960" y="48587"/>
                  <a:pt x="13238" y="33833"/>
                </a:cubicBezTo>
                <a:lnTo>
                  <a:pt x="38687" y="0"/>
                </a:lnTo>
                <a:close/>
              </a:path>
            </a:pathLst>
          </a:custGeom>
          <a:solidFill>
            <a:srgbClr val="FFE84C"/>
          </a:solidFill>
          <a:ln w="1270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11783701-B8B6-468A-B87D-CCFDD51E11BC}"/>
              </a:ext>
            </a:extLst>
          </p:cNvPr>
          <p:cNvSpPr/>
          <p:nvPr/>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3"/>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18084867"/>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ntent 9">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7" name="Freeform: Shape 16">
            <a:extLst>
              <a:ext uri="{FF2B5EF4-FFF2-40B4-BE49-F238E27FC236}">
                <a16:creationId xmlns:a16="http://schemas.microsoft.com/office/drawing/2014/main" id="{FFF2922D-B6DA-4B2F-AD1E-E425875027A4}"/>
              </a:ext>
            </a:extLst>
          </p:cNvPr>
          <p:cNvSpPr/>
          <p:nvPr userDrawn="1"/>
        </p:nvSpPr>
        <p:spPr>
          <a:xfrm>
            <a:off x="0" y="-16"/>
            <a:ext cx="12193206" cy="6858000"/>
          </a:xfrm>
          <a:custGeom>
            <a:avLst/>
            <a:gdLst>
              <a:gd name="connsiteX0" fmla="*/ 0 w 12193206"/>
              <a:gd name="connsiteY0" fmla="*/ 0 h 6858000"/>
              <a:gd name="connsiteX1" fmla="*/ 12193206 w 12193206"/>
              <a:gd name="connsiteY1" fmla="*/ 0 h 6858000"/>
              <a:gd name="connsiteX2" fmla="*/ 12193206 w 12193206"/>
              <a:gd name="connsiteY2" fmla="*/ 6858000 h 6858000"/>
              <a:gd name="connsiteX3" fmla="*/ 0 w 121932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06" h="6858000">
                <a:moveTo>
                  <a:pt x="0" y="0"/>
                </a:moveTo>
                <a:lnTo>
                  <a:pt x="12193206" y="0"/>
                </a:lnTo>
                <a:lnTo>
                  <a:pt x="12193206" y="6858000"/>
                </a:lnTo>
                <a:lnTo>
                  <a:pt x="0" y="6858000"/>
                </a:lnTo>
                <a:close/>
              </a:path>
            </a:pathLst>
          </a:custGeom>
          <a:no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B7D8B2CC-62C9-4801-A964-D64E671125A4}"/>
              </a:ext>
            </a:extLst>
          </p:cNvPr>
          <p:cNvSpPr/>
          <p:nvPr/>
        </p:nvSpPr>
        <p:spPr>
          <a:xfrm>
            <a:off x="6983859" y="-1094286"/>
            <a:ext cx="4213" cy="5609"/>
          </a:xfrm>
          <a:custGeom>
            <a:avLst/>
            <a:gdLst>
              <a:gd name="connsiteX0" fmla="*/ 4213 w 4213"/>
              <a:gd name="connsiteY0" fmla="*/ 0 h 5609"/>
              <a:gd name="connsiteX1" fmla="*/ 4213 w 4213"/>
              <a:gd name="connsiteY1" fmla="*/ 7 h 5609"/>
              <a:gd name="connsiteX2" fmla="*/ 0 w 4213"/>
              <a:gd name="connsiteY2" fmla="*/ 5609 h 5609"/>
              <a:gd name="connsiteX3" fmla="*/ 4213 w 4213"/>
              <a:gd name="connsiteY3" fmla="*/ 0 h 5609"/>
            </a:gdLst>
            <a:ahLst/>
            <a:cxnLst>
              <a:cxn ang="0">
                <a:pos x="connsiteX0" y="connsiteY0"/>
              </a:cxn>
              <a:cxn ang="0">
                <a:pos x="connsiteX1" y="connsiteY1"/>
              </a:cxn>
              <a:cxn ang="0">
                <a:pos x="connsiteX2" y="connsiteY2"/>
              </a:cxn>
              <a:cxn ang="0">
                <a:pos x="connsiteX3" y="connsiteY3"/>
              </a:cxn>
            </a:cxnLst>
            <a:rect l="l" t="t" r="r" b="b"/>
            <a:pathLst>
              <a:path w="4213" h="5609">
                <a:moveTo>
                  <a:pt x="4213" y="0"/>
                </a:moveTo>
                <a:lnTo>
                  <a:pt x="4213" y="7"/>
                </a:lnTo>
                <a:lnTo>
                  <a:pt x="0" y="5609"/>
                </a:lnTo>
                <a:lnTo>
                  <a:pt x="4213" y="0"/>
                </a:lnTo>
                <a:close/>
              </a:path>
            </a:pathLst>
          </a:custGeom>
          <a:solidFill>
            <a:srgbClr val="FFE84C"/>
          </a:solid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93A1AC9D-26ED-430D-BBA6-30DEB5C677A8}"/>
              </a:ext>
            </a:extLst>
          </p:cNvPr>
          <p:cNvSpPr/>
          <p:nvPr/>
        </p:nvSpPr>
        <p:spPr>
          <a:xfrm>
            <a:off x="6945172" y="-1088677"/>
            <a:ext cx="38687" cy="81370"/>
          </a:xfrm>
          <a:custGeom>
            <a:avLst/>
            <a:gdLst>
              <a:gd name="connsiteX0" fmla="*/ 38687 w 38687"/>
              <a:gd name="connsiteY0" fmla="*/ 0 h 81370"/>
              <a:gd name="connsiteX1" fmla="*/ 13263 w 38687"/>
              <a:gd name="connsiteY1" fmla="*/ 33842 h 81370"/>
              <a:gd name="connsiteX2" fmla="*/ 0 w 38687"/>
              <a:gd name="connsiteY2" fmla="*/ 81370 h 81370"/>
              <a:gd name="connsiteX3" fmla="*/ 13238 w 38687"/>
              <a:gd name="connsiteY3" fmla="*/ 33833 h 81370"/>
              <a:gd name="connsiteX4" fmla="*/ 38687 w 38687"/>
              <a:gd name="connsiteY4" fmla="*/ 0 h 81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87" h="81370">
                <a:moveTo>
                  <a:pt x="38687" y="0"/>
                </a:moveTo>
                <a:lnTo>
                  <a:pt x="13263" y="33842"/>
                </a:lnTo>
                <a:cubicBezTo>
                  <a:pt x="5986" y="48596"/>
                  <a:pt x="1439" y="64695"/>
                  <a:pt x="0" y="81370"/>
                </a:cubicBezTo>
                <a:cubicBezTo>
                  <a:pt x="1420" y="64691"/>
                  <a:pt x="5960" y="48587"/>
                  <a:pt x="13238" y="33833"/>
                </a:cubicBezTo>
                <a:lnTo>
                  <a:pt x="38687" y="0"/>
                </a:lnTo>
                <a:close/>
              </a:path>
            </a:pathLst>
          </a:custGeom>
          <a:solidFill>
            <a:srgbClr val="FFE84C"/>
          </a:solidFill>
          <a:ln w="1270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11783701-B8B6-468A-B87D-CCFDD51E11BC}"/>
              </a:ext>
            </a:extLst>
          </p:cNvPr>
          <p:cNvSpPr/>
          <p:nvPr/>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5"/>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2190356641"/>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No subhead)">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1627188"/>
            <a:ext cx="10752137" cy="45100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7"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3061975176"/>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10">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11066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7" name="Freeform: Shape 16">
            <a:extLst>
              <a:ext uri="{FF2B5EF4-FFF2-40B4-BE49-F238E27FC236}">
                <a16:creationId xmlns:a16="http://schemas.microsoft.com/office/drawing/2014/main" id="{FFF2922D-B6DA-4B2F-AD1E-E425875027A4}"/>
              </a:ext>
            </a:extLst>
          </p:cNvPr>
          <p:cNvSpPr/>
          <p:nvPr userDrawn="1"/>
        </p:nvSpPr>
        <p:spPr>
          <a:xfrm>
            <a:off x="0" y="-16"/>
            <a:ext cx="12193206" cy="6858000"/>
          </a:xfrm>
          <a:custGeom>
            <a:avLst/>
            <a:gdLst>
              <a:gd name="connsiteX0" fmla="*/ 0 w 12193206"/>
              <a:gd name="connsiteY0" fmla="*/ 0 h 6858000"/>
              <a:gd name="connsiteX1" fmla="*/ 12193206 w 12193206"/>
              <a:gd name="connsiteY1" fmla="*/ 0 h 6858000"/>
              <a:gd name="connsiteX2" fmla="*/ 12193206 w 12193206"/>
              <a:gd name="connsiteY2" fmla="*/ 6858000 h 6858000"/>
              <a:gd name="connsiteX3" fmla="*/ 0 w 1219320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206" h="6858000">
                <a:moveTo>
                  <a:pt x="0" y="0"/>
                </a:moveTo>
                <a:lnTo>
                  <a:pt x="12193206" y="0"/>
                </a:lnTo>
                <a:lnTo>
                  <a:pt x="12193206" y="6858000"/>
                </a:lnTo>
                <a:lnTo>
                  <a:pt x="0" y="6858000"/>
                </a:lnTo>
                <a:close/>
              </a:path>
            </a:pathLst>
          </a:custGeom>
          <a:no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B7D8B2CC-62C9-4801-A964-D64E671125A4}"/>
              </a:ext>
            </a:extLst>
          </p:cNvPr>
          <p:cNvSpPr/>
          <p:nvPr/>
        </p:nvSpPr>
        <p:spPr>
          <a:xfrm>
            <a:off x="6983859" y="-1094286"/>
            <a:ext cx="4213" cy="5609"/>
          </a:xfrm>
          <a:custGeom>
            <a:avLst/>
            <a:gdLst>
              <a:gd name="connsiteX0" fmla="*/ 4213 w 4213"/>
              <a:gd name="connsiteY0" fmla="*/ 0 h 5609"/>
              <a:gd name="connsiteX1" fmla="*/ 4213 w 4213"/>
              <a:gd name="connsiteY1" fmla="*/ 7 h 5609"/>
              <a:gd name="connsiteX2" fmla="*/ 0 w 4213"/>
              <a:gd name="connsiteY2" fmla="*/ 5609 h 5609"/>
              <a:gd name="connsiteX3" fmla="*/ 4213 w 4213"/>
              <a:gd name="connsiteY3" fmla="*/ 0 h 5609"/>
            </a:gdLst>
            <a:ahLst/>
            <a:cxnLst>
              <a:cxn ang="0">
                <a:pos x="connsiteX0" y="connsiteY0"/>
              </a:cxn>
              <a:cxn ang="0">
                <a:pos x="connsiteX1" y="connsiteY1"/>
              </a:cxn>
              <a:cxn ang="0">
                <a:pos x="connsiteX2" y="connsiteY2"/>
              </a:cxn>
              <a:cxn ang="0">
                <a:pos x="connsiteX3" y="connsiteY3"/>
              </a:cxn>
            </a:cxnLst>
            <a:rect l="l" t="t" r="r" b="b"/>
            <a:pathLst>
              <a:path w="4213" h="5609">
                <a:moveTo>
                  <a:pt x="4213" y="0"/>
                </a:moveTo>
                <a:lnTo>
                  <a:pt x="4213" y="7"/>
                </a:lnTo>
                <a:lnTo>
                  <a:pt x="0" y="5609"/>
                </a:lnTo>
                <a:lnTo>
                  <a:pt x="4213" y="0"/>
                </a:lnTo>
                <a:close/>
              </a:path>
            </a:pathLst>
          </a:custGeom>
          <a:solidFill>
            <a:srgbClr val="FFE84C"/>
          </a:solid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93A1AC9D-26ED-430D-BBA6-30DEB5C677A8}"/>
              </a:ext>
            </a:extLst>
          </p:cNvPr>
          <p:cNvSpPr/>
          <p:nvPr/>
        </p:nvSpPr>
        <p:spPr>
          <a:xfrm>
            <a:off x="6945172" y="-1088677"/>
            <a:ext cx="38687" cy="81370"/>
          </a:xfrm>
          <a:custGeom>
            <a:avLst/>
            <a:gdLst>
              <a:gd name="connsiteX0" fmla="*/ 38687 w 38687"/>
              <a:gd name="connsiteY0" fmla="*/ 0 h 81370"/>
              <a:gd name="connsiteX1" fmla="*/ 13263 w 38687"/>
              <a:gd name="connsiteY1" fmla="*/ 33842 h 81370"/>
              <a:gd name="connsiteX2" fmla="*/ 0 w 38687"/>
              <a:gd name="connsiteY2" fmla="*/ 81370 h 81370"/>
              <a:gd name="connsiteX3" fmla="*/ 13238 w 38687"/>
              <a:gd name="connsiteY3" fmla="*/ 33833 h 81370"/>
              <a:gd name="connsiteX4" fmla="*/ 38687 w 38687"/>
              <a:gd name="connsiteY4" fmla="*/ 0 h 813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87" h="81370">
                <a:moveTo>
                  <a:pt x="38687" y="0"/>
                </a:moveTo>
                <a:lnTo>
                  <a:pt x="13263" y="33842"/>
                </a:lnTo>
                <a:cubicBezTo>
                  <a:pt x="5986" y="48596"/>
                  <a:pt x="1439" y="64695"/>
                  <a:pt x="0" y="81370"/>
                </a:cubicBezTo>
                <a:cubicBezTo>
                  <a:pt x="1420" y="64691"/>
                  <a:pt x="5960" y="48587"/>
                  <a:pt x="13238" y="33833"/>
                </a:cubicBezTo>
                <a:lnTo>
                  <a:pt x="38687" y="0"/>
                </a:lnTo>
                <a:close/>
              </a:path>
            </a:pathLst>
          </a:custGeom>
          <a:solidFill>
            <a:srgbClr val="FFE84C"/>
          </a:solidFill>
          <a:ln w="1270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11783701-B8B6-468A-B87D-CCFDD51E11BC}"/>
              </a:ext>
            </a:extLst>
          </p:cNvPr>
          <p:cNvSpPr/>
          <p:nvPr/>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6"/>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2469722615"/>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ntent Large Right">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005513" y="719138"/>
            <a:ext cx="5465761" cy="54181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501901"/>
            <a:ext cx="4546330" cy="36353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814900"/>
            <a:ext cx="4546331"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11" name="Freeform: Shape 10">
            <a:extLst>
              <a:ext uri="{FF2B5EF4-FFF2-40B4-BE49-F238E27FC236}">
                <a16:creationId xmlns:a16="http://schemas.microsoft.com/office/drawing/2014/main" id="{CBAB1041-563D-407D-B771-F7CA3C6ADD0E}"/>
              </a:ext>
            </a:extLst>
          </p:cNvPr>
          <p:cNvSpPr/>
          <p:nvPr/>
        </p:nvSpPr>
        <p:spPr>
          <a:xfrm>
            <a:off x="-1" y="-1590"/>
            <a:ext cx="12196027" cy="6859587"/>
          </a:xfrm>
          <a:custGeom>
            <a:avLst/>
            <a:gdLst>
              <a:gd name="connsiteX0" fmla="*/ 0 w 12196027"/>
              <a:gd name="connsiteY0" fmla="*/ 0 h 6859587"/>
              <a:gd name="connsiteX1" fmla="*/ 12196027 w 12196027"/>
              <a:gd name="connsiteY1" fmla="*/ 0 h 6859587"/>
              <a:gd name="connsiteX2" fmla="*/ 12196027 w 12196027"/>
              <a:gd name="connsiteY2" fmla="*/ 6859587 h 6859587"/>
              <a:gd name="connsiteX3" fmla="*/ 0 w 12196027"/>
              <a:gd name="connsiteY3" fmla="*/ 6859587 h 6859587"/>
            </a:gdLst>
            <a:ahLst/>
            <a:cxnLst>
              <a:cxn ang="0">
                <a:pos x="connsiteX0" y="connsiteY0"/>
              </a:cxn>
              <a:cxn ang="0">
                <a:pos x="connsiteX1" y="connsiteY1"/>
              </a:cxn>
              <a:cxn ang="0">
                <a:pos x="connsiteX2" y="connsiteY2"/>
              </a:cxn>
              <a:cxn ang="0">
                <a:pos x="connsiteX3" y="connsiteY3"/>
              </a:cxn>
            </a:cxnLst>
            <a:rect l="l" t="t" r="r" b="b"/>
            <a:pathLst>
              <a:path w="12196027" h="6859587">
                <a:moveTo>
                  <a:pt x="0" y="0"/>
                </a:moveTo>
                <a:lnTo>
                  <a:pt x="12196027" y="0"/>
                </a:lnTo>
                <a:lnTo>
                  <a:pt x="12196027" y="6859587"/>
                </a:lnTo>
                <a:lnTo>
                  <a:pt x="0" y="6859587"/>
                </a:lnTo>
                <a:close/>
              </a:path>
            </a:pathLst>
          </a:custGeom>
          <a:noFill/>
          <a:ln w="12700"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065A25C6-22C3-4470-8B3F-33557246929E}"/>
              </a:ext>
            </a:extLst>
          </p:cNvPr>
          <p:cNvSpPr/>
          <p:nvPr/>
        </p:nvSpPr>
        <p:spPr>
          <a:xfrm>
            <a:off x="5503374" y="1946274"/>
            <a:ext cx="266762" cy="4911726"/>
          </a:xfrm>
          <a:custGeom>
            <a:avLst/>
            <a:gdLst>
              <a:gd name="connsiteX0" fmla="*/ 133381 w 266762"/>
              <a:gd name="connsiteY0" fmla="*/ 0 h 4911726"/>
              <a:gd name="connsiteX1" fmla="*/ 266762 w 266762"/>
              <a:gd name="connsiteY1" fmla="*/ 133381 h 4911726"/>
              <a:gd name="connsiteX2" fmla="*/ 266762 w 266762"/>
              <a:gd name="connsiteY2" fmla="*/ 4911726 h 4911726"/>
              <a:gd name="connsiteX3" fmla="*/ 0 w 266762"/>
              <a:gd name="connsiteY3" fmla="*/ 4911726 h 4911726"/>
              <a:gd name="connsiteX4" fmla="*/ 0 w 266762"/>
              <a:gd name="connsiteY4" fmla="*/ 133381 h 4911726"/>
              <a:gd name="connsiteX5" fmla="*/ 133381 w 266762"/>
              <a:gd name="connsiteY5" fmla="*/ 0 h 4911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6762" h="4911726">
                <a:moveTo>
                  <a:pt x="133381" y="0"/>
                </a:moveTo>
                <a:cubicBezTo>
                  <a:pt x="207045" y="0"/>
                  <a:pt x="266762" y="59717"/>
                  <a:pt x="266762" y="133381"/>
                </a:cubicBezTo>
                <a:lnTo>
                  <a:pt x="266762" y="4911726"/>
                </a:lnTo>
                <a:lnTo>
                  <a:pt x="0" y="4911726"/>
                </a:lnTo>
                <a:lnTo>
                  <a:pt x="0" y="133381"/>
                </a:lnTo>
                <a:cubicBezTo>
                  <a:pt x="0" y="59717"/>
                  <a:pt x="59717" y="0"/>
                  <a:pt x="133381" y="0"/>
                </a:cubicBezTo>
                <a:close/>
              </a:path>
            </a:pathLst>
          </a:custGeom>
          <a:solidFill>
            <a:srgbClr val="85ABE3"/>
          </a:solid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EA1E9E8E-09DB-4256-9756-C65C9D868554}"/>
              </a:ext>
            </a:extLst>
          </p:cNvPr>
          <p:cNvSpPr/>
          <p:nvPr/>
        </p:nvSpPr>
        <p:spPr>
          <a:xfrm>
            <a:off x="3724953" y="-1593"/>
            <a:ext cx="2045184" cy="3189946"/>
          </a:xfrm>
          <a:custGeom>
            <a:avLst/>
            <a:gdLst>
              <a:gd name="connsiteX0" fmla="*/ 0 w 2045184"/>
              <a:gd name="connsiteY0" fmla="*/ 0 h 3189946"/>
              <a:gd name="connsiteX1" fmla="*/ 445556 w 2045184"/>
              <a:gd name="connsiteY1" fmla="*/ 0 h 3189946"/>
              <a:gd name="connsiteX2" fmla="*/ 594954 w 2045184"/>
              <a:gd name="connsiteY2" fmla="*/ 99642 h 3189946"/>
              <a:gd name="connsiteX3" fmla="*/ 1136304 w 2045184"/>
              <a:gd name="connsiteY3" fmla="*/ 381519 h 3189946"/>
              <a:gd name="connsiteX4" fmla="*/ 1916778 w 2045184"/>
              <a:gd name="connsiteY4" fmla="*/ 599585 h 3189946"/>
              <a:gd name="connsiteX5" fmla="*/ 2040123 w 2045184"/>
              <a:gd name="connsiteY5" fmla="*/ 732299 h 3189946"/>
              <a:gd name="connsiteX6" fmla="*/ 2045184 w 2045184"/>
              <a:gd name="connsiteY6" fmla="*/ 3056273 h 3189946"/>
              <a:gd name="connsiteX7" fmla="*/ 1912096 w 2045184"/>
              <a:gd name="connsiteY7" fmla="*/ 3189946 h 3189946"/>
              <a:gd name="connsiteX8" fmla="*/ 1912089 w 2045184"/>
              <a:gd name="connsiteY8" fmla="*/ 3189946 h 3189946"/>
              <a:gd name="connsiteX9" fmla="*/ 1911803 w 2045184"/>
              <a:gd name="connsiteY9" fmla="*/ 3189939 h 3189946"/>
              <a:gd name="connsiteX10" fmla="*/ 1778422 w 2045184"/>
              <a:gd name="connsiteY10" fmla="*/ 3056850 h 3189946"/>
              <a:gd name="connsiteX11" fmla="*/ 1773609 w 2045184"/>
              <a:gd name="connsiteY11" fmla="*/ 849325 h 3189946"/>
              <a:gd name="connsiteX12" fmla="*/ 1045038 w 2045184"/>
              <a:gd name="connsiteY12" fmla="*/ 632507 h 3189946"/>
              <a:gd name="connsiteX13" fmla="*/ 18044 w 2045184"/>
              <a:gd name="connsiteY13" fmla="*/ 15567 h 3189946"/>
              <a:gd name="connsiteX14" fmla="*/ 0 w 2045184"/>
              <a:gd name="connsiteY14" fmla="*/ 0 h 3189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45184" h="3189946">
                <a:moveTo>
                  <a:pt x="0" y="0"/>
                </a:moveTo>
                <a:lnTo>
                  <a:pt x="445556" y="0"/>
                </a:lnTo>
                <a:lnTo>
                  <a:pt x="594954" y="99642"/>
                </a:lnTo>
                <a:cubicBezTo>
                  <a:pt x="794804" y="224433"/>
                  <a:pt x="979607" y="315591"/>
                  <a:pt x="1136304" y="381519"/>
                </a:cubicBezTo>
                <a:cubicBezTo>
                  <a:pt x="1590148" y="572458"/>
                  <a:pt x="1913565" y="599331"/>
                  <a:pt x="1916778" y="599585"/>
                </a:cubicBezTo>
                <a:cubicBezTo>
                  <a:pt x="1986184" y="604945"/>
                  <a:pt x="2039850" y="662687"/>
                  <a:pt x="2040123" y="732299"/>
                </a:cubicBezTo>
                <a:lnTo>
                  <a:pt x="2045184" y="3056273"/>
                </a:lnTo>
                <a:cubicBezTo>
                  <a:pt x="2045346" y="3129937"/>
                  <a:pt x="1985760" y="3189784"/>
                  <a:pt x="1912096" y="3189946"/>
                </a:cubicBezTo>
                <a:cubicBezTo>
                  <a:pt x="1912093" y="3189946"/>
                  <a:pt x="1912091" y="3189946"/>
                  <a:pt x="1912089" y="3189946"/>
                </a:cubicBezTo>
                <a:lnTo>
                  <a:pt x="1911803" y="3189939"/>
                </a:lnTo>
                <a:cubicBezTo>
                  <a:pt x="1838252" y="3189940"/>
                  <a:pt x="1778583" y="3130400"/>
                  <a:pt x="1778422" y="3056850"/>
                </a:cubicBezTo>
                <a:lnTo>
                  <a:pt x="1773609" y="849325"/>
                </a:lnTo>
                <a:cubicBezTo>
                  <a:pt x="1629212" y="825210"/>
                  <a:pt x="1368505" y="767321"/>
                  <a:pt x="1045038" y="632507"/>
                </a:cubicBezTo>
                <a:cubicBezTo>
                  <a:pt x="764448" y="515561"/>
                  <a:pt x="400282" y="323826"/>
                  <a:pt x="18044" y="15567"/>
                </a:cubicBezTo>
                <a:lnTo>
                  <a:pt x="0" y="0"/>
                </a:lnTo>
                <a:close/>
              </a:path>
            </a:pathLst>
          </a:custGeom>
          <a:solidFill>
            <a:srgbClr val="FFE84C"/>
          </a:solidFill>
          <a:ln w="12700" cap="flat">
            <a:noFill/>
            <a:prstDash val="solid"/>
            <a:miter/>
          </a:ln>
        </p:spPr>
        <p:txBody>
          <a:bodyPr rtlCol="0" anchor="ctr"/>
          <a:lstStyle/>
          <a:p>
            <a:endParaRPr lang="en-GB"/>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4546330" cy="1368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3072559194"/>
      </p:ext>
    </p:extLst>
  </p:cSld>
  <p:clrMapOvr>
    <a:masterClrMapping/>
  </p:clrMapOvr>
  <p:extLst>
    <p:ext uri="{DCECCB84-F9BA-43D5-87BE-67443E8EF086}">
      <p15:sldGuideLst xmlns:p15="http://schemas.microsoft.com/office/powerpoint/2012/main">
        <p15:guide id="1" orient="horz" pos="986" userDrawn="1">
          <p15:clr>
            <a:srgbClr val="A4A3A4"/>
          </p15:clr>
        </p15:guide>
        <p15:guide id="2" orient="horz" pos="1576" userDrawn="1">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ntent Large Right 2">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916738" y="1565276"/>
            <a:ext cx="4554536"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501900"/>
            <a:ext cx="4375150" cy="31151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814639"/>
            <a:ext cx="4546331"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4546330" cy="1368000"/>
          </a:xfrm>
        </p:spPr>
        <p:txBody>
          <a:bodyPr/>
          <a:lstStyle/>
          <a:p>
            <a:pPr lvl="0"/>
            <a:r>
              <a:rPr lang="en-US"/>
              <a:t>Click to edit Master title style</a:t>
            </a:r>
            <a:endParaRPr lang="en-GB" dirty="0"/>
          </a:p>
        </p:txBody>
      </p:sp>
      <p:sp>
        <p:nvSpPr>
          <p:cNvPr id="14" name="Freeform: Shape 13">
            <a:extLst>
              <a:ext uri="{FF2B5EF4-FFF2-40B4-BE49-F238E27FC236}">
                <a16:creationId xmlns:a16="http://schemas.microsoft.com/office/drawing/2014/main" id="{7E4CF89B-9153-40B6-9DAC-F7296DD392CE}"/>
              </a:ext>
            </a:extLst>
          </p:cNvPr>
          <p:cNvSpPr/>
          <p:nvPr/>
        </p:nvSpPr>
        <p:spPr>
          <a:xfrm>
            <a:off x="0" y="0"/>
            <a:ext cx="12193193" cy="6858000"/>
          </a:xfrm>
          <a:custGeom>
            <a:avLst/>
            <a:gdLst>
              <a:gd name="connsiteX0" fmla="*/ 0 w 12193193"/>
              <a:gd name="connsiteY0" fmla="*/ 0 h 6858000"/>
              <a:gd name="connsiteX1" fmla="*/ 12193194 w 12193193"/>
              <a:gd name="connsiteY1" fmla="*/ 0 h 6858000"/>
              <a:gd name="connsiteX2" fmla="*/ 12193194 w 12193193"/>
              <a:gd name="connsiteY2" fmla="*/ 6858000 h 6858000"/>
              <a:gd name="connsiteX3" fmla="*/ 0 w 1219319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93" h="6858000">
                <a:moveTo>
                  <a:pt x="0" y="0"/>
                </a:moveTo>
                <a:lnTo>
                  <a:pt x="12193194" y="0"/>
                </a:lnTo>
                <a:lnTo>
                  <a:pt x="12193194" y="6858000"/>
                </a:lnTo>
                <a:lnTo>
                  <a:pt x="0" y="6858000"/>
                </a:lnTo>
                <a:close/>
              </a:path>
            </a:pathLst>
          </a:custGeom>
          <a:noFill/>
          <a:ln w="12700"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E01CB456-3579-41C9-8C06-ADC94B9FDA88}"/>
              </a:ext>
            </a:extLst>
          </p:cNvPr>
          <p:cNvSpPr/>
          <p:nvPr userDrawn="1"/>
        </p:nvSpPr>
        <p:spPr>
          <a:xfrm>
            <a:off x="5817635" y="0"/>
            <a:ext cx="1821487" cy="2234280"/>
          </a:xfrm>
          <a:custGeom>
            <a:avLst/>
            <a:gdLst>
              <a:gd name="connsiteX0" fmla="*/ 1437237 w 1821487"/>
              <a:gd name="connsiteY0" fmla="*/ 0 h 2234280"/>
              <a:gd name="connsiteX1" fmla="*/ 1821487 w 1821487"/>
              <a:gd name="connsiteY1" fmla="*/ 0 h 2234280"/>
              <a:gd name="connsiteX2" fmla="*/ 1796412 w 1821487"/>
              <a:gd name="connsiteY2" fmla="*/ 22870 h 2234280"/>
              <a:gd name="connsiteX3" fmla="*/ 255291 w 1821487"/>
              <a:gd name="connsiteY3" fmla="*/ 2154810 h 2234280"/>
              <a:gd name="connsiteX4" fmla="*/ 133253 w 1821487"/>
              <a:gd name="connsiteY4" fmla="*/ 2234280 h 2234280"/>
              <a:gd name="connsiteX5" fmla="*/ 0 w 1821487"/>
              <a:gd name="connsiteY5" fmla="*/ 2100688 h 2234280"/>
              <a:gd name="connsiteX6" fmla="*/ 11362 w 1821487"/>
              <a:gd name="connsiteY6" fmla="*/ 2046980 h 2234280"/>
              <a:gd name="connsiteX7" fmla="*/ 983011 w 1821487"/>
              <a:gd name="connsiteY7" fmla="*/ 493676 h 2234280"/>
              <a:gd name="connsiteX8" fmla="*/ 1347027 w 1821487"/>
              <a:gd name="connsiteY8" fmla="*/ 89809 h 2234280"/>
              <a:gd name="connsiteX9" fmla="*/ 1437237 w 1821487"/>
              <a:gd name="connsiteY9" fmla="*/ 0 h 2234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21487" h="2234280">
                <a:moveTo>
                  <a:pt x="1437237" y="0"/>
                </a:moveTo>
                <a:lnTo>
                  <a:pt x="1821487" y="0"/>
                </a:lnTo>
                <a:lnTo>
                  <a:pt x="1796412" y="22870"/>
                </a:lnTo>
                <a:cubicBezTo>
                  <a:pt x="1114823" y="664757"/>
                  <a:pt x="598513" y="1378402"/>
                  <a:pt x="255291" y="2154810"/>
                </a:cubicBezTo>
                <a:cubicBezTo>
                  <a:pt x="233937" y="2203128"/>
                  <a:pt x="186080" y="2234292"/>
                  <a:pt x="133253" y="2234280"/>
                </a:cubicBezTo>
                <a:cubicBezTo>
                  <a:pt x="59566" y="2234186"/>
                  <a:pt x="-93" y="2174375"/>
                  <a:pt x="0" y="2100688"/>
                </a:cubicBezTo>
                <a:cubicBezTo>
                  <a:pt x="24" y="2082191"/>
                  <a:pt x="3893" y="2063902"/>
                  <a:pt x="11362" y="2046980"/>
                </a:cubicBezTo>
                <a:cubicBezTo>
                  <a:pt x="261126" y="1486382"/>
                  <a:pt x="588187" y="963534"/>
                  <a:pt x="983011" y="493676"/>
                </a:cubicBezTo>
                <a:cubicBezTo>
                  <a:pt x="1097446" y="356700"/>
                  <a:pt x="1218867" y="222004"/>
                  <a:pt x="1347027" y="89809"/>
                </a:cubicBezTo>
                <a:lnTo>
                  <a:pt x="1437237" y="0"/>
                </a:lnTo>
                <a:close/>
              </a:path>
            </a:pathLst>
          </a:custGeom>
          <a:solidFill>
            <a:srgbClr val="FFA169"/>
          </a:solidFill>
          <a:ln w="1270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7616F8CF-6A9D-4874-8D05-BB69A9E2BF71}"/>
              </a:ext>
            </a:extLst>
          </p:cNvPr>
          <p:cNvSpPr/>
          <p:nvPr/>
        </p:nvSpPr>
        <p:spPr>
          <a:xfrm>
            <a:off x="-3" y="1966905"/>
            <a:ext cx="6084624" cy="4134902"/>
          </a:xfrm>
          <a:custGeom>
            <a:avLst/>
            <a:gdLst>
              <a:gd name="connsiteX0" fmla="*/ 5952774 w 6084624"/>
              <a:gd name="connsiteY0" fmla="*/ 8 h 4134902"/>
              <a:gd name="connsiteX1" fmla="*/ 6004542 w 6084624"/>
              <a:gd name="connsiteY1" fmla="*/ 11149 h 4134902"/>
              <a:gd name="connsiteX2" fmla="*/ 6073475 w 6084624"/>
              <a:gd name="connsiteY2" fmla="*/ 186685 h 4134902"/>
              <a:gd name="connsiteX3" fmla="*/ 6072936 w 6084624"/>
              <a:gd name="connsiteY3" fmla="*/ 187906 h 4134902"/>
              <a:gd name="connsiteX4" fmla="*/ 5490882 w 6084624"/>
              <a:gd name="connsiteY4" fmla="*/ 3323469 h 4134902"/>
              <a:gd name="connsiteX5" fmla="*/ 5453886 w 6084624"/>
              <a:gd name="connsiteY5" fmla="*/ 4018214 h 4134902"/>
              <a:gd name="connsiteX6" fmla="*/ 5321583 w 6084624"/>
              <a:gd name="connsiteY6" fmla="*/ 4134902 h 4134902"/>
              <a:gd name="connsiteX7" fmla="*/ 0 w 6084624"/>
              <a:gd name="connsiteY7" fmla="*/ 4134902 h 4134902"/>
              <a:gd name="connsiteX8" fmla="*/ 0 w 6084624"/>
              <a:gd name="connsiteY8" fmla="*/ 3868202 h 4134902"/>
              <a:gd name="connsiteX9" fmla="*/ 5201206 w 6084624"/>
              <a:gd name="connsiteY9" fmla="*/ 3868202 h 4134902"/>
              <a:gd name="connsiteX10" fmla="*/ 5224268 w 6084624"/>
              <a:gd name="connsiteY10" fmla="*/ 3316604 h 4134902"/>
              <a:gd name="connsiteX11" fmla="*/ 5829007 w 6084624"/>
              <a:gd name="connsiteY11" fmla="*/ 80083 h 4134902"/>
              <a:gd name="connsiteX12" fmla="*/ 5952774 w 6084624"/>
              <a:gd name="connsiteY12" fmla="*/ 8 h 41349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84624" h="4134902">
                <a:moveTo>
                  <a:pt x="5952774" y="8"/>
                </a:moveTo>
                <a:cubicBezTo>
                  <a:pt x="5970096" y="199"/>
                  <a:pt x="5987665" y="3790"/>
                  <a:pt x="6004542" y="11149"/>
                </a:cubicBezTo>
                <a:cubicBezTo>
                  <a:pt x="6072050" y="40587"/>
                  <a:pt x="6102913" y="119177"/>
                  <a:pt x="6073475" y="186685"/>
                </a:cubicBezTo>
                <a:cubicBezTo>
                  <a:pt x="6073297" y="187093"/>
                  <a:pt x="6073118" y="187500"/>
                  <a:pt x="6072936" y="187906"/>
                </a:cubicBezTo>
                <a:cubicBezTo>
                  <a:pt x="5540646" y="1392040"/>
                  <a:pt x="5511879" y="2508362"/>
                  <a:pt x="5490882" y="3323469"/>
                </a:cubicBezTo>
                <a:cubicBezTo>
                  <a:pt x="5483904" y="3594042"/>
                  <a:pt x="5477890" y="3827721"/>
                  <a:pt x="5453886" y="4018214"/>
                </a:cubicBezTo>
                <a:cubicBezTo>
                  <a:pt x="5445489" y="4084891"/>
                  <a:pt x="5388787" y="4134901"/>
                  <a:pt x="5321583" y="4134902"/>
                </a:cubicBezTo>
                <a:lnTo>
                  <a:pt x="0" y="4134902"/>
                </a:lnTo>
                <a:lnTo>
                  <a:pt x="0" y="3868202"/>
                </a:lnTo>
                <a:lnTo>
                  <a:pt x="5201206" y="3868202"/>
                </a:lnTo>
                <a:cubicBezTo>
                  <a:pt x="5214092" y="3711647"/>
                  <a:pt x="5218886" y="3525414"/>
                  <a:pt x="5224268" y="3316604"/>
                </a:cubicBezTo>
                <a:cubicBezTo>
                  <a:pt x="5245842" y="2479251"/>
                  <a:pt x="5275391" y="1332453"/>
                  <a:pt x="5829007" y="80083"/>
                </a:cubicBezTo>
                <a:cubicBezTo>
                  <a:pt x="5851085" y="29452"/>
                  <a:pt x="5900811" y="-566"/>
                  <a:pt x="5952774" y="8"/>
                </a:cubicBezTo>
                <a:close/>
              </a:path>
            </a:pathLst>
          </a:custGeom>
          <a:solidFill>
            <a:srgbClr val="005C82"/>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231408927"/>
      </p:ext>
    </p:extLst>
  </p:cSld>
  <p:clrMapOvr>
    <a:masterClrMapping/>
  </p:clrMapOvr>
  <p:extLst>
    <p:ext uri="{DCECCB84-F9BA-43D5-87BE-67443E8EF086}">
      <p15:sldGuideLst xmlns:p15="http://schemas.microsoft.com/office/powerpoint/2012/main">
        <p15:guide id="1" orient="horz" pos="986" userDrawn="1">
          <p15:clr>
            <a:srgbClr val="A4A3A4"/>
          </p15:clr>
        </p15:guide>
        <p15:guide id="2" orient="horz" pos="1576" userDrawn="1">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and Quotation">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84091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840913" cy="720000"/>
          </a:xfrm>
        </p:spPr>
        <p:txBody>
          <a:bodyPr/>
          <a:lstStyle/>
          <a:p>
            <a:pPr lvl="0"/>
            <a:r>
              <a:rPr lang="en-US"/>
              <a:t>Click to edit Master title style</a:t>
            </a:r>
            <a:endParaRPr lang="en-GB" dirty="0"/>
          </a:p>
        </p:txBody>
      </p:sp>
      <p:sp>
        <p:nvSpPr>
          <p:cNvPr id="18" name="Text Quotation 1">
            <a:extLst>
              <a:ext uri="{FF2B5EF4-FFF2-40B4-BE49-F238E27FC236}">
                <a16:creationId xmlns:a16="http://schemas.microsoft.com/office/drawing/2014/main" id="{CF83A6C2-5484-4078-9A95-3943A67F863C}"/>
              </a:ext>
            </a:extLst>
          </p:cNvPr>
          <p:cNvSpPr>
            <a:spLocks noGrp="1"/>
          </p:cNvSpPr>
          <p:nvPr>
            <p:ph type="body" sz="quarter" idx="22" hasCustomPrompt="1"/>
          </p:nvPr>
        </p:nvSpPr>
        <p:spPr>
          <a:xfrm>
            <a:off x="8007350" y="3683303"/>
            <a:ext cx="3465512" cy="2453971"/>
          </a:xfrm>
        </p:spPr>
        <p:txBody>
          <a:bodyPr/>
          <a:lstStyle>
            <a:lvl1pPr marL="0" indent="0">
              <a:lnSpc>
                <a:spcPct val="90000"/>
              </a:lnSpc>
              <a:buFont typeface="Arial" panose="020B0604020202020204" pitchFamily="34" charset="0"/>
              <a:buNone/>
              <a:defRPr sz="2000" i="1">
                <a:solidFill>
                  <a:schemeClr val="accent1"/>
                </a:solidFill>
                <a:latin typeface="+mj-lt"/>
              </a:defRPr>
            </a:lvl1pPr>
            <a:lvl2pPr marL="0" indent="0">
              <a:lnSpc>
                <a:spcPct val="90000"/>
              </a:lnSpc>
              <a:buNone/>
              <a:defRPr sz="1600" i="1">
                <a:latin typeface="+mj-lt"/>
              </a:defRPr>
            </a:lvl2pPr>
            <a:lvl3pPr marL="0" indent="0">
              <a:lnSpc>
                <a:spcPct val="90000"/>
              </a:lnSpc>
              <a:buNone/>
              <a:defRPr sz="1000" i="0">
                <a:latin typeface="+mn-lt"/>
              </a:defRPr>
            </a:lvl3pPr>
            <a:lvl4pPr marL="0" indent="0">
              <a:lnSpc>
                <a:spcPct val="90000"/>
              </a:lnSpc>
              <a:buNone/>
              <a:defRPr sz="1800" i="1">
                <a:solidFill>
                  <a:schemeClr val="accent1"/>
                </a:solidFill>
                <a:latin typeface="+mj-lt"/>
              </a:defRPr>
            </a:lvl4pPr>
            <a:lvl5pPr marL="0" indent="0">
              <a:lnSpc>
                <a:spcPct val="90000"/>
              </a:lnSpc>
              <a:buFont typeface="Arial" panose="020B0604020202020204" pitchFamily="34" charset="0"/>
              <a:buNone/>
              <a:defRPr sz="1400" i="1">
                <a:latin typeface="+mj-lt"/>
              </a:defRPr>
            </a:lvl5pPr>
            <a:lvl6pPr marL="0" indent="0">
              <a:lnSpc>
                <a:spcPct val="90000"/>
              </a:lnSpc>
              <a:buFont typeface="Arial" panose="020B0604020202020204" pitchFamily="34" charset="0"/>
              <a:buNone/>
              <a:defRPr sz="1200" i="1">
                <a:latin typeface="+mj-lt"/>
              </a:defRPr>
            </a:lvl6pPr>
            <a:lvl7pPr marL="0" indent="0">
              <a:lnSpc>
                <a:spcPct val="90000"/>
              </a:lnSpc>
              <a:spcBef>
                <a:spcPts val="800"/>
              </a:spcBef>
              <a:buFont typeface="Arial" panose="020B0604020202020204" pitchFamily="34" charset="0"/>
              <a:buNone/>
              <a:defRPr sz="1400" i="0">
                <a:solidFill>
                  <a:schemeClr val="tx1"/>
                </a:solidFill>
                <a:latin typeface="+mn-lt"/>
              </a:defRPr>
            </a:lvl7pPr>
            <a:lvl8pPr marL="0" indent="0">
              <a:lnSpc>
                <a:spcPct val="90000"/>
              </a:lnSpc>
              <a:spcBef>
                <a:spcPts val="800"/>
              </a:spcBef>
              <a:buFont typeface="Arial" panose="020B0604020202020204" pitchFamily="34" charset="0"/>
              <a:buNone/>
              <a:defRPr sz="1200" i="0">
                <a:solidFill>
                  <a:schemeClr val="tx1"/>
                </a:solidFill>
                <a:latin typeface="+mn-lt"/>
              </a:defRPr>
            </a:lvl8pPr>
            <a:lvl9pPr marL="0" indent="0">
              <a:lnSpc>
                <a:spcPct val="90000"/>
              </a:lnSpc>
              <a:spcBef>
                <a:spcPts val="800"/>
              </a:spcBef>
              <a:buFont typeface="Arial" panose="020B0604020202020204" pitchFamily="34" charset="0"/>
              <a:buNone/>
              <a:defRPr sz="1000" i="0">
                <a:solidFill>
                  <a:schemeClr val="tx1"/>
                </a:solidFill>
                <a:latin typeface="+mn-lt"/>
              </a:defRPr>
            </a:lvl9pPr>
          </a:lstStyle>
          <a:p>
            <a:pPr lvl="0"/>
            <a:r>
              <a:rPr lang="en-GB" dirty="0"/>
              <a:t>Click to add quotation</a:t>
            </a:r>
          </a:p>
          <a:p>
            <a:pPr lvl="1"/>
            <a:r>
              <a:rPr lang="en-GB" dirty="0"/>
              <a:t>Second level – Name</a:t>
            </a:r>
          </a:p>
          <a:p>
            <a:pPr lvl="2"/>
            <a:r>
              <a:rPr lang="en-GB" dirty="0"/>
              <a:t>Third level – Job Title - Organisation</a:t>
            </a:r>
          </a:p>
          <a:p>
            <a:pPr lvl="3"/>
            <a:r>
              <a:rPr lang="en-GB" dirty="0"/>
              <a:t>Fourth level</a:t>
            </a:r>
          </a:p>
          <a:p>
            <a:pPr lvl="4"/>
            <a:r>
              <a:rPr lang="en-GB" dirty="0"/>
              <a:t>Fifth level – Number 1</a:t>
            </a:r>
          </a:p>
          <a:p>
            <a:pPr lvl="5"/>
            <a:r>
              <a:rPr lang="en-GB" dirty="0"/>
              <a:t>Sixth level – Number 2</a:t>
            </a:r>
          </a:p>
          <a:p>
            <a:pPr lvl="6"/>
            <a:r>
              <a:rPr lang="en-GB" dirty="0"/>
              <a:t>Seventh level – Heading 1</a:t>
            </a:r>
          </a:p>
          <a:p>
            <a:pPr lvl="7"/>
            <a:r>
              <a:rPr lang="en-GB" dirty="0"/>
              <a:t>Eighth level – Heading 2</a:t>
            </a:r>
          </a:p>
          <a:p>
            <a:pPr lvl="8"/>
            <a:r>
              <a:rPr lang="en-GB" dirty="0"/>
              <a:t>Ninth level – Pull-out</a:t>
            </a:r>
          </a:p>
        </p:txBody>
      </p:sp>
      <p:sp>
        <p:nvSpPr>
          <p:cNvPr id="21" name="Quote Icon">
            <a:extLst>
              <a:ext uri="{FF2B5EF4-FFF2-40B4-BE49-F238E27FC236}">
                <a16:creationId xmlns:a16="http://schemas.microsoft.com/office/drawing/2014/main" id="{83E37669-D60C-4BDC-89D8-76B20DB9CD69}"/>
              </a:ext>
            </a:extLst>
          </p:cNvPr>
          <p:cNvSpPr>
            <a:spLocks noGrp="1" noChangeAspect="1"/>
          </p:cNvSpPr>
          <p:nvPr>
            <p:ph type="body" sz="quarter" idx="23" hasCustomPrompt="1"/>
          </p:nvPr>
        </p:nvSpPr>
        <p:spPr>
          <a:xfrm>
            <a:off x="8007350" y="3084485"/>
            <a:ext cx="432000" cy="4320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sp>
        <p:nvSpPr>
          <p:cNvPr id="10" name="Freeform: Shape 9">
            <a:extLst>
              <a:ext uri="{FF2B5EF4-FFF2-40B4-BE49-F238E27FC236}">
                <a16:creationId xmlns:a16="http://schemas.microsoft.com/office/drawing/2014/main" id="{7C827E1D-DD48-44F3-B112-3D7A29CC8B57}"/>
              </a:ext>
            </a:extLst>
          </p:cNvPr>
          <p:cNvSpPr/>
          <p:nvPr/>
        </p:nvSpPr>
        <p:spPr>
          <a:xfrm>
            <a:off x="0" y="0"/>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1325EB17-9B77-4BB7-B493-547AA259F275}"/>
              </a:ext>
            </a:extLst>
          </p:cNvPr>
          <p:cNvSpPr/>
          <p:nvPr/>
        </p:nvSpPr>
        <p:spPr>
          <a:xfrm>
            <a:off x="7972806" y="2590800"/>
            <a:ext cx="4219193" cy="266700"/>
          </a:xfrm>
          <a:custGeom>
            <a:avLst/>
            <a:gdLst>
              <a:gd name="connsiteX0" fmla="*/ 133350 w 4219193"/>
              <a:gd name="connsiteY0" fmla="*/ 0 h 266700"/>
              <a:gd name="connsiteX1" fmla="*/ 0 w 4219193"/>
              <a:gd name="connsiteY1" fmla="*/ 133350 h 266700"/>
              <a:gd name="connsiteX2" fmla="*/ 133350 w 4219193"/>
              <a:gd name="connsiteY2" fmla="*/ 266700 h 266700"/>
              <a:gd name="connsiteX3" fmla="*/ 4219194 w 4219193"/>
              <a:gd name="connsiteY3" fmla="*/ 266700 h 266700"/>
              <a:gd name="connsiteX4" fmla="*/ 4219194 w 4219193"/>
              <a:gd name="connsiteY4" fmla="*/ 0 h 266700"/>
              <a:gd name="connsiteX5" fmla="*/ 133350 w 4219193"/>
              <a:gd name="connsiteY5" fmla="*/ 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19193" h="266700">
                <a:moveTo>
                  <a:pt x="133350" y="0"/>
                </a:moveTo>
                <a:cubicBezTo>
                  <a:pt x="59703" y="0"/>
                  <a:pt x="0" y="59703"/>
                  <a:pt x="0" y="133350"/>
                </a:cubicBezTo>
                <a:cubicBezTo>
                  <a:pt x="0" y="206997"/>
                  <a:pt x="59703" y="266700"/>
                  <a:pt x="133350" y="266700"/>
                </a:cubicBezTo>
                <a:lnTo>
                  <a:pt x="4219194" y="266700"/>
                </a:lnTo>
                <a:lnTo>
                  <a:pt x="4219194" y="0"/>
                </a:lnTo>
                <a:lnTo>
                  <a:pt x="133350" y="0"/>
                </a:lnTo>
                <a:close/>
              </a:path>
            </a:pathLst>
          </a:custGeom>
          <a:solidFill>
            <a:srgbClr val="FFE84C"/>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E4D3F087-01E9-453B-8992-8328DC5AED5E}"/>
              </a:ext>
            </a:extLst>
          </p:cNvPr>
          <p:cNvSpPr/>
          <p:nvPr/>
        </p:nvSpPr>
        <p:spPr>
          <a:xfrm>
            <a:off x="6323203" y="2591054"/>
            <a:ext cx="1916303" cy="4266945"/>
          </a:xfrm>
          <a:custGeom>
            <a:avLst/>
            <a:gdLst>
              <a:gd name="connsiteX0" fmla="*/ 1044067 w 1916303"/>
              <a:gd name="connsiteY0" fmla="*/ 797179 h 4266945"/>
              <a:gd name="connsiteX1" fmla="*/ 1066165 w 1916303"/>
              <a:gd name="connsiteY1" fmla="*/ 266700 h 4266945"/>
              <a:gd name="connsiteX2" fmla="*/ 1782953 w 1916303"/>
              <a:gd name="connsiteY2" fmla="*/ 266700 h 4266945"/>
              <a:gd name="connsiteX3" fmla="*/ 1916303 w 1916303"/>
              <a:gd name="connsiteY3" fmla="*/ 133350 h 4266945"/>
              <a:gd name="connsiteX4" fmla="*/ 1782953 w 1916303"/>
              <a:gd name="connsiteY4" fmla="*/ 0 h 4266945"/>
              <a:gd name="connsiteX5" fmla="*/ 945642 w 1916303"/>
              <a:gd name="connsiteY5" fmla="*/ 0 h 4266945"/>
              <a:gd name="connsiteX6" fmla="*/ 813435 w 1916303"/>
              <a:gd name="connsiteY6" fmla="*/ 116586 h 4266945"/>
              <a:gd name="connsiteX7" fmla="*/ 777494 w 1916303"/>
              <a:gd name="connsiteY7" fmla="*/ 790321 h 4266945"/>
              <a:gd name="connsiteX8" fmla="*/ 0 w 1916303"/>
              <a:gd name="connsiteY8" fmla="*/ 4266946 h 4266945"/>
              <a:gd name="connsiteX9" fmla="*/ 297307 w 1916303"/>
              <a:gd name="connsiteY9" fmla="*/ 4266946 h 4266945"/>
              <a:gd name="connsiteX10" fmla="*/ 594360 w 1916303"/>
              <a:gd name="connsiteY10" fmla="*/ 3597783 h 4266945"/>
              <a:gd name="connsiteX11" fmla="*/ 1044067 w 1916303"/>
              <a:gd name="connsiteY11" fmla="*/ 797179 h 4266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16303" h="4266945">
                <a:moveTo>
                  <a:pt x="1044067" y="797179"/>
                </a:moveTo>
                <a:cubicBezTo>
                  <a:pt x="1049274" y="596519"/>
                  <a:pt x="1053846" y="417449"/>
                  <a:pt x="1066165" y="266700"/>
                </a:cubicBezTo>
                <a:lnTo>
                  <a:pt x="1782953" y="266700"/>
                </a:lnTo>
                <a:cubicBezTo>
                  <a:pt x="1856601" y="266700"/>
                  <a:pt x="1916303" y="206997"/>
                  <a:pt x="1916303" y="133350"/>
                </a:cubicBezTo>
                <a:cubicBezTo>
                  <a:pt x="1916303" y="59703"/>
                  <a:pt x="1856601" y="0"/>
                  <a:pt x="1782953" y="0"/>
                </a:cubicBezTo>
                <a:lnTo>
                  <a:pt x="945642" y="0"/>
                </a:lnTo>
                <a:cubicBezTo>
                  <a:pt x="878487" y="-14"/>
                  <a:pt x="821821" y="49957"/>
                  <a:pt x="813435" y="116586"/>
                </a:cubicBezTo>
                <a:cubicBezTo>
                  <a:pt x="790067" y="301371"/>
                  <a:pt x="784225" y="527939"/>
                  <a:pt x="777494" y="790321"/>
                </a:cubicBezTo>
                <a:cubicBezTo>
                  <a:pt x="754380" y="1683004"/>
                  <a:pt x="721740" y="2947797"/>
                  <a:pt x="0" y="4266946"/>
                </a:cubicBezTo>
                <a:lnTo>
                  <a:pt x="297307" y="4266946"/>
                </a:lnTo>
                <a:cubicBezTo>
                  <a:pt x="409624" y="4050036"/>
                  <a:pt x="508820" y="3826580"/>
                  <a:pt x="594360" y="3597783"/>
                </a:cubicBezTo>
                <a:cubicBezTo>
                  <a:pt x="999744" y="2512441"/>
                  <a:pt x="1025398" y="1521079"/>
                  <a:pt x="1044067" y="797179"/>
                </a:cubicBezTo>
                <a:close/>
              </a:path>
            </a:pathLst>
          </a:custGeom>
          <a:solidFill>
            <a:schemeClr val="accent3"/>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4229492097"/>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ree Content 2">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8007349"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4362450"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9110662"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9110662" cy="720000"/>
          </a:xfrm>
        </p:spPr>
        <p:txBody>
          <a:bodyPr/>
          <a:lstStyle/>
          <a:p>
            <a:pPr lvl="0"/>
            <a:r>
              <a:rPr lang="en-US"/>
              <a:t>Click to edit Master title style</a:t>
            </a:r>
            <a:endParaRPr lang="en-GB" dirty="0"/>
          </a:p>
        </p:txBody>
      </p:sp>
      <p:sp>
        <p:nvSpPr>
          <p:cNvPr id="12" name="Freeform: Shape 11">
            <a:extLst>
              <a:ext uri="{FF2B5EF4-FFF2-40B4-BE49-F238E27FC236}">
                <a16:creationId xmlns:a16="http://schemas.microsoft.com/office/drawing/2014/main" id="{AB4A32E8-75AB-42D3-86D2-1B66C4AB73D9}"/>
              </a:ext>
            </a:extLst>
          </p:cNvPr>
          <p:cNvSpPr/>
          <p:nvPr userDrawn="1"/>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2"/>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1168678461"/>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hree Content 3">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6" name="Content Placeholder 3">
            <a:extLst>
              <a:ext uri="{FF2B5EF4-FFF2-40B4-BE49-F238E27FC236}">
                <a16:creationId xmlns:a16="http://schemas.microsoft.com/office/drawing/2014/main" id="{828B6303-5E5A-4F9F-B85F-7C003AC607B9}"/>
              </a:ext>
            </a:extLst>
          </p:cNvPr>
          <p:cNvSpPr>
            <a:spLocks noGrp="1"/>
          </p:cNvSpPr>
          <p:nvPr>
            <p:ph idx="14"/>
          </p:nvPr>
        </p:nvSpPr>
        <p:spPr>
          <a:xfrm>
            <a:off x="8007349"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Content Placeholder 2">
            <a:extLst>
              <a:ext uri="{FF2B5EF4-FFF2-40B4-BE49-F238E27FC236}">
                <a16:creationId xmlns:a16="http://schemas.microsoft.com/office/drawing/2014/main" id="{C14F23CB-D366-4F09-BEDD-C82A562BC064}"/>
              </a:ext>
            </a:extLst>
          </p:cNvPr>
          <p:cNvSpPr>
            <a:spLocks noGrp="1"/>
          </p:cNvSpPr>
          <p:nvPr>
            <p:ph idx="13"/>
          </p:nvPr>
        </p:nvSpPr>
        <p:spPr>
          <a:xfrm>
            <a:off x="4362450"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Content Placeholder 1">
            <a:extLst>
              <a:ext uri="{FF2B5EF4-FFF2-40B4-BE49-F238E27FC236}">
                <a16:creationId xmlns:a16="http://schemas.microsoft.com/office/drawing/2014/main" id="{2508DEB1-7FFB-4003-BD92-0A426636F4B2}"/>
              </a:ext>
            </a:extLst>
          </p:cNvPr>
          <p:cNvSpPr>
            <a:spLocks noGrp="1"/>
          </p:cNvSpPr>
          <p:nvPr>
            <p:ph idx="1"/>
          </p:nvPr>
        </p:nvSpPr>
        <p:spPr>
          <a:xfrm>
            <a:off x="719138"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9840913"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9" name="Freeform: Shape 8">
            <a:extLst>
              <a:ext uri="{FF2B5EF4-FFF2-40B4-BE49-F238E27FC236}">
                <a16:creationId xmlns:a16="http://schemas.microsoft.com/office/drawing/2014/main" id="{20C34EB3-71F9-4B2D-8EEE-10FB2F2DE143}"/>
              </a:ext>
            </a:extLst>
          </p:cNvPr>
          <p:cNvSpPr/>
          <p:nvPr/>
        </p:nvSpPr>
        <p:spPr>
          <a:xfrm>
            <a:off x="0" y="0"/>
            <a:ext cx="12192127" cy="6858000"/>
          </a:xfrm>
          <a:custGeom>
            <a:avLst/>
            <a:gdLst>
              <a:gd name="connsiteX0" fmla="*/ 0 w 12192127"/>
              <a:gd name="connsiteY0" fmla="*/ 0 h 6858000"/>
              <a:gd name="connsiteX1" fmla="*/ 12192127 w 12192127"/>
              <a:gd name="connsiteY1" fmla="*/ 0 h 6858000"/>
              <a:gd name="connsiteX2" fmla="*/ 12192127 w 12192127"/>
              <a:gd name="connsiteY2" fmla="*/ 6858000 h 6858000"/>
              <a:gd name="connsiteX3" fmla="*/ 0 w 1219212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127" h="6858000">
                <a:moveTo>
                  <a:pt x="0" y="0"/>
                </a:moveTo>
                <a:lnTo>
                  <a:pt x="12192127" y="0"/>
                </a:lnTo>
                <a:lnTo>
                  <a:pt x="12192127" y="6858000"/>
                </a:lnTo>
                <a:lnTo>
                  <a:pt x="0" y="6858000"/>
                </a:lnTo>
                <a:close/>
              </a:path>
            </a:pathLst>
          </a:custGeom>
          <a:noFill/>
          <a:ln w="12700" cap="flat">
            <a:noFill/>
            <a:prstDash val="solid"/>
            <a:miter/>
          </a:ln>
        </p:spPr>
        <p:txBody>
          <a:bodyPr rtlCol="0" anchor="ctr"/>
          <a:lstStyle/>
          <a:p>
            <a:endParaRPr lang="en-GB"/>
          </a:p>
        </p:txBody>
      </p:sp>
      <p:sp>
        <p:nvSpPr>
          <p:cNvPr id="10" name="Freeform: Shape 9">
            <a:extLst>
              <a:ext uri="{FF2B5EF4-FFF2-40B4-BE49-F238E27FC236}">
                <a16:creationId xmlns:a16="http://schemas.microsoft.com/office/drawing/2014/main" id="{39AB9437-5153-4E47-9687-8F42B346B14C}"/>
              </a:ext>
            </a:extLst>
          </p:cNvPr>
          <p:cNvSpPr/>
          <p:nvPr/>
        </p:nvSpPr>
        <p:spPr>
          <a:xfrm>
            <a:off x="0" y="0"/>
            <a:ext cx="12192127" cy="6858000"/>
          </a:xfrm>
          <a:custGeom>
            <a:avLst/>
            <a:gdLst>
              <a:gd name="connsiteX0" fmla="*/ 0 w 12192127"/>
              <a:gd name="connsiteY0" fmla="*/ 0 h 6858000"/>
              <a:gd name="connsiteX1" fmla="*/ 12192127 w 12192127"/>
              <a:gd name="connsiteY1" fmla="*/ 0 h 6858000"/>
              <a:gd name="connsiteX2" fmla="*/ 12192127 w 12192127"/>
              <a:gd name="connsiteY2" fmla="*/ 6858000 h 6858000"/>
              <a:gd name="connsiteX3" fmla="*/ 0 w 1219212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127" h="6858000">
                <a:moveTo>
                  <a:pt x="0" y="0"/>
                </a:moveTo>
                <a:lnTo>
                  <a:pt x="12192127" y="0"/>
                </a:lnTo>
                <a:lnTo>
                  <a:pt x="12192127" y="6858000"/>
                </a:lnTo>
                <a:lnTo>
                  <a:pt x="0" y="6858000"/>
                </a:lnTo>
                <a:close/>
              </a:path>
            </a:pathLst>
          </a:custGeom>
          <a:noFill/>
          <a:ln w="12700"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88B3C57A-F96E-40E7-A327-2E5A668D994C}"/>
              </a:ext>
            </a:extLst>
          </p:cNvPr>
          <p:cNvSpPr/>
          <p:nvPr/>
        </p:nvSpPr>
        <p:spPr>
          <a:xfrm>
            <a:off x="8958833" y="0"/>
            <a:ext cx="3233293" cy="1615694"/>
          </a:xfrm>
          <a:custGeom>
            <a:avLst/>
            <a:gdLst>
              <a:gd name="connsiteX0" fmla="*/ 297942 w 3233293"/>
              <a:gd name="connsiteY0" fmla="*/ 316484 h 1615694"/>
              <a:gd name="connsiteX1" fmla="*/ 3233293 w 3233293"/>
              <a:gd name="connsiteY1" fmla="*/ 1615694 h 1615694"/>
              <a:gd name="connsiteX2" fmla="*/ 3233293 w 3233293"/>
              <a:gd name="connsiteY2" fmla="*/ 0 h 1615694"/>
              <a:gd name="connsiteX3" fmla="*/ 0 w 3233293"/>
              <a:gd name="connsiteY3" fmla="*/ 0 h 1615694"/>
              <a:gd name="connsiteX4" fmla="*/ 297942 w 3233293"/>
              <a:gd name="connsiteY4" fmla="*/ 316484 h 16156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3293" h="1615694">
                <a:moveTo>
                  <a:pt x="297942" y="316484"/>
                </a:moveTo>
                <a:cubicBezTo>
                  <a:pt x="1101217" y="1095629"/>
                  <a:pt x="2088642" y="1532382"/>
                  <a:pt x="3233293" y="1615694"/>
                </a:cubicBezTo>
                <a:lnTo>
                  <a:pt x="3233293" y="0"/>
                </a:lnTo>
                <a:lnTo>
                  <a:pt x="0" y="0"/>
                </a:lnTo>
                <a:cubicBezTo>
                  <a:pt x="88519" y="102870"/>
                  <a:pt x="187706" y="209550"/>
                  <a:pt x="297942" y="316484"/>
                </a:cubicBezTo>
                <a:close/>
              </a:path>
            </a:pathLst>
          </a:custGeom>
          <a:no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97C31D8C-1F17-46A9-B024-3B19A10B3DA3}"/>
              </a:ext>
            </a:extLst>
          </p:cNvPr>
          <p:cNvSpPr/>
          <p:nvPr/>
        </p:nvSpPr>
        <p:spPr>
          <a:xfrm>
            <a:off x="8612632" y="0"/>
            <a:ext cx="3579368" cy="1883155"/>
          </a:xfrm>
          <a:custGeom>
            <a:avLst/>
            <a:gdLst>
              <a:gd name="connsiteX0" fmla="*/ 450088 w 3579368"/>
              <a:gd name="connsiteY0" fmla="*/ 499872 h 1883155"/>
              <a:gd name="connsiteX1" fmla="*/ 1723898 w 3579368"/>
              <a:gd name="connsiteY1" fmla="*/ 1398143 h 1883155"/>
              <a:gd name="connsiteX2" fmla="*/ 3579368 w 3579368"/>
              <a:gd name="connsiteY2" fmla="*/ 1883156 h 1883155"/>
              <a:gd name="connsiteX3" fmla="*/ 3579368 w 3579368"/>
              <a:gd name="connsiteY3" fmla="*/ 1615694 h 1883155"/>
              <a:gd name="connsiteX4" fmla="*/ 644017 w 3579368"/>
              <a:gd name="connsiteY4" fmla="*/ 316484 h 1883155"/>
              <a:gd name="connsiteX5" fmla="*/ 346075 w 3579368"/>
              <a:gd name="connsiteY5" fmla="*/ 0 h 1883155"/>
              <a:gd name="connsiteX6" fmla="*/ 0 w 3579368"/>
              <a:gd name="connsiteY6" fmla="*/ 0 h 1883155"/>
              <a:gd name="connsiteX7" fmla="*/ 450088 w 3579368"/>
              <a:gd name="connsiteY7" fmla="*/ 499872 h 1883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368" h="1883155">
                <a:moveTo>
                  <a:pt x="450088" y="499872"/>
                </a:moveTo>
                <a:cubicBezTo>
                  <a:pt x="823820" y="865611"/>
                  <a:pt x="1253909" y="1168903"/>
                  <a:pt x="1723898" y="1398143"/>
                </a:cubicBezTo>
                <a:cubicBezTo>
                  <a:pt x="2291335" y="1673987"/>
                  <a:pt x="2915412" y="1837055"/>
                  <a:pt x="3579368" y="1883156"/>
                </a:cubicBezTo>
                <a:lnTo>
                  <a:pt x="3579368" y="1615694"/>
                </a:lnTo>
                <a:cubicBezTo>
                  <a:pt x="2434717" y="1532382"/>
                  <a:pt x="1447292" y="1095629"/>
                  <a:pt x="644017" y="316484"/>
                </a:cubicBezTo>
                <a:cubicBezTo>
                  <a:pt x="533781" y="209550"/>
                  <a:pt x="434594" y="102870"/>
                  <a:pt x="346075" y="0"/>
                </a:cubicBezTo>
                <a:lnTo>
                  <a:pt x="0" y="0"/>
                </a:lnTo>
                <a:cubicBezTo>
                  <a:pt x="138966" y="176263"/>
                  <a:pt x="289316" y="343244"/>
                  <a:pt x="450088" y="499872"/>
                </a:cubicBezTo>
                <a:close/>
              </a:path>
            </a:pathLst>
          </a:custGeom>
          <a:solidFill>
            <a:schemeClr val="accent5"/>
          </a:solidFill>
          <a:ln w="12700" cap="flat">
            <a:noFill/>
            <a:prstDash val="solid"/>
            <a:miter/>
          </a:ln>
        </p:spPr>
        <p:txBody>
          <a:bodyPr rtlCol="0" anchor="ctr"/>
          <a:lstStyle/>
          <a:p>
            <a:endParaRPr lang="en-GB"/>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9840912"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3028809922"/>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hree Content and Image">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1CD836DB-20FF-4ECB-BFDB-285EE8F4E18F}"/>
              </a:ext>
            </a:extLst>
          </p:cNvPr>
          <p:cNvGrpSpPr/>
          <p:nvPr userDrawn="1"/>
        </p:nvGrpSpPr>
        <p:grpSpPr>
          <a:xfrm>
            <a:off x="8944357" y="1706544"/>
            <a:ext cx="3247771" cy="5151963"/>
            <a:chOff x="8944357" y="1706544"/>
            <a:chExt cx="3247771" cy="5151963"/>
          </a:xfrm>
        </p:grpSpPr>
        <p:sp>
          <p:nvSpPr>
            <p:cNvPr id="18" name="Freeform: Shape 17">
              <a:extLst>
                <a:ext uri="{FF2B5EF4-FFF2-40B4-BE49-F238E27FC236}">
                  <a16:creationId xmlns:a16="http://schemas.microsoft.com/office/drawing/2014/main" id="{05966845-85E6-49B2-AB13-39C3A22ACF17}"/>
                </a:ext>
              </a:extLst>
            </p:cNvPr>
            <p:cNvSpPr/>
            <p:nvPr/>
          </p:nvSpPr>
          <p:spPr>
            <a:xfrm>
              <a:off x="10661843" y="1723135"/>
              <a:ext cx="1530285" cy="499378"/>
            </a:xfrm>
            <a:custGeom>
              <a:avLst/>
              <a:gdLst>
                <a:gd name="connsiteX0" fmla="*/ 156018 w 1530285"/>
                <a:gd name="connsiteY0" fmla="*/ 197739 h 499378"/>
                <a:gd name="connsiteX1" fmla="*/ 1904 w 1530285"/>
                <a:gd name="connsiteY1" fmla="*/ 307150 h 499378"/>
                <a:gd name="connsiteX2" fmla="*/ 111314 w 1530285"/>
                <a:gd name="connsiteY2" fmla="*/ 461264 h 499378"/>
                <a:gd name="connsiteX3" fmla="*/ 561657 w 1530285"/>
                <a:gd name="connsiteY3" fmla="*/ 499364 h 499378"/>
                <a:gd name="connsiteX4" fmla="*/ 1443799 w 1530285"/>
                <a:gd name="connsiteY4" fmla="*/ 331343 h 499378"/>
                <a:gd name="connsiteX5" fmla="*/ 1530286 w 1530285"/>
                <a:gd name="connsiteY5" fmla="*/ 294259 h 499378"/>
                <a:gd name="connsiteX6" fmla="*/ 1530286 w 1530285"/>
                <a:gd name="connsiteY6" fmla="*/ 0 h 499378"/>
                <a:gd name="connsiteX7" fmla="*/ 156018 w 1530285"/>
                <a:gd name="connsiteY7" fmla="*/ 197739 h 499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30285" h="499378">
                  <a:moveTo>
                    <a:pt x="156018" y="197739"/>
                  </a:moveTo>
                  <a:cubicBezTo>
                    <a:pt x="83248" y="185395"/>
                    <a:pt x="14249" y="234379"/>
                    <a:pt x="1904" y="307150"/>
                  </a:cubicBezTo>
                  <a:cubicBezTo>
                    <a:pt x="-10441" y="379920"/>
                    <a:pt x="38544" y="448920"/>
                    <a:pt x="111314" y="461264"/>
                  </a:cubicBezTo>
                  <a:cubicBezTo>
                    <a:pt x="260093" y="486584"/>
                    <a:pt x="410739" y="499329"/>
                    <a:pt x="561657" y="499364"/>
                  </a:cubicBezTo>
                  <a:cubicBezTo>
                    <a:pt x="863755" y="500417"/>
                    <a:pt x="1163239" y="443375"/>
                    <a:pt x="1443799" y="331343"/>
                  </a:cubicBezTo>
                  <a:cubicBezTo>
                    <a:pt x="1472882" y="319659"/>
                    <a:pt x="1501711" y="307213"/>
                    <a:pt x="1530286" y="294259"/>
                  </a:cubicBezTo>
                  <a:lnTo>
                    <a:pt x="1530286" y="0"/>
                  </a:lnTo>
                  <a:cubicBezTo>
                    <a:pt x="1126426" y="210693"/>
                    <a:pt x="653859" y="282194"/>
                    <a:pt x="156018" y="197739"/>
                  </a:cubicBezTo>
                  <a:close/>
                </a:path>
              </a:pathLst>
            </a:custGeom>
            <a:solidFill>
              <a:srgbClr val="9EDED4"/>
            </a:solid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A0D2D12A-F7B7-4BA7-AB91-7EC22598788D}"/>
                </a:ext>
              </a:extLst>
            </p:cNvPr>
            <p:cNvSpPr/>
            <p:nvPr/>
          </p:nvSpPr>
          <p:spPr>
            <a:xfrm>
              <a:off x="8944357" y="1706544"/>
              <a:ext cx="1984567" cy="5151963"/>
            </a:xfrm>
            <a:custGeom>
              <a:avLst/>
              <a:gdLst>
                <a:gd name="connsiteX0" fmla="*/ 1510919 w 1984567"/>
                <a:gd name="connsiteY0" fmla="*/ 2170384 h 5151963"/>
                <a:gd name="connsiteX1" fmla="*/ 1344041 w 1984567"/>
                <a:gd name="connsiteY1" fmla="*/ 352379 h 5151963"/>
                <a:gd name="connsiteX2" fmla="*/ 1828800 w 1984567"/>
                <a:gd name="connsiteY2" fmla="*/ 477855 h 5151963"/>
                <a:gd name="connsiteX3" fmla="*/ 1982660 w 1984567"/>
                <a:gd name="connsiteY3" fmla="*/ 368699 h 5151963"/>
                <a:gd name="connsiteX4" fmla="*/ 1873504 w 1984567"/>
                <a:gd name="connsiteY4" fmla="*/ 214838 h 5151963"/>
                <a:gd name="connsiteX5" fmla="*/ 1199642 w 1984567"/>
                <a:gd name="connsiteY5" fmla="*/ 11003 h 5151963"/>
                <a:gd name="connsiteX6" fmla="*/ 1024297 w 1984567"/>
                <a:gd name="connsiteY6" fmla="*/ 80421 h 5151963"/>
                <a:gd name="connsiteX7" fmla="*/ 1019810 w 1984567"/>
                <a:gd name="connsiteY7" fmla="*/ 174452 h 5151963"/>
                <a:gd name="connsiteX8" fmla="*/ 1244600 w 1984567"/>
                <a:gd name="connsiteY8" fmla="*/ 2157812 h 5151963"/>
                <a:gd name="connsiteX9" fmla="*/ 0 w 1984567"/>
                <a:gd name="connsiteY9" fmla="*/ 5151964 h 5151963"/>
                <a:gd name="connsiteX10" fmla="*/ 363474 w 1984567"/>
                <a:gd name="connsiteY10" fmla="*/ 5151964 h 5151963"/>
                <a:gd name="connsiteX11" fmla="*/ 1079500 w 1984567"/>
                <a:gd name="connsiteY11" fmla="*/ 4042619 h 5151963"/>
                <a:gd name="connsiteX12" fmla="*/ 1510919 w 1984567"/>
                <a:gd name="connsiteY12" fmla="*/ 2170384 h 5151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84567" h="5151963">
                  <a:moveTo>
                    <a:pt x="1510919" y="2170384"/>
                  </a:moveTo>
                  <a:cubicBezTo>
                    <a:pt x="1539305" y="1559589"/>
                    <a:pt x="1483148" y="947800"/>
                    <a:pt x="1344041" y="352379"/>
                  </a:cubicBezTo>
                  <a:cubicBezTo>
                    <a:pt x="1501954" y="407291"/>
                    <a:pt x="1664076" y="449255"/>
                    <a:pt x="1828800" y="477855"/>
                  </a:cubicBezTo>
                  <a:cubicBezTo>
                    <a:pt x="1901430" y="490200"/>
                    <a:pt x="1970316" y="441329"/>
                    <a:pt x="1982660" y="368699"/>
                  </a:cubicBezTo>
                  <a:cubicBezTo>
                    <a:pt x="1995005" y="296069"/>
                    <a:pt x="1946134" y="227183"/>
                    <a:pt x="1873504" y="214838"/>
                  </a:cubicBezTo>
                  <a:cubicBezTo>
                    <a:pt x="1641537" y="174100"/>
                    <a:pt x="1415298" y="105666"/>
                    <a:pt x="1199642" y="11003"/>
                  </a:cubicBezTo>
                  <a:cubicBezTo>
                    <a:pt x="1132053" y="-18248"/>
                    <a:pt x="1053548" y="12831"/>
                    <a:pt x="1024297" y="80421"/>
                  </a:cubicBezTo>
                  <a:cubicBezTo>
                    <a:pt x="1011420" y="110176"/>
                    <a:pt x="1009825" y="143605"/>
                    <a:pt x="1019810" y="174452"/>
                  </a:cubicBezTo>
                  <a:cubicBezTo>
                    <a:pt x="1022604" y="183088"/>
                    <a:pt x="1299210" y="1052911"/>
                    <a:pt x="1244600" y="2157812"/>
                  </a:cubicBezTo>
                  <a:cubicBezTo>
                    <a:pt x="1184783" y="3375869"/>
                    <a:pt x="766699" y="4380312"/>
                    <a:pt x="0" y="5151964"/>
                  </a:cubicBezTo>
                  <a:lnTo>
                    <a:pt x="363474" y="5151964"/>
                  </a:lnTo>
                  <a:cubicBezTo>
                    <a:pt x="656641" y="4820341"/>
                    <a:pt x="898039" y="4446342"/>
                    <a:pt x="1079500" y="4042619"/>
                  </a:cubicBezTo>
                  <a:cubicBezTo>
                    <a:pt x="1332357" y="3479882"/>
                    <a:pt x="1477645" y="2850216"/>
                    <a:pt x="1510919" y="2170384"/>
                  </a:cubicBezTo>
                  <a:close/>
                </a:path>
              </a:pathLst>
            </a:custGeom>
            <a:solidFill>
              <a:srgbClr val="85ABE3"/>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6186489" y="2128838"/>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3452814" y="2128838"/>
            <a:ext cx="2552699"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9" y="2128838"/>
            <a:ext cx="255270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892968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p:txBody>
          <a:bodyPr/>
          <a:lstStyle/>
          <a:p>
            <a:pPr lvl="0"/>
            <a:r>
              <a:rPr lang="en-US"/>
              <a:t>Click to edit Master title style</a:t>
            </a:r>
            <a:endParaRPr lang="en-GB" dirty="0"/>
          </a:p>
        </p:txBody>
      </p:sp>
      <p:sp>
        <p:nvSpPr>
          <p:cNvPr id="6" name="Picture Placeholder 5">
            <a:extLst>
              <a:ext uri="{FF2B5EF4-FFF2-40B4-BE49-F238E27FC236}">
                <a16:creationId xmlns:a16="http://schemas.microsoft.com/office/drawing/2014/main" id="{4B43E360-FC59-4631-9065-F313F8D5F664}"/>
              </a:ext>
            </a:extLst>
          </p:cNvPr>
          <p:cNvSpPr>
            <a:spLocks noGrp="1"/>
          </p:cNvSpPr>
          <p:nvPr>
            <p:ph type="pic" sz="quarter" idx="15"/>
          </p:nvPr>
        </p:nvSpPr>
        <p:spPr>
          <a:xfrm>
            <a:off x="8918575" y="2127906"/>
            <a:ext cx="2552699" cy="4006800"/>
          </a:xfrm>
        </p:spPr>
        <p:txBody>
          <a:bodyPr/>
          <a:lstStyle/>
          <a:p>
            <a:r>
              <a:rPr lang="en-US"/>
              <a:t>Click icon to add picture</a:t>
            </a:r>
            <a:endParaRPr lang="en-GB" dirty="0"/>
          </a:p>
        </p:txBody>
      </p:sp>
      <p:sp>
        <p:nvSpPr>
          <p:cNvPr id="17" name="Freeform: Shape 16">
            <a:extLst>
              <a:ext uri="{FF2B5EF4-FFF2-40B4-BE49-F238E27FC236}">
                <a16:creationId xmlns:a16="http://schemas.microsoft.com/office/drawing/2014/main" id="{324DC9B5-A353-4960-B089-EE1C2A20997D}"/>
              </a:ext>
            </a:extLst>
          </p:cNvPr>
          <p:cNvSpPr/>
          <p:nvPr/>
        </p:nvSpPr>
        <p:spPr>
          <a:xfrm>
            <a:off x="0" y="-1"/>
            <a:ext cx="12193145" cy="6858001"/>
          </a:xfrm>
          <a:custGeom>
            <a:avLst/>
            <a:gdLst>
              <a:gd name="connsiteX0" fmla="*/ 0 w 12193145"/>
              <a:gd name="connsiteY0" fmla="*/ 0 h 6858001"/>
              <a:gd name="connsiteX1" fmla="*/ 12193145 w 12193145"/>
              <a:gd name="connsiteY1" fmla="*/ 0 h 6858001"/>
              <a:gd name="connsiteX2" fmla="*/ 12193145 w 12193145"/>
              <a:gd name="connsiteY2" fmla="*/ 6858001 h 6858001"/>
              <a:gd name="connsiteX3" fmla="*/ 0 w 12193145"/>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12193145" h="6858001">
                <a:moveTo>
                  <a:pt x="0" y="0"/>
                </a:moveTo>
                <a:lnTo>
                  <a:pt x="12193145" y="0"/>
                </a:lnTo>
                <a:lnTo>
                  <a:pt x="12193145" y="6858001"/>
                </a:lnTo>
                <a:lnTo>
                  <a:pt x="0" y="6858001"/>
                </a:lnTo>
                <a:close/>
              </a:path>
            </a:pathLst>
          </a:custGeom>
          <a:no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264826261"/>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our Content 2">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1" name="Content Placeholder 4">
            <a:extLst>
              <a:ext uri="{FF2B5EF4-FFF2-40B4-BE49-F238E27FC236}">
                <a16:creationId xmlns:a16="http://schemas.microsoft.com/office/drawing/2014/main" id="{3412C500-9DEE-4B4E-9124-5BC82CD83A06}"/>
              </a:ext>
            </a:extLst>
          </p:cNvPr>
          <p:cNvSpPr>
            <a:spLocks noGrp="1"/>
          </p:cNvSpPr>
          <p:nvPr>
            <p:ph idx="15"/>
          </p:nvPr>
        </p:nvSpPr>
        <p:spPr>
          <a:xfrm>
            <a:off x="8920163" y="2128837"/>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6186489" y="2128837"/>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3452814" y="2128837"/>
            <a:ext cx="2552699"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9" y="2128837"/>
            <a:ext cx="255270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9110662"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9110663" cy="720000"/>
          </a:xfrm>
        </p:spPr>
        <p:txBody>
          <a:bodyPr/>
          <a:lstStyle/>
          <a:p>
            <a:pPr lvl="0"/>
            <a:r>
              <a:rPr lang="en-US"/>
              <a:t>Click to edit Master title style</a:t>
            </a:r>
            <a:endParaRPr lang="en-GB" dirty="0"/>
          </a:p>
        </p:txBody>
      </p:sp>
      <p:sp>
        <p:nvSpPr>
          <p:cNvPr id="14" name="Freeform: Shape 13">
            <a:extLst>
              <a:ext uri="{FF2B5EF4-FFF2-40B4-BE49-F238E27FC236}">
                <a16:creationId xmlns:a16="http://schemas.microsoft.com/office/drawing/2014/main" id="{06E694C4-9BFB-4141-B1A7-97C150BE685E}"/>
              </a:ext>
            </a:extLst>
          </p:cNvPr>
          <p:cNvSpPr/>
          <p:nvPr userDrawn="1"/>
        </p:nvSpPr>
        <p:spPr>
          <a:xfrm>
            <a:off x="10035754" y="0"/>
            <a:ext cx="2156247" cy="1827626"/>
          </a:xfrm>
          <a:custGeom>
            <a:avLst/>
            <a:gdLst>
              <a:gd name="connsiteX0" fmla="*/ 0 w 2156247"/>
              <a:gd name="connsiteY0" fmla="*/ 0 h 1827626"/>
              <a:gd name="connsiteX1" fmla="*/ 286788 w 2156247"/>
              <a:gd name="connsiteY1" fmla="*/ 0 h 1827626"/>
              <a:gd name="connsiteX2" fmla="*/ 339131 w 2156247"/>
              <a:gd name="connsiteY2" fmla="*/ 139726 h 1827626"/>
              <a:gd name="connsiteX3" fmla="*/ 407740 w 2156247"/>
              <a:gd name="connsiteY3" fmla="*/ 1469289 h 1827626"/>
              <a:gd name="connsiteX4" fmla="*/ 1431244 w 2156247"/>
              <a:gd name="connsiteY4" fmla="*/ 1170269 h 1827626"/>
              <a:gd name="connsiteX5" fmla="*/ 2013230 w 2156247"/>
              <a:gd name="connsiteY5" fmla="*/ 1079044 h 1827626"/>
              <a:gd name="connsiteX6" fmla="*/ 2156247 w 2156247"/>
              <a:gd name="connsiteY6" fmla="*/ 1067632 h 1827626"/>
              <a:gd name="connsiteX7" fmla="*/ 2156247 w 2156247"/>
              <a:gd name="connsiteY7" fmla="*/ 1335041 h 1827626"/>
              <a:gd name="connsiteX8" fmla="*/ 2038744 w 2156247"/>
              <a:gd name="connsiteY8" fmla="*/ 1344507 h 1827626"/>
              <a:gd name="connsiteX9" fmla="*/ 1484978 w 2156247"/>
              <a:gd name="connsiteY9" fmla="*/ 1431508 h 1827626"/>
              <a:gd name="connsiteX10" fmla="*/ 276456 w 2156247"/>
              <a:gd name="connsiteY10" fmla="*/ 1814286 h 1827626"/>
              <a:gd name="connsiteX11" fmla="*/ 218339 w 2156247"/>
              <a:gd name="connsiteY11" fmla="*/ 1827626 h 1827626"/>
              <a:gd name="connsiteX12" fmla="*/ 84960 w 2156247"/>
              <a:gd name="connsiteY12" fmla="*/ 1694305 h 1827626"/>
              <a:gd name="connsiteX13" fmla="*/ 89714 w 2156247"/>
              <a:gd name="connsiteY13" fmla="*/ 1658992 h 1827626"/>
              <a:gd name="connsiteX14" fmla="*/ 59768 w 2156247"/>
              <a:gd name="connsiteY14" fmla="*/ 140446 h 1827626"/>
              <a:gd name="connsiteX15" fmla="*/ 0 w 2156247"/>
              <a:gd name="connsiteY15" fmla="*/ 0 h 1827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56247" h="1827626">
                <a:moveTo>
                  <a:pt x="0" y="0"/>
                </a:moveTo>
                <a:lnTo>
                  <a:pt x="286788" y="0"/>
                </a:lnTo>
                <a:lnTo>
                  <a:pt x="339131" y="139726"/>
                </a:lnTo>
                <a:cubicBezTo>
                  <a:pt x="475668" y="550650"/>
                  <a:pt x="498550" y="996849"/>
                  <a:pt x="407740" y="1469289"/>
                </a:cubicBezTo>
                <a:cubicBezTo>
                  <a:pt x="740086" y="1341586"/>
                  <a:pt x="1082420" y="1241572"/>
                  <a:pt x="1431244" y="1170269"/>
                </a:cubicBezTo>
                <a:cubicBezTo>
                  <a:pt x="1604970" y="1134538"/>
                  <a:pt x="1800802" y="1101975"/>
                  <a:pt x="2013230" y="1079044"/>
                </a:cubicBezTo>
                <a:lnTo>
                  <a:pt x="2156247" y="1067632"/>
                </a:lnTo>
                <a:lnTo>
                  <a:pt x="2156247" y="1335041"/>
                </a:lnTo>
                <a:lnTo>
                  <a:pt x="2038744" y="1344507"/>
                </a:lnTo>
                <a:cubicBezTo>
                  <a:pt x="1836749" y="1366440"/>
                  <a:pt x="1650388" y="1397484"/>
                  <a:pt x="1484978" y="1431508"/>
                </a:cubicBezTo>
                <a:cubicBezTo>
                  <a:pt x="766199" y="1579350"/>
                  <a:pt x="281272" y="1811953"/>
                  <a:pt x="276456" y="1814286"/>
                </a:cubicBezTo>
                <a:cubicBezTo>
                  <a:pt x="258340" y="1823066"/>
                  <a:pt x="238470" y="1827626"/>
                  <a:pt x="218339" y="1827626"/>
                </a:cubicBezTo>
                <a:cubicBezTo>
                  <a:pt x="144692" y="1827642"/>
                  <a:pt x="84977" y="1767952"/>
                  <a:pt x="84960" y="1694305"/>
                </a:cubicBezTo>
                <a:cubicBezTo>
                  <a:pt x="84958" y="1682374"/>
                  <a:pt x="86556" y="1670497"/>
                  <a:pt x="89714" y="1658992"/>
                </a:cubicBezTo>
                <a:cubicBezTo>
                  <a:pt x="241947" y="1104217"/>
                  <a:pt x="228094" y="584729"/>
                  <a:pt x="59768" y="140446"/>
                </a:cubicBezTo>
                <a:lnTo>
                  <a:pt x="0" y="0"/>
                </a:lnTo>
                <a:close/>
              </a:path>
            </a:pathLst>
          </a:custGeom>
          <a:solidFill>
            <a:schemeClr val="accent3"/>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865536544"/>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our Content 3">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1" name="Content Placeholder 4">
            <a:extLst>
              <a:ext uri="{FF2B5EF4-FFF2-40B4-BE49-F238E27FC236}">
                <a16:creationId xmlns:a16="http://schemas.microsoft.com/office/drawing/2014/main" id="{3412C500-9DEE-4B4E-9124-5BC82CD83A06}"/>
              </a:ext>
            </a:extLst>
          </p:cNvPr>
          <p:cNvSpPr>
            <a:spLocks noGrp="1"/>
          </p:cNvSpPr>
          <p:nvPr>
            <p:ph idx="15"/>
          </p:nvPr>
        </p:nvSpPr>
        <p:spPr>
          <a:xfrm>
            <a:off x="8920163" y="2128838"/>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6186489" y="2128838"/>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3452814" y="2128838"/>
            <a:ext cx="2552699"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9" y="2128838"/>
            <a:ext cx="255270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9840912"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8201026" cy="720000"/>
          </a:xfrm>
        </p:spPr>
        <p:txBody>
          <a:bodyPr/>
          <a:lstStyle/>
          <a:p>
            <a:pPr lvl="0"/>
            <a:r>
              <a:rPr lang="en-US"/>
              <a:t>Click to edit Master title style</a:t>
            </a:r>
            <a:endParaRPr lang="en-GB" dirty="0"/>
          </a:p>
        </p:txBody>
      </p:sp>
      <p:sp>
        <p:nvSpPr>
          <p:cNvPr id="16" name="Freeform: Shape 15">
            <a:extLst>
              <a:ext uri="{FF2B5EF4-FFF2-40B4-BE49-F238E27FC236}">
                <a16:creationId xmlns:a16="http://schemas.microsoft.com/office/drawing/2014/main" id="{A3FBBA86-6D28-470B-B82F-E07AEEEA545A}"/>
              </a:ext>
            </a:extLst>
          </p:cNvPr>
          <p:cNvSpPr/>
          <p:nvPr userDrawn="1"/>
        </p:nvSpPr>
        <p:spPr>
          <a:xfrm>
            <a:off x="8612632" y="0"/>
            <a:ext cx="3579368" cy="1883155"/>
          </a:xfrm>
          <a:custGeom>
            <a:avLst/>
            <a:gdLst>
              <a:gd name="connsiteX0" fmla="*/ 450088 w 3579368"/>
              <a:gd name="connsiteY0" fmla="*/ 499872 h 1883155"/>
              <a:gd name="connsiteX1" fmla="*/ 1723898 w 3579368"/>
              <a:gd name="connsiteY1" fmla="*/ 1398143 h 1883155"/>
              <a:gd name="connsiteX2" fmla="*/ 3579368 w 3579368"/>
              <a:gd name="connsiteY2" fmla="*/ 1883156 h 1883155"/>
              <a:gd name="connsiteX3" fmla="*/ 3579368 w 3579368"/>
              <a:gd name="connsiteY3" fmla="*/ 1615694 h 1883155"/>
              <a:gd name="connsiteX4" fmla="*/ 644017 w 3579368"/>
              <a:gd name="connsiteY4" fmla="*/ 316484 h 1883155"/>
              <a:gd name="connsiteX5" fmla="*/ 346075 w 3579368"/>
              <a:gd name="connsiteY5" fmla="*/ 0 h 1883155"/>
              <a:gd name="connsiteX6" fmla="*/ 0 w 3579368"/>
              <a:gd name="connsiteY6" fmla="*/ 0 h 1883155"/>
              <a:gd name="connsiteX7" fmla="*/ 450088 w 3579368"/>
              <a:gd name="connsiteY7" fmla="*/ 499872 h 1883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368" h="1883155">
                <a:moveTo>
                  <a:pt x="450088" y="499872"/>
                </a:moveTo>
                <a:cubicBezTo>
                  <a:pt x="823820" y="865611"/>
                  <a:pt x="1253909" y="1168903"/>
                  <a:pt x="1723898" y="1398143"/>
                </a:cubicBezTo>
                <a:cubicBezTo>
                  <a:pt x="2291335" y="1673987"/>
                  <a:pt x="2915412" y="1837055"/>
                  <a:pt x="3579368" y="1883156"/>
                </a:cubicBezTo>
                <a:lnTo>
                  <a:pt x="3579368" y="1615694"/>
                </a:lnTo>
                <a:cubicBezTo>
                  <a:pt x="2434717" y="1532382"/>
                  <a:pt x="1447292" y="1095629"/>
                  <a:pt x="644017" y="316484"/>
                </a:cubicBezTo>
                <a:cubicBezTo>
                  <a:pt x="533781" y="209550"/>
                  <a:pt x="434594" y="102870"/>
                  <a:pt x="346075" y="0"/>
                </a:cubicBezTo>
                <a:lnTo>
                  <a:pt x="0" y="0"/>
                </a:lnTo>
                <a:cubicBezTo>
                  <a:pt x="138966" y="176263"/>
                  <a:pt x="289316" y="343244"/>
                  <a:pt x="450088" y="499872"/>
                </a:cubicBezTo>
                <a:close/>
              </a:path>
            </a:pathLst>
          </a:custGeom>
          <a:solidFill>
            <a:schemeClr val="accent2"/>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904482470"/>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our Content 4">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1" name="Content Placeholder 4">
            <a:extLst>
              <a:ext uri="{FF2B5EF4-FFF2-40B4-BE49-F238E27FC236}">
                <a16:creationId xmlns:a16="http://schemas.microsoft.com/office/drawing/2014/main" id="{3412C500-9DEE-4B4E-9124-5BC82CD83A06}"/>
              </a:ext>
            </a:extLst>
          </p:cNvPr>
          <p:cNvSpPr>
            <a:spLocks noGrp="1"/>
          </p:cNvSpPr>
          <p:nvPr>
            <p:ph idx="15"/>
          </p:nvPr>
        </p:nvSpPr>
        <p:spPr>
          <a:xfrm>
            <a:off x="6186488" y="4215056"/>
            <a:ext cx="5286374" cy="19222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719137" y="4215056"/>
            <a:ext cx="5286374" cy="19222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6488" y="2128838"/>
            <a:ext cx="5286374" cy="19222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286374" cy="192221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10020300"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9110662" cy="720000"/>
          </a:xfrm>
        </p:spPr>
        <p:txBody>
          <a:bodyPr/>
          <a:lstStyle/>
          <a:p>
            <a:pPr lvl="0"/>
            <a:r>
              <a:rPr lang="en-US"/>
              <a:t>Click to edit Master title style</a:t>
            </a:r>
            <a:endParaRPr lang="en-GB" dirty="0"/>
          </a:p>
        </p:txBody>
      </p:sp>
      <p:sp>
        <p:nvSpPr>
          <p:cNvPr id="13" name="Freeform: Shape 12">
            <a:extLst>
              <a:ext uri="{FF2B5EF4-FFF2-40B4-BE49-F238E27FC236}">
                <a16:creationId xmlns:a16="http://schemas.microsoft.com/office/drawing/2014/main" id="{818F1BCE-16CB-48EB-BE3B-58808302C046}"/>
              </a:ext>
            </a:extLst>
          </p:cNvPr>
          <p:cNvSpPr/>
          <p:nvPr userDrawn="1"/>
        </p:nvSpPr>
        <p:spPr>
          <a:xfrm>
            <a:off x="8828904" y="0"/>
            <a:ext cx="3363096" cy="3729110"/>
          </a:xfrm>
          <a:custGeom>
            <a:avLst/>
            <a:gdLst>
              <a:gd name="connsiteX0" fmla="*/ 0 w 3363096"/>
              <a:gd name="connsiteY0" fmla="*/ 0 h 3729110"/>
              <a:gd name="connsiteX1" fmla="*/ 728074 w 3363096"/>
              <a:gd name="connsiteY1" fmla="*/ 0 h 3729110"/>
              <a:gd name="connsiteX2" fmla="*/ 968906 w 3363096"/>
              <a:gd name="connsiteY2" fmla="*/ 116498 h 3729110"/>
              <a:gd name="connsiteX3" fmla="*/ 3096120 w 3363096"/>
              <a:gd name="connsiteY3" fmla="*/ 2231288 h 3729110"/>
              <a:gd name="connsiteX4" fmla="*/ 3240633 w 3363096"/>
              <a:gd name="connsiteY4" fmla="*/ 2529001 h 3729110"/>
              <a:gd name="connsiteX5" fmla="*/ 3363096 w 3363096"/>
              <a:gd name="connsiteY5" fmla="*/ 2824201 h 3729110"/>
              <a:gd name="connsiteX6" fmla="*/ 3363096 w 3363096"/>
              <a:gd name="connsiteY6" fmla="*/ 3729110 h 3729110"/>
              <a:gd name="connsiteX7" fmla="*/ 3328737 w 3363096"/>
              <a:gd name="connsiteY7" fmla="*/ 3584522 h 3729110"/>
              <a:gd name="connsiteX8" fmla="*/ 2859849 w 3363096"/>
              <a:gd name="connsiteY8" fmla="*/ 2354986 h 3729110"/>
              <a:gd name="connsiteX9" fmla="*/ 277127 w 3363096"/>
              <a:gd name="connsiteY9" fmla="*/ 98569 h 3729110"/>
              <a:gd name="connsiteX10" fmla="*/ 0 w 3363096"/>
              <a:gd name="connsiteY10" fmla="*/ 0 h 3729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63096" h="3729110">
                <a:moveTo>
                  <a:pt x="0" y="0"/>
                </a:moveTo>
                <a:lnTo>
                  <a:pt x="728074" y="0"/>
                </a:lnTo>
                <a:lnTo>
                  <a:pt x="968906" y="116498"/>
                </a:lnTo>
                <a:cubicBezTo>
                  <a:pt x="1900050" y="599885"/>
                  <a:pt x="2612194" y="1306901"/>
                  <a:pt x="3096120" y="2231288"/>
                </a:cubicBezTo>
                <a:cubicBezTo>
                  <a:pt x="3146748" y="2327997"/>
                  <a:pt x="3194924" y="2427252"/>
                  <a:pt x="3240633" y="2529001"/>
                </a:cubicBezTo>
                <a:lnTo>
                  <a:pt x="3363096" y="2824201"/>
                </a:lnTo>
                <a:lnTo>
                  <a:pt x="3363096" y="3729110"/>
                </a:lnTo>
                <a:lnTo>
                  <a:pt x="3328737" y="3584522"/>
                </a:lnTo>
                <a:cubicBezTo>
                  <a:pt x="3210521" y="3136652"/>
                  <a:pt x="3053949" y="2725763"/>
                  <a:pt x="2859849" y="2354986"/>
                </a:cubicBezTo>
                <a:cubicBezTo>
                  <a:pt x="2309303" y="1303371"/>
                  <a:pt x="1443340" y="547810"/>
                  <a:pt x="277127" y="98569"/>
                </a:cubicBezTo>
                <a:lnTo>
                  <a:pt x="0" y="0"/>
                </a:lnTo>
                <a:close/>
              </a:path>
            </a:pathLst>
          </a:custGeom>
          <a:solidFill>
            <a:srgbClr val="005C82"/>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4074334836"/>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6184898" y="2130475"/>
            <a:ext cx="5286376"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30804"/>
            <a:ext cx="5286376" cy="40064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75213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chemeClr val="tx2"/>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8"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2546090433"/>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our Content 5">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1" name="Content Placeholder 4">
            <a:extLst>
              <a:ext uri="{FF2B5EF4-FFF2-40B4-BE49-F238E27FC236}">
                <a16:creationId xmlns:a16="http://schemas.microsoft.com/office/drawing/2014/main" id="{3412C500-9DEE-4B4E-9124-5BC82CD83A06}"/>
              </a:ext>
            </a:extLst>
          </p:cNvPr>
          <p:cNvSpPr>
            <a:spLocks noGrp="1"/>
          </p:cNvSpPr>
          <p:nvPr>
            <p:ph idx="15"/>
          </p:nvPr>
        </p:nvSpPr>
        <p:spPr>
          <a:xfrm>
            <a:off x="8920163" y="2884741"/>
            <a:ext cx="2551111" cy="32525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6186489" y="2884741"/>
            <a:ext cx="2551111" cy="32525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3452814" y="2884741"/>
            <a:ext cx="2552699" cy="32525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9" y="2884741"/>
            <a:ext cx="2552700" cy="32525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7" cy="720000"/>
          </a:xfrm>
        </p:spPr>
        <p:txBody>
          <a:bodyPr/>
          <a:lstStyle/>
          <a:p>
            <a:pPr lvl="0"/>
            <a:r>
              <a:rPr lang="en-US"/>
              <a:t>Click to edit Master title style</a:t>
            </a:r>
            <a:endParaRPr lang="en-GB" dirty="0"/>
          </a:p>
        </p:txBody>
      </p:sp>
      <p:sp>
        <p:nvSpPr>
          <p:cNvPr id="28" name="Freeform: Shape 27">
            <a:extLst>
              <a:ext uri="{FF2B5EF4-FFF2-40B4-BE49-F238E27FC236}">
                <a16:creationId xmlns:a16="http://schemas.microsoft.com/office/drawing/2014/main" id="{8DF29A4C-9712-4E66-B9C1-AF538CFF51BB}"/>
              </a:ext>
            </a:extLst>
          </p:cNvPr>
          <p:cNvSpPr/>
          <p:nvPr userDrawn="1"/>
        </p:nvSpPr>
        <p:spPr>
          <a:xfrm>
            <a:off x="0" y="0"/>
            <a:ext cx="12192127" cy="6858000"/>
          </a:xfrm>
          <a:custGeom>
            <a:avLst/>
            <a:gdLst>
              <a:gd name="connsiteX0" fmla="*/ 0 w 12192127"/>
              <a:gd name="connsiteY0" fmla="*/ 0 h 6858000"/>
              <a:gd name="connsiteX1" fmla="*/ 12192127 w 12192127"/>
              <a:gd name="connsiteY1" fmla="*/ 0 h 6858000"/>
              <a:gd name="connsiteX2" fmla="*/ 12192127 w 12192127"/>
              <a:gd name="connsiteY2" fmla="*/ 6858000 h 6858000"/>
              <a:gd name="connsiteX3" fmla="*/ 0 w 1219212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127" h="6858000">
                <a:moveTo>
                  <a:pt x="0" y="0"/>
                </a:moveTo>
                <a:lnTo>
                  <a:pt x="12192127" y="0"/>
                </a:lnTo>
                <a:lnTo>
                  <a:pt x="12192127" y="6858000"/>
                </a:lnTo>
                <a:lnTo>
                  <a:pt x="0" y="6858000"/>
                </a:lnTo>
                <a:close/>
              </a:path>
            </a:pathLst>
          </a:custGeom>
          <a:noFill/>
          <a:ln w="12700"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CB2D6E4F-11A2-47EB-92FE-B5E446DBE52C}"/>
              </a:ext>
            </a:extLst>
          </p:cNvPr>
          <p:cNvSpPr/>
          <p:nvPr/>
        </p:nvSpPr>
        <p:spPr>
          <a:xfrm>
            <a:off x="8650096" y="2349500"/>
            <a:ext cx="3541903" cy="266700"/>
          </a:xfrm>
          <a:custGeom>
            <a:avLst/>
            <a:gdLst>
              <a:gd name="connsiteX0" fmla="*/ 0 w 3541903"/>
              <a:gd name="connsiteY0" fmla="*/ 133350 h 266700"/>
              <a:gd name="connsiteX1" fmla="*/ 133350 w 3541903"/>
              <a:gd name="connsiteY1" fmla="*/ 266700 h 266700"/>
              <a:gd name="connsiteX2" fmla="*/ 3541903 w 3541903"/>
              <a:gd name="connsiteY2" fmla="*/ 266700 h 266700"/>
              <a:gd name="connsiteX3" fmla="*/ 3541903 w 3541903"/>
              <a:gd name="connsiteY3" fmla="*/ 0 h 266700"/>
              <a:gd name="connsiteX4" fmla="*/ 133350 w 3541903"/>
              <a:gd name="connsiteY4" fmla="*/ 0 h 266700"/>
              <a:gd name="connsiteX5" fmla="*/ 0 w 3541903"/>
              <a:gd name="connsiteY5" fmla="*/ 13335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41903" h="266700">
                <a:moveTo>
                  <a:pt x="0" y="133350"/>
                </a:moveTo>
                <a:cubicBezTo>
                  <a:pt x="0" y="206997"/>
                  <a:pt x="59703" y="266700"/>
                  <a:pt x="133350" y="266700"/>
                </a:cubicBezTo>
                <a:lnTo>
                  <a:pt x="3541903" y="266700"/>
                </a:lnTo>
                <a:lnTo>
                  <a:pt x="3541903" y="0"/>
                </a:lnTo>
                <a:lnTo>
                  <a:pt x="133350" y="0"/>
                </a:lnTo>
                <a:cubicBezTo>
                  <a:pt x="59703" y="0"/>
                  <a:pt x="0" y="59703"/>
                  <a:pt x="0" y="133350"/>
                </a:cubicBezTo>
                <a:close/>
              </a:path>
            </a:pathLst>
          </a:custGeom>
          <a:solidFill>
            <a:srgbClr val="D19EC7"/>
          </a:solidFill>
          <a:ln w="12700"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76FF8548-3421-4E4E-9A66-8B44D31050B3}"/>
              </a:ext>
            </a:extLst>
          </p:cNvPr>
          <p:cNvSpPr/>
          <p:nvPr/>
        </p:nvSpPr>
        <p:spPr>
          <a:xfrm>
            <a:off x="5683884" y="2349500"/>
            <a:ext cx="3805428" cy="266700"/>
          </a:xfrm>
          <a:custGeom>
            <a:avLst/>
            <a:gdLst>
              <a:gd name="connsiteX0" fmla="*/ 3672078 w 3805428"/>
              <a:gd name="connsiteY0" fmla="*/ 266700 h 266700"/>
              <a:gd name="connsiteX1" fmla="*/ 133350 w 3805428"/>
              <a:gd name="connsiteY1" fmla="*/ 266700 h 266700"/>
              <a:gd name="connsiteX2" fmla="*/ 0 w 3805428"/>
              <a:gd name="connsiteY2" fmla="*/ 133350 h 266700"/>
              <a:gd name="connsiteX3" fmla="*/ 133350 w 3805428"/>
              <a:gd name="connsiteY3" fmla="*/ 0 h 266700"/>
              <a:gd name="connsiteX4" fmla="*/ 3672078 w 3805428"/>
              <a:gd name="connsiteY4" fmla="*/ 0 h 266700"/>
              <a:gd name="connsiteX5" fmla="*/ 3805428 w 3805428"/>
              <a:gd name="connsiteY5" fmla="*/ 133350 h 266700"/>
              <a:gd name="connsiteX6" fmla="*/ 3672078 w 3805428"/>
              <a:gd name="connsiteY6" fmla="*/ 2667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5428" h="266700">
                <a:moveTo>
                  <a:pt x="3672078" y="266700"/>
                </a:moveTo>
                <a:lnTo>
                  <a:pt x="133350" y="266700"/>
                </a:lnTo>
                <a:cubicBezTo>
                  <a:pt x="59703" y="266700"/>
                  <a:pt x="0" y="206997"/>
                  <a:pt x="0" y="133350"/>
                </a:cubicBezTo>
                <a:cubicBezTo>
                  <a:pt x="0" y="59703"/>
                  <a:pt x="59703" y="0"/>
                  <a:pt x="133350" y="0"/>
                </a:cubicBezTo>
                <a:lnTo>
                  <a:pt x="3672078" y="0"/>
                </a:lnTo>
                <a:cubicBezTo>
                  <a:pt x="3745726" y="0"/>
                  <a:pt x="3805428" y="59703"/>
                  <a:pt x="3805428" y="133350"/>
                </a:cubicBezTo>
                <a:cubicBezTo>
                  <a:pt x="3805428" y="206997"/>
                  <a:pt x="3745726" y="266700"/>
                  <a:pt x="3672078" y="266700"/>
                </a:cubicBezTo>
                <a:close/>
              </a:path>
            </a:pathLst>
          </a:custGeom>
          <a:solidFill>
            <a:srgbClr val="EDC2B2"/>
          </a:solidFill>
          <a:ln w="12700"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DB94F954-1122-427F-AA9E-A4AACAED58A9}"/>
              </a:ext>
            </a:extLst>
          </p:cNvPr>
          <p:cNvSpPr/>
          <p:nvPr/>
        </p:nvSpPr>
        <p:spPr>
          <a:xfrm>
            <a:off x="2715132" y="2349500"/>
            <a:ext cx="3805301" cy="266700"/>
          </a:xfrm>
          <a:custGeom>
            <a:avLst/>
            <a:gdLst>
              <a:gd name="connsiteX0" fmla="*/ 3671951 w 3805301"/>
              <a:gd name="connsiteY0" fmla="*/ 266700 h 266700"/>
              <a:gd name="connsiteX1" fmla="*/ 133350 w 3805301"/>
              <a:gd name="connsiteY1" fmla="*/ 266700 h 266700"/>
              <a:gd name="connsiteX2" fmla="*/ 0 w 3805301"/>
              <a:gd name="connsiteY2" fmla="*/ 133350 h 266700"/>
              <a:gd name="connsiteX3" fmla="*/ 133350 w 3805301"/>
              <a:gd name="connsiteY3" fmla="*/ 0 h 266700"/>
              <a:gd name="connsiteX4" fmla="*/ 3671951 w 3805301"/>
              <a:gd name="connsiteY4" fmla="*/ 0 h 266700"/>
              <a:gd name="connsiteX5" fmla="*/ 3805302 w 3805301"/>
              <a:gd name="connsiteY5" fmla="*/ 133350 h 266700"/>
              <a:gd name="connsiteX6" fmla="*/ 3671952 w 3805301"/>
              <a:gd name="connsiteY6" fmla="*/ 2667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5301" h="266700">
                <a:moveTo>
                  <a:pt x="3671951" y="266700"/>
                </a:moveTo>
                <a:lnTo>
                  <a:pt x="133350" y="266700"/>
                </a:lnTo>
                <a:cubicBezTo>
                  <a:pt x="59703" y="266700"/>
                  <a:pt x="0" y="206997"/>
                  <a:pt x="0" y="133350"/>
                </a:cubicBezTo>
                <a:cubicBezTo>
                  <a:pt x="0" y="59703"/>
                  <a:pt x="59703" y="0"/>
                  <a:pt x="133350" y="0"/>
                </a:cubicBezTo>
                <a:lnTo>
                  <a:pt x="3671951" y="0"/>
                </a:lnTo>
                <a:cubicBezTo>
                  <a:pt x="3745598" y="0"/>
                  <a:pt x="3805302" y="59703"/>
                  <a:pt x="3805302" y="133350"/>
                </a:cubicBezTo>
                <a:cubicBezTo>
                  <a:pt x="3805302" y="206997"/>
                  <a:pt x="3745599" y="266700"/>
                  <a:pt x="3671952" y="266700"/>
                </a:cubicBezTo>
                <a:close/>
              </a:path>
            </a:pathLst>
          </a:custGeom>
          <a:solidFill>
            <a:srgbClr val="9EDED4"/>
          </a:solidFill>
          <a:ln w="12700" cap="flat">
            <a:noFill/>
            <a:prstDash val="solid"/>
            <a:miter/>
          </a:ln>
        </p:spPr>
        <p:txBody>
          <a:bodyPr rtlCol="0" anchor="ctr"/>
          <a:lstStyle/>
          <a:p>
            <a:endParaRPr lang="en-GB"/>
          </a:p>
        </p:txBody>
      </p:sp>
      <p:sp>
        <p:nvSpPr>
          <p:cNvPr id="32" name="Freeform: Shape 31">
            <a:extLst>
              <a:ext uri="{FF2B5EF4-FFF2-40B4-BE49-F238E27FC236}">
                <a16:creationId xmlns:a16="http://schemas.microsoft.com/office/drawing/2014/main" id="{326E4F0B-FAC1-4CDE-948B-7C353EBC5D15}"/>
              </a:ext>
            </a:extLst>
          </p:cNvPr>
          <p:cNvSpPr/>
          <p:nvPr/>
        </p:nvSpPr>
        <p:spPr>
          <a:xfrm>
            <a:off x="0" y="2349500"/>
            <a:ext cx="3542029" cy="266700"/>
          </a:xfrm>
          <a:custGeom>
            <a:avLst/>
            <a:gdLst>
              <a:gd name="connsiteX0" fmla="*/ 3542030 w 3542029"/>
              <a:gd name="connsiteY0" fmla="*/ 133350 h 266700"/>
              <a:gd name="connsiteX1" fmla="*/ 3408680 w 3542029"/>
              <a:gd name="connsiteY1" fmla="*/ 0 h 266700"/>
              <a:gd name="connsiteX2" fmla="*/ 0 w 3542029"/>
              <a:gd name="connsiteY2" fmla="*/ 0 h 266700"/>
              <a:gd name="connsiteX3" fmla="*/ 0 w 3542029"/>
              <a:gd name="connsiteY3" fmla="*/ 266700 h 266700"/>
              <a:gd name="connsiteX4" fmla="*/ 3408680 w 3542029"/>
              <a:gd name="connsiteY4" fmla="*/ 266700 h 266700"/>
              <a:gd name="connsiteX5" fmla="*/ 3542030 w 3542029"/>
              <a:gd name="connsiteY5" fmla="*/ 13335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42029" h="266700">
                <a:moveTo>
                  <a:pt x="3542030" y="133350"/>
                </a:moveTo>
                <a:cubicBezTo>
                  <a:pt x="3542030" y="59703"/>
                  <a:pt x="3482327" y="0"/>
                  <a:pt x="3408680" y="0"/>
                </a:cubicBezTo>
                <a:lnTo>
                  <a:pt x="0" y="0"/>
                </a:lnTo>
                <a:lnTo>
                  <a:pt x="0" y="266700"/>
                </a:lnTo>
                <a:lnTo>
                  <a:pt x="3408680" y="266700"/>
                </a:lnTo>
                <a:cubicBezTo>
                  <a:pt x="3482327" y="266700"/>
                  <a:pt x="3542030" y="206997"/>
                  <a:pt x="3542030" y="133350"/>
                </a:cubicBezTo>
                <a:close/>
              </a:path>
            </a:pathLst>
          </a:custGeom>
          <a:solidFill>
            <a:srgbClr val="85ABE3"/>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414101308"/>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52D7E41-C7F8-4707-B5F1-EA6F8F846A0A}"/>
              </a:ext>
            </a:extLst>
          </p:cNvPr>
          <p:cNvSpPr>
            <a:spLocks noGrp="1"/>
          </p:cNvSpPr>
          <p:nvPr>
            <p:ph type="dt" sz="half" idx="10"/>
          </p:nvPr>
        </p:nvSpPr>
        <p:spPr/>
        <p:txBody>
          <a:bodyPr/>
          <a:lstStyle/>
          <a:p>
            <a:r>
              <a:rPr lang="en-US"/>
              <a:t>dd Month 2021</a:t>
            </a:r>
            <a:endParaRPr lang="en-GB" dirty="0"/>
          </a:p>
        </p:txBody>
      </p:sp>
      <p:sp>
        <p:nvSpPr>
          <p:cNvPr id="3" name="Footer Placeholder 2">
            <a:extLst>
              <a:ext uri="{FF2B5EF4-FFF2-40B4-BE49-F238E27FC236}">
                <a16:creationId xmlns:a16="http://schemas.microsoft.com/office/drawing/2014/main" id="{A16A7665-89F6-450F-B436-DAFC760E9AD1}"/>
              </a:ext>
            </a:extLst>
          </p:cNvPr>
          <p:cNvSpPr>
            <a:spLocks noGrp="1"/>
          </p:cNvSpPr>
          <p:nvPr>
            <p:ph type="ftr" sz="quarter" idx="11"/>
          </p:nvPr>
        </p:nvSpPr>
        <p:spPr/>
        <p:txBody>
          <a:bodyPr/>
          <a:lstStyle/>
          <a:p>
            <a:r>
              <a:rPr lang="en-GB"/>
              <a:t>Update Footer to add the Document title</a:t>
            </a:r>
            <a:endParaRPr lang="en-GB" dirty="0"/>
          </a:p>
        </p:txBody>
      </p:sp>
    </p:spTree>
    <p:extLst>
      <p:ext uri="{BB962C8B-B14F-4D97-AF65-F5344CB8AC3E}">
        <p14:creationId xmlns:p14="http://schemas.microsoft.com/office/powerpoint/2010/main" val="218828213"/>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One Content and Image">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D5260AAC-FBD9-4C1E-B169-41C32038B4F2}"/>
              </a:ext>
            </a:extLst>
          </p:cNvPr>
          <p:cNvSpPr/>
          <p:nvPr/>
        </p:nvSpPr>
        <p:spPr>
          <a:xfrm>
            <a:off x="5379781" y="3391416"/>
            <a:ext cx="6810629" cy="3466581"/>
          </a:xfrm>
          <a:custGeom>
            <a:avLst/>
            <a:gdLst>
              <a:gd name="connsiteX0" fmla="*/ 6810630 w 6810629"/>
              <a:gd name="connsiteY0" fmla="*/ 271424 h 3466581"/>
              <a:gd name="connsiteX1" fmla="*/ 6810630 w 6810629"/>
              <a:gd name="connsiteY1" fmla="*/ 4759 h 3466581"/>
              <a:gd name="connsiteX2" fmla="*/ 4348548 w 6810629"/>
              <a:gd name="connsiteY2" fmla="*/ 254789 h 3466581"/>
              <a:gd name="connsiteX3" fmla="*/ 994788 w 6810629"/>
              <a:gd name="connsiteY3" fmla="*/ 2207922 h 3466581"/>
              <a:gd name="connsiteX4" fmla="*/ 0 w 6810629"/>
              <a:gd name="connsiteY4" fmla="*/ 3466581 h 3466581"/>
              <a:gd name="connsiteX5" fmla="*/ 320506 w 6810629"/>
              <a:gd name="connsiteY5" fmla="*/ 3466581 h 3466581"/>
              <a:gd name="connsiteX6" fmla="*/ 1186787 w 6810629"/>
              <a:gd name="connsiteY6" fmla="*/ 2392937 h 3466581"/>
              <a:gd name="connsiteX7" fmla="*/ 6810630 w 6810629"/>
              <a:gd name="connsiteY7" fmla="*/ 271424 h 3466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10629" h="3466581">
                <a:moveTo>
                  <a:pt x="6810630" y="271424"/>
                </a:moveTo>
                <a:lnTo>
                  <a:pt x="6810630" y="4759"/>
                </a:lnTo>
                <a:cubicBezTo>
                  <a:pt x="5929873" y="-21654"/>
                  <a:pt x="5104988" y="61902"/>
                  <a:pt x="4348548" y="254789"/>
                </a:cubicBezTo>
                <a:cubicBezTo>
                  <a:pt x="3054840" y="584692"/>
                  <a:pt x="1926339" y="1241831"/>
                  <a:pt x="994788" y="2207922"/>
                </a:cubicBezTo>
                <a:cubicBezTo>
                  <a:pt x="624210" y="2595137"/>
                  <a:pt x="291127" y="3016571"/>
                  <a:pt x="0" y="3466581"/>
                </a:cubicBezTo>
                <a:lnTo>
                  <a:pt x="320506" y="3466581"/>
                </a:lnTo>
                <a:cubicBezTo>
                  <a:pt x="578284" y="3084771"/>
                  <a:pt x="868090" y="2725593"/>
                  <a:pt x="1186787" y="2392937"/>
                </a:cubicBezTo>
                <a:cubicBezTo>
                  <a:pt x="2614081" y="912818"/>
                  <a:pt x="4502706" y="201329"/>
                  <a:pt x="6810630" y="271424"/>
                </a:cubicBezTo>
                <a:close/>
              </a:path>
            </a:pathLst>
          </a:custGeom>
          <a:solidFill>
            <a:srgbClr val="85ABE3"/>
          </a:solidFill>
          <a:ln w="12690" cap="flat">
            <a:noFill/>
            <a:prstDash val="solid"/>
            <a:miter/>
          </a:ln>
        </p:spPr>
        <p:txBody>
          <a:bodyPr rtlCol="0" anchor="ctr"/>
          <a:lstStyle/>
          <a:p>
            <a:endParaRPr lang="en-GB"/>
          </a:p>
        </p:txBody>
      </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7096125" y="2128838"/>
            <a:ext cx="4375150" cy="4006800"/>
          </a:xfrm>
        </p:spPr>
        <p:txBody>
          <a:bodyPr/>
          <a:lstStyle/>
          <a:p>
            <a:r>
              <a:rPr lang="en-US"/>
              <a:t>Click icon to add pictur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5465762"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1266739"/>
            <a:ext cx="10752137"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p:txBody>
          <a:bodyPr/>
          <a:lstStyle/>
          <a:p>
            <a:pPr lvl="0"/>
            <a:r>
              <a:rPr lang="en-US"/>
              <a:t>Click to edit Master title style</a:t>
            </a:r>
            <a:endParaRPr lang="en-GB" dirty="0"/>
          </a:p>
        </p:txBody>
      </p:sp>
      <p:sp>
        <p:nvSpPr>
          <p:cNvPr id="14" name="Freeform: Shape 13">
            <a:extLst>
              <a:ext uri="{FF2B5EF4-FFF2-40B4-BE49-F238E27FC236}">
                <a16:creationId xmlns:a16="http://schemas.microsoft.com/office/drawing/2014/main" id="{9B9455DB-5F59-44BE-8DE3-D293EF6BD9FF}"/>
              </a:ext>
            </a:extLst>
          </p:cNvPr>
          <p:cNvSpPr/>
          <p:nvPr userDrawn="1"/>
        </p:nvSpPr>
        <p:spPr>
          <a:xfrm>
            <a:off x="1" y="893"/>
            <a:ext cx="12190536" cy="6857105"/>
          </a:xfrm>
          <a:custGeom>
            <a:avLst/>
            <a:gdLst>
              <a:gd name="connsiteX0" fmla="*/ 0 w 12190536"/>
              <a:gd name="connsiteY0" fmla="*/ 0 h 6857105"/>
              <a:gd name="connsiteX1" fmla="*/ 12190537 w 12190536"/>
              <a:gd name="connsiteY1" fmla="*/ 0 h 6857105"/>
              <a:gd name="connsiteX2" fmla="*/ 12190537 w 12190536"/>
              <a:gd name="connsiteY2" fmla="*/ 6857105 h 6857105"/>
              <a:gd name="connsiteX3" fmla="*/ 0 w 12190536"/>
              <a:gd name="connsiteY3" fmla="*/ 6857105 h 6857105"/>
            </a:gdLst>
            <a:ahLst/>
            <a:cxnLst>
              <a:cxn ang="0">
                <a:pos x="connsiteX0" y="connsiteY0"/>
              </a:cxn>
              <a:cxn ang="0">
                <a:pos x="connsiteX1" y="connsiteY1"/>
              </a:cxn>
              <a:cxn ang="0">
                <a:pos x="connsiteX2" y="connsiteY2"/>
              </a:cxn>
              <a:cxn ang="0">
                <a:pos x="connsiteX3" y="connsiteY3"/>
              </a:cxn>
            </a:cxnLst>
            <a:rect l="l" t="t" r="r" b="b"/>
            <a:pathLst>
              <a:path w="12190536" h="6857105">
                <a:moveTo>
                  <a:pt x="0" y="0"/>
                </a:moveTo>
                <a:lnTo>
                  <a:pt x="12190537" y="0"/>
                </a:lnTo>
                <a:lnTo>
                  <a:pt x="12190537" y="6857105"/>
                </a:lnTo>
                <a:lnTo>
                  <a:pt x="0" y="6857105"/>
                </a:lnTo>
                <a:close/>
              </a:path>
            </a:pathLst>
          </a:custGeom>
          <a:noFill/>
          <a:ln w="12690" cap="flat">
            <a:noFill/>
            <a:prstDash val="solid"/>
            <a:miter/>
          </a:ln>
        </p:spPr>
        <p:txBody>
          <a:bodyPr rtlCol="0" anchor="ctr"/>
          <a:lstStyle/>
          <a:p>
            <a:endParaRPr lang="en-GB"/>
          </a:p>
        </p:txBody>
      </p:sp>
    </p:spTree>
    <p:extLst>
      <p:ext uri="{BB962C8B-B14F-4D97-AF65-F5344CB8AC3E}">
        <p14:creationId xmlns:p14="http://schemas.microsoft.com/office/powerpoint/2010/main" val="2391797783"/>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One Content and Small Image">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F5E56D3C-DAC2-43A0-AEC2-CC85CC8D5308}"/>
              </a:ext>
            </a:extLst>
          </p:cNvPr>
          <p:cNvSpPr/>
          <p:nvPr/>
        </p:nvSpPr>
        <p:spPr>
          <a:xfrm>
            <a:off x="9663795" y="0"/>
            <a:ext cx="2528205" cy="4327499"/>
          </a:xfrm>
          <a:custGeom>
            <a:avLst/>
            <a:gdLst>
              <a:gd name="connsiteX0" fmla="*/ 2528206 w 2528205"/>
              <a:gd name="connsiteY0" fmla="*/ 4327500 h 4327499"/>
              <a:gd name="connsiteX1" fmla="*/ 2528206 w 2528205"/>
              <a:gd name="connsiteY1" fmla="*/ 4011680 h 4327499"/>
              <a:gd name="connsiteX2" fmla="*/ 932346 w 2528205"/>
              <a:gd name="connsiteY2" fmla="*/ 2254292 h 4327499"/>
              <a:gd name="connsiteX3" fmla="*/ 268199 w 2528205"/>
              <a:gd name="connsiteY3" fmla="*/ 0 h 4327499"/>
              <a:gd name="connsiteX4" fmla="*/ 0 w 2528205"/>
              <a:gd name="connsiteY4" fmla="*/ 0 h 4327499"/>
              <a:gd name="connsiteX5" fmla="*/ 696149 w 2528205"/>
              <a:gd name="connsiteY5" fmla="*/ 2377979 h 4327499"/>
              <a:gd name="connsiteX6" fmla="*/ 2528206 w 2528205"/>
              <a:gd name="connsiteY6" fmla="*/ 4327500 h 4327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28205" h="4327499">
                <a:moveTo>
                  <a:pt x="2528206" y="4327500"/>
                </a:moveTo>
                <a:lnTo>
                  <a:pt x="2528206" y="4011680"/>
                </a:lnTo>
                <a:cubicBezTo>
                  <a:pt x="1847888" y="3570608"/>
                  <a:pt x="1315935" y="2984812"/>
                  <a:pt x="932346" y="2254292"/>
                </a:cubicBezTo>
                <a:cubicBezTo>
                  <a:pt x="598368" y="1616431"/>
                  <a:pt x="375631" y="859582"/>
                  <a:pt x="268199" y="0"/>
                </a:cubicBezTo>
                <a:lnTo>
                  <a:pt x="0" y="0"/>
                </a:lnTo>
                <a:cubicBezTo>
                  <a:pt x="109209" y="905044"/>
                  <a:pt x="342868" y="1703545"/>
                  <a:pt x="696149" y="2377979"/>
                </a:cubicBezTo>
                <a:cubicBezTo>
                  <a:pt x="1127527" y="3202131"/>
                  <a:pt x="1740499" y="3853453"/>
                  <a:pt x="2528206" y="4327500"/>
                </a:cubicBezTo>
                <a:close/>
              </a:path>
            </a:pathLst>
          </a:custGeom>
          <a:solidFill>
            <a:srgbClr val="005C82"/>
          </a:solidFill>
          <a:ln w="12690" cap="flat">
            <a:noFill/>
            <a:prstDash val="solid"/>
            <a:miter/>
          </a:ln>
        </p:spPr>
        <p:txBody>
          <a:bodyPr rtlCol="0" anchor="ctr"/>
          <a:lstStyle/>
          <a:p>
            <a:endParaRPr lang="en-GB"/>
          </a:p>
        </p:txBody>
      </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8918575" y="2128838"/>
            <a:ext cx="2552699" cy="4006800"/>
          </a:xfrm>
        </p:spPr>
        <p:txBody>
          <a:bodyPr/>
          <a:lstStyle/>
          <a:p>
            <a:r>
              <a:rPr lang="en-US"/>
              <a:t>Click icon to add pictur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7288212"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892968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8929687" cy="720000"/>
          </a:xfrm>
        </p:spPr>
        <p:txBody>
          <a:bodyPr/>
          <a:lstStyle/>
          <a:p>
            <a:pPr lvl="0"/>
            <a:r>
              <a:rPr lang="en-US"/>
              <a:t>Click to edit Master title style</a:t>
            </a:r>
            <a:endParaRPr lang="en-GB" dirty="0"/>
          </a:p>
        </p:txBody>
      </p:sp>
      <p:sp>
        <p:nvSpPr>
          <p:cNvPr id="14" name="Freeform: Shape 13">
            <a:extLst>
              <a:ext uri="{FF2B5EF4-FFF2-40B4-BE49-F238E27FC236}">
                <a16:creationId xmlns:a16="http://schemas.microsoft.com/office/drawing/2014/main" id="{13D53B7E-D789-4970-8EF6-A8ACEEEA4426}"/>
              </a:ext>
            </a:extLst>
          </p:cNvPr>
          <p:cNvSpPr/>
          <p:nvPr/>
        </p:nvSpPr>
        <p:spPr>
          <a:xfrm>
            <a:off x="1145" y="0"/>
            <a:ext cx="12191997" cy="6857356"/>
          </a:xfrm>
          <a:custGeom>
            <a:avLst/>
            <a:gdLst>
              <a:gd name="connsiteX0" fmla="*/ 0 w 12191997"/>
              <a:gd name="connsiteY0" fmla="*/ 0 h 6857356"/>
              <a:gd name="connsiteX1" fmla="*/ 12191998 w 12191997"/>
              <a:gd name="connsiteY1" fmla="*/ 0 h 6857356"/>
              <a:gd name="connsiteX2" fmla="*/ 12191998 w 12191997"/>
              <a:gd name="connsiteY2" fmla="*/ 6857356 h 6857356"/>
              <a:gd name="connsiteX3" fmla="*/ 0 w 12191997"/>
              <a:gd name="connsiteY3" fmla="*/ 6857356 h 6857356"/>
            </a:gdLst>
            <a:ahLst/>
            <a:cxnLst>
              <a:cxn ang="0">
                <a:pos x="connsiteX0" y="connsiteY0"/>
              </a:cxn>
              <a:cxn ang="0">
                <a:pos x="connsiteX1" y="connsiteY1"/>
              </a:cxn>
              <a:cxn ang="0">
                <a:pos x="connsiteX2" y="connsiteY2"/>
              </a:cxn>
              <a:cxn ang="0">
                <a:pos x="connsiteX3" y="connsiteY3"/>
              </a:cxn>
            </a:cxnLst>
            <a:rect l="l" t="t" r="r" b="b"/>
            <a:pathLst>
              <a:path w="12191997" h="6857356">
                <a:moveTo>
                  <a:pt x="0" y="0"/>
                </a:moveTo>
                <a:lnTo>
                  <a:pt x="12191998" y="0"/>
                </a:lnTo>
                <a:lnTo>
                  <a:pt x="12191998" y="6857356"/>
                </a:lnTo>
                <a:lnTo>
                  <a:pt x="0" y="6857356"/>
                </a:lnTo>
                <a:close/>
              </a:path>
            </a:pathLst>
          </a:custGeom>
          <a:noFill/>
          <a:ln w="12690"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C0498395-BC18-46FC-857B-AC4EF1D1550B}"/>
              </a:ext>
            </a:extLst>
          </p:cNvPr>
          <p:cNvSpPr/>
          <p:nvPr/>
        </p:nvSpPr>
        <p:spPr>
          <a:xfrm>
            <a:off x="1145" y="0"/>
            <a:ext cx="12191998" cy="6857356"/>
          </a:xfrm>
          <a:custGeom>
            <a:avLst/>
            <a:gdLst>
              <a:gd name="connsiteX0" fmla="*/ 10359941 w 12191998"/>
              <a:gd name="connsiteY0" fmla="*/ 2377979 h 6857356"/>
              <a:gd name="connsiteX1" fmla="*/ 9663792 w 12191998"/>
              <a:gd name="connsiteY1" fmla="*/ 0 h 6857356"/>
              <a:gd name="connsiteX2" fmla="*/ 0 w 12191998"/>
              <a:gd name="connsiteY2" fmla="*/ 0 h 6857356"/>
              <a:gd name="connsiteX3" fmla="*/ 0 w 12191998"/>
              <a:gd name="connsiteY3" fmla="*/ 6857356 h 6857356"/>
              <a:gd name="connsiteX4" fmla="*/ 12191998 w 12191998"/>
              <a:gd name="connsiteY4" fmla="*/ 6857356 h 6857356"/>
              <a:gd name="connsiteX5" fmla="*/ 12191998 w 12191998"/>
              <a:gd name="connsiteY5" fmla="*/ 4327500 h 6857356"/>
              <a:gd name="connsiteX6" fmla="*/ 10359941 w 12191998"/>
              <a:gd name="connsiteY6" fmla="*/ 2377979 h 6857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1998" h="6857356">
                <a:moveTo>
                  <a:pt x="10359941" y="2377979"/>
                </a:moveTo>
                <a:cubicBezTo>
                  <a:pt x="10006660" y="1703545"/>
                  <a:pt x="9773002" y="905044"/>
                  <a:pt x="9663792" y="0"/>
                </a:cubicBezTo>
                <a:lnTo>
                  <a:pt x="0" y="0"/>
                </a:lnTo>
                <a:lnTo>
                  <a:pt x="0" y="6857356"/>
                </a:lnTo>
                <a:lnTo>
                  <a:pt x="12191998" y="6857356"/>
                </a:lnTo>
                <a:lnTo>
                  <a:pt x="12191998" y="4327500"/>
                </a:lnTo>
                <a:cubicBezTo>
                  <a:pt x="11404291" y="3853453"/>
                  <a:pt x="10791319" y="3202131"/>
                  <a:pt x="10359941" y="2377979"/>
                </a:cubicBezTo>
                <a:close/>
              </a:path>
            </a:pathLst>
          </a:custGeom>
          <a:noFill/>
          <a:ln w="12690" cap="flat">
            <a:noFill/>
            <a:prstDash val="solid"/>
            <a:miter/>
          </a:ln>
        </p:spPr>
        <p:txBody>
          <a:bodyPr rtlCol="0" anchor="ctr"/>
          <a:lstStyle/>
          <a:p>
            <a:endParaRPr lang="en-GB"/>
          </a:p>
        </p:txBody>
      </p:sp>
    </p:spTree>
    <p:extLst>
      <p:ext uri="{BB962C8B-B14F-4D97-AF65-F5344CB8AC3E}">
        <p14:creationId xmlns:p14="http://schemas.microsoft.com/office/powerpoint/2010/main" val="2746086772"/>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One Content and Large Image">
    <p:bg>
      <p:bgPr>
        <a:solidFill>
          <a:schemeClr val="accent2"/>
        </a:solidFill>
        <a:effectLst/>
      </p:bgPr>
    </p:bg>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78D6020D-1F24-427E-AFFD-B74FAE976B9B}"/>
              </a:ext>
            </a:extLst>
          </p:cNvPr>
          <p:cNvGrpSpPr/>
          <p:nvPr userDrawn="1"/>
        </p:nvGrpSpPr>
        <p:grpSpPr>
          <a:xfrm>
            <a:off x="6140583" y="1514596"/>
            <a:ext cx="6052444" cy="5343401"/>
            <a:chOff x="6140583" y="1514596"/>
            <a:chExt cx="6052444" cy="5343401"/>
          </a:xfrm>
        </p:grpSpPr>
        <p:sp>
          <p:nvSpPr>
            <p:cNvPr id="17" name="Freeform: Shape 16">
              <a:extLst>
                <a:ext uri="{FF2B5EF4-FFF2-40B4-BE49-F238E27FC236}">
                  <a16:creationId xmlns:a16="http://schemas.microsoft.com/office/drawing/2014/main" id="{1A9AE98D-929D-4305-8E20-BEE836EA715F}"/>
                </a:ext>
              </a:extLst>
            </p:cNvPr>
            <p:cNvSpPr/>
            <p:nvPr/>
          </p:nvSpPr>
          <p:spPr>
            <a:xfrm>
              <a:off x="9649277" y="2908322"/>
              <a:ext cx="1814208" cy="1635607"/>
            </a:xfrm>
            <a:custGeom>
              <a:avLst/>
              <a:gdLst>
                <a:gd name="connsiteX0" fmla="*/ 133414 w 1814208"/>
                <a:gd name="connsiteY0" fmla="*/ 1635607 h 1635607"/>
                <a:gd name="connsiteX1" fmla="*/ 0 w 1814208"/>
                <a:gd name="connsiteY1" fmla="*/ 1502322 h 1635607"/>
                <a:gd name="connsiteX2" fmla="*/ 64454 w 1814208"/>
                <a:gd name="connsiteY2" fmla="*/ 1388084 h 1635607"/>
                <a:gd name="connsiteX3" fmla="*/ 1579057 w 1814208"/>
                <a:gd name="connsiteY3" fmla="*/ 47217 h 1635607"/>
                <a:gd name="connsiteX4" fmla="*/ 1766991 w 1814208"/>
                <a:gd name="connsiteY4" fmla="*/ 31555 h 1635607"/>
                <a:gd name="connsiteX5" fmla="*/ 1784796 w 1814208"/>
                <a:gd name="connsiteY5" fmla="*/ 216889 h 1635607"/>
                <a:gd name="connsiteX6" fmla="*/ 202249 w 1814208"/>
                <a:gd name="connsiteY6" fmla="*/ 1616430 h 1635607"/>
                <a:gd name="connsiteX7" fmla="*/ 133415 w 1814208"/>
                <a:gd name="connsiteY7" fmla="*/ 1635607 h 1635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14208" h="1635607">
                  <a:moveTo>
                    <a:pt x="133414" y="1635607"/>
                  </a:moveTo>
                  <a:cubicBezTo>
                    <a:pt x="59767" y="1635643"/>
                    <a:pt x="36" y="1575969"/>
                    <a:pt x="0" y="1502322"/>
                  </a:cubicBezTo>
                  <a:cubicBezTo>
                    <a:pt x="-22" y="1455578"/>
                    <a:pt x="24432" y="1412235"/>
                    <a:pt x="64454" y="1388084"/>
                  </a:cubicBezTo>
                  <a:cubicBezTo>
                    <a:pt x="604585" y="1062202"/>
                    <a:pt x="1114110" y="611097"/>
                    <a:pt x="1579057" y="47217"/>
                  </a:cubicBezTo>
                  <a:cubicBezTo>
                    <a:pt x="1626628" y="-9005"/>
                    <a:pt x="1710769" y="-16017"/>
                    <a:pt x="1766991" y="31555"/>
                  </a:cubicBezTo>
                  <a:cubicBezTo>
                    <a:pt x="1822211" y="78279"/>
                    <a:pt x="1830110" y="160507"/>
                    <a:pt x="1784796" y="216889"/>
                  </a:cubicBezTo>
                  <a:cubicBezTo>
                    <a:pt x="1300673" y="804011"/>
                    <a:pt x="768796" y="1274927"/>
                    <a:pt x="202249" y="1616430"/>
                  </a:cubicBezTo>
                  <a:cubicBezTo>
                    <a:pt x="181474" y="1628959"/>
                    <a:pt x="157676" y="1635590"/>
                    <a:pt x="133415" y="1635607"/>
                  </a:cubicBezTo>
                  <a:close/>
                </a:path>
              </a:pathLst>
            </a:custGeom>
            <a:solidFill>
              <a:srgbClr val="FFFFFF"/>
            </a:solid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50F3C96E-5D9C-4E33-A548-A25E9BEC1E8A}"/>
                </a:ext>
              </a:extLst>
            </p:cNvPr>
            <p:cNvSpPr/>
            <p:nvPr/>
          </p:nvSpPr>
          <p:spPr>
            <a:xfrm>
              <a:off x="11203339" y="1514596"/>
              <a:ext cx="989688" cy="1659410"/>
            </a:xfrm>
            <a:custGeom>
              <a:avLst/>
              <a:gdLst>
                <a:gd name="connsiteX0" fmla="*/ 48871 w 989688"/>
                <a:gd name="connsiteY0" fmla="*/ 1629157 h 1659410"/>
                <a:gd name="connsiteX1" fmla="*/ 236372 w 989688"/>
                <a:gd name="connsiteY1" fmla="*/ 1610711 h 1659410"/>
                <a:gd name="connsiteX2" fmla="*/ 236450 w 989688"/>
                <a:gd name="connsiteY2" fmla="*/ 1610615 h 1659410"/>
                <a:gd name="connsiteX3" fmla="*/ 989688 w 989688"/>
                <a:gd name="connsiteY3" fmla="*/ 535051 h 1659410"/>
                <a:gd name="connsiteX4" fmla="*/ 989688 w 989688"/>
                <a:gd name="connsiteY4" fmla="*/ 0 h 1659410"/>
                <a:gd name="connsiteX5" fmla="*/ 30202 w 989688"/>
                <a:gd name="connsiteY5" fmla="*/ 1441578 h 1659410"/>
                <a:gd name="connsiteX6" fmla="*/ 48762 w 989688"/>
                <a:gd name="connsiteY6" fmla="*/ 1629068 h 1659410"/>
                <a:gd name="connsiteX7" fmla="*/ 48871 w 989688"/>
                <a:gd name="connsiteY7" fmla="*/ 1629157 h 165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9688" h="1659410">
                  <a:moveTo>
                    <a:pt x="48871" y="1629157"/>
                  </a:moveTo>
                  <a:cubicBezTo>
                    <a:pt x="105742" y="1675840"/>
                    <a:pt x="189689" y="1667582"/>
                    <a:pt x="236372" y="1610711"/>
                  </a:cubicBezTo>
                  <a:cubicBezTo>
                    <a:pt x="236399" y="1610679"/>
                    <a:pt x="236424" y="1610647"/>
                    <a:pt x="236450" y="1610615"/>
                  </a:cubicBezTo>
                  <a:cubicBezTo>
                    <a:pt x="513004" y="1270625"/>
                    <a:pt x="764733" y="911176"/>
                    <a:pt x="989688" y="535051"/>
                  </a:cubicBezTo>
                  <a:lnTo>
                    <a:pt x="989688" y="0"/>
                  </a:lnTo>
                  <a:cubicBezTo>
                    <a:pt x="693354" y="541867"/>
                    <a:pt x="373526" y="1022393"/>
                    <a:pt x="30202" y="1441578"/>
                  </a:cubicBezTo>
                  <a:cubicBezTo>
                    <a:pt x="-16446" y="1498477"/>
                    <a:pt x="-8137" y="1582419"/>
                    <a:pt x="48762" y="1629068"/>
                  </a:cubicBezTo>
                  <a:cubicBezTo>
                    <a:pt x="48798" y="1629097"/>
                    <a:pt x="48835" y="1629127"/>
                    <a:pt x="48871" y="1629157"/>
                  </a:cubicBezTo>
                  <a:close/>
                </a:path>
              </a:pathLst>
            </a:custGeom>
            <a:solidFill>
              <a:srgbClr val="FFFFFF"/>
            </a:solid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085557CA-AED1-46C0-B285-11DD0961E0F3}"/>
                </a:ext>
              </a:extLst>
            </p:cNvPr>
            <p:cNvSpPr/>
            <p:nvPr/>
          </p:nvSpPr>
          <p:spPr>
            <a:xfrm>
              <a:off x="6140583" y="4276592"/>
              <a:ext cx="3775525" cy="2581405"/>
            </a:xfrm>
            <a:custGeom>
              <a:avLst/>
              <a:gdLst>
                <a:gd name="connsiteX0" fmla="*/ 1653542 w 3775525"/>
                <a:gd name="connsiteY0" fmla="*/ 905005 h 2581405"/>
                <a:gd name="connsiteX1" fmla="*/ 3710943 w 3775525"/>
                <a:gd name="connsiteY1" fmla="*/ 247779 h 2581405"/>
                <a:gd name="connsiteX2" fmla="*/ 3756346 w 3775525"/>
                <a:gd name="connsiteY2" fmla="*/ 64582 h 2581405"/>
                <a:gd name="connsiteX3" fmla="*/ 3573149 w 3775525"/>
                <a:gd name="connsiteY3" fmla="*/ 19179 h 2581405"/>
                <a:gd name="connsiteX4" fmla="*/ 1651256 w 3775525"/>
                <a:gd name="connsiteY4" fmla="*/ 637796 h 2581405"/>
                <a:gd name="connsiteX5" fmla="*/ 843154 w 3775525"/>
                <a:gd name="connsiteY5" fmla="*/ 582933 h 2581405"/>
                <a:gd name="connsiteX6" fmla="*/ 682372 w 3775525"/>
                <a:gd name="connsiteY6" fmla="*/ 666753 h 2581405"/>
                <a:gd name="connsiteX7" fmla="*/ 0 w 3775525"/>
                <a:gd name="connsiteY7" fmla="*/ 2581406 h 2581405"/>
                <a:gd name="connsiteX8" fmla="*/ 283083 w 3775525"/>
                <a:gd name="connsiteY8" fmla="*/ 2581406 h 2581405"/>
                <a:gd name="connsiteX9" fmla="*/ 895224 w 3775525"/>
                <a:gd name="connsiteY9" fmla="*/ 866905 h 2581405"/>
                <a:gd name="connsiteX10" fmla="*/ 1653542 w 3775525"/>
                <a:gd name="connsiteY10" fmla="*/ 905005 h 2581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75525" h="2581405">
                  <a:moveTo>
                    <a:pt x="1653542" y="905005"/>
                  </a:moveTo>
                  <a:cubicBezTo>
                    <a:pt x="2139063" y="878589"/>
                    <a:pt x="2890142" y="742952"/>
                    <a:pt x="3710943" y="247779"/>
                  </a:cubicBezTo>
                  <a:cubicBezTo>
                    <a:pt x="3774070" y="209728"/>
                    <a:pt x="3794397" y="127708"/>
                    <a:pt x="3756346" y="64582"/>
                  </a:cubicBezTo>
                  <a:cubicBezTo>
                    <a:pt x="3718295" y="1456"/>
                    <a:pt x="3636275" y="-18872"/>
                    <a:pt x="3573149" y="19179"/>
                  </a:cubicBezTo>
                  <a:cubicBezTo>
                    <a:pt x="2804417" y="482983"/>
                    <a:pt x="2103756" y="611508"/>
                    <a:pt x="1651256" y="637796"/>
                  </a:cubicBezTo>
                  <a:cubicBezTo>
                    <a:pt x="1159892" y="666245"/>
                    <a:pt x="846075" y="583695"/>
                    <a:pt x="843154" y="582933"/>
                  </a:cubicBezTo>
                  <a:cubicBezTo>
                    <a:pt x="775894" y="564598"/>
                    <a:pt x="705853" y="601112"/>
                    <a:pt x="682372" y="666753"/>
                  </a:cubicBezTo>
                  <a:lnTo>
                    <a:pt x="0" y="2581406"/>
                  </a:lnTo>
                  <a:lnTo>
                    <a:pt x="283083" y="2581406"/>
                  </a:lnTo>
                  <a:lnTo>
                    <a:pt x="895224" y="866905"/>
                  </a:lnTo>
                  <a:cubicBezTo>
                    <a:pt x="1038734" y="892305"/>
                    <a:pt x="1303656" y="924563"/>
                    <a:pt x="1653542" y="905005"/>
                  </a:cubicBezTo>
                  <a:close/>
                </a:path>
              </a:pathLst>
            </a:custGeom>
            <a:solidFill>
              <a:srgbClr val="FFFFFF"/>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8737600" y="0"/>
            <a:ext cx="2733674" cy="6137275"/>
          </a:xfrm>
        </p:spPr>
        <p:txBody>
          <a:bodyPr/>
          <a:lstStyle/>
          <a:p>
            <a:r>
              <a:rPr lang="en-US"/>
              <a:t>Click icon to add pictur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7" y="2990937"/>
            <a:ext cx="7108826" cy="3146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6" y="2128838"/>
            <a:ext cx="7108827" cy="756001"/>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1"/>
                </a:solidFill>
                <a:latin typeface="+mj-lt"/>
              </a:defRPr>
            </a:lvl7pPr>
            <a:lvl8pPr marL="0" indent="0" algn="l">
              <a:lnSpc>
                <a:spcPct val="100000"/>
              </a:lnSpc>
              <a:spcBef>
                <a:spcPts val="0"/>
              </a:spcBef>
              <a:buNone/>
              <a:defRPr sz="1800" i="1">
                <a:solidFill>
                  <a:schemeClr val="tx2"/>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6" y="666745"/>
            <a:ext cx="7108827" cy="1368000"/>
          </a:xfrm>
        </p:spPr>
        <p:txBody>
          <a:bodyPr/>
          <a:lstStyle/>
          <a:p>
            <a:pPr lvl="0"/>
            <a:r>
              <a:rPr lang="en-US"/>
              <a:t>Click to edit Master title style</a:t>
            </a:r>
            <a:endParaRPr lang="en-GB" dirty="0"/>
          </a:p>
        </p:txBody>
      </p:sp>
      <p:sp>
        <p:nvSpPr>
          <p:cNvPr id="20" name="Freeform: Shape 19">
            <a:extLst>
              <a:ext uri="{FF2B5EF4-FFF2-40B4-BE49-F238E27FC236}">
                <a16:creationId xmlns:a16="http://schemas.microsoft.com/office/drawing/2014/main" id="{8ECF9D0E-6D6B-4A9D-9688-3D0EC0BC5D39}"/>
              </a:ext>
            </a:extLst>
          </p:cNvPr>
          <p:cNvSpPr/>
          <p:nvPr/>
        </p:nvSpPr>
        <p:spPr>
          <a:xfrm>
            <a:off x="1" y="-7"/>
            <a:ext cx="12193153" cy="6858005"/>
          </a:xfrm>
          <a:custGeom>
            <a:avLst/>
            <a:gdLst>
              <a:gd name="connsiteX0" fmla="*/ 0 w 12193153"/>
              <a:gd name="connsiteY0" fmla="*/ 0 h 6858005"/>
              <a:gd name="connsiteX1" fmla="*/ 12193153 w 12193153"/>
              <a:gd name="connsiteY1" fmla="*/ 0 h 6858005"/>
              <a:gd name="connsiteX2" fmla="*/ 12193153 w 12193153"/>
              <a:gd name="connsiteY2" fmla="*/ 6858005 h 6858005"/>
              <a:gd name="connsiteX3" fmla="*/ 0 w 12193153"/>
              <a:gd name="connsiteY3" fmla="*/ 6858005 h 6858005"/>
            </a:gdLst>
            <a:ahLst/>
            <a:cxnLst>
              <a:cxn ang="0">
                <a:pos x="connsiteX0" y="connsiteY0"/>
              </a:cxn>
              <a:cxn ang="0">
                <a:pos x="connsiteX1" y="connsiteY1"/>
              </a:cxn>
              <a:cxn ang="0">
                <a:pos x="connsiteX2" y="connsiteY2"/>
              </a:cxn>
              <a:cxn ang="0">
                <a:pos x="connsiteX3" y="connsiteY3"/>
              </a:cxn>
            </a:cxnLst>
            <a:rect l="l" t="t" r="r" b="b"/>
            <a:pathLst>
              <a:path w="12193153" h="6858005">
                <a:moveTo>
                  <a:pt x="0" y="0"/>
                </a:moveTo>
                <a:lnTo>
                  <a:pt x="12193153" y="0"/>
                </a:lnTo>
                <a:lnTo>
                  <a:pt x="12193153" y="6858005"/>
                </a:lnTo>
                <a:lnTo>
                  <a:pt x="0" y="6858005"/>
                </a:lnTo>
                <a:close/>
              </a:path>
            </a:pathLst>
          </a:custGeom>
          <a:no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154363447"/>
      </p:ext>
    </p:extLst>
  </p:cSld>
  <p:clrMapOvr>
    <a:masterClrMapping/>
  </p:clrMapOvr>
  <p:extLst>
    <p:ext uri="{DCECCB84-F9BA-43D5-87BE-67443E8EF086}">
      <p15:sldGuideLst xmlns:p15="http://schemas.microsoft.com/office/powerpoint/2012/main">
        <p15:guide id="3" orient="horz" pos="2233" userDrawn="1">
          <p15:clr>
            <a:srgbClr val="A4A3A4"/>
          </p15:clr>
        </p15:guide>
        <p15:guide id="5" orient="horz" pos="986" userDrawn="1">
          <p15:clr>
            <a:srgbClr val="A4A3A4"/>
          </p15:clr>
        </p15:guide>
        <p15:guide id="6" orient="horz" pos="1576" userDrawn="1">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wo Content and Large Image">
    <p:bg>
      <p:bgPr>
        <a:solidFill>
          <a:schemeClr val="accent4"/>
        </a:solidFill>
        <a:effectLst/>
      </p:bgPr>
    </p:bg>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BF738942-6048-45C4-98D8-C0116A51019A}"/>
              </a:ext>
            </a:extLst>
          </p:cNvPr>
          <p:cNvGrpSpPr/>
          <p:nvPr userDrawn="1"/>
        </p:nvGrpSpPr>
        <p:grpSpPr>
          <a:xfrm>
            <a:off x="6140583" y="1514596"/>
            <a:ext cx="6052444" cy="5343401"/>
            <a:chOff x="6140583" y="1514596"/>
            <a:chExt cx="6052444" cy="5343401"/>
          </a:xfrm>
        </p:grpSpPr>
        <p:sp>
          <p:nvSpPr>
            <p:cNvPr id="18" name="Freeform: Shape 17">
              <a:extLst>
                <a:ext uri="{FF2B5EF4-FFF2-40B4-BE49-F238E27FC236}">
                  <a16:creationId xmlns:a16="http://schemas.microsoft.com/office/drawing/2014/main" id="{05D24422-BEC0-46DA-A735-2F65A8E5017F}"/>
                </a:ext>
              </a:extLst>
            </p:cNvPr>
            <p:cNvSpPr/>
            <p:nvPr/>
          </p:nvSpPr>
          <p:spPr>
            <a:xfrm>
              <a:off x="9649277" y="2908322"/>
              <a:ext cx="1814208" cy="1635607"/>
            </a:xfrm>
            <a:custGeom>
              <a:avLst/>
              <a:gdLst>
                <a:gd name="connsiteX0" fmla="*/ 133414 w 1814208"/>
                <a:gd name="connsiteY0" fmla="*/ 1635607 h 1635607"/>
                <a:gd name="connsiteX1" fmla="*/ 0 w 1814208"/>
                <a:gd name="connsiteY1" fmla="*/ 1502322 h 1635607"/>
                <a:gd name="connsiteX2" fmla="*/ 64454 w 1814208"/>
                <a:gd name="connsiteY2" fmla="*/ 1388084 h 1635607"/>
                <a:gd name="connsiteX3" fmla="*/ 1579057 w 1814208"/>
                <a:gd name="connsiteY3" fmla="*/ 47217 h 1635607"/>
                <a:gd name="connsiteX4" fmla="*/ 1766991 w 1814208"/>
                <a:gd name="connsiteY4" fmla="*/ 31555 h 1635607"/>
                <a:gd name="connsiteX5" fmla="*/ 1784796 w 1814208"/>
                <a:gd name="connsiteY5" fmla="*/ 216889 h 1635607"/>
                <a:gd name="connsiteX6" fmla="*/ 202249 w 1814208"/>
                <a:gd name="connsiteY6" fmla="*/ 1616430 h 1635607"/>
                <a:gd name="connsiteX7" fmla="*/ 133415 w 1814208"/>
                <a:gd name="connsiteY7" fmla="*/ 1635607 h 1635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14208" h="1635607">
                  <a:moveTo>
                    <a:pt x="133414" y="1635607"/>
                  </a:moveTo>
                  <a:cubicBezTo>
                    <a:pt x="59767" y="1635643"/>
                    <a:pt x="36" y="1575969"/>
                    <a:pt x="0" y="1502322"/>
                  </a:cubicBezTo>
                  <a:cubicBezTo>
                    <a:pt x="-22" y="1455578"/>
                    <a:pt x="24432" y="1412235"/>
                    <a:pt x="64454" y="1388084"/>
                  </a:cubicBezTo>
                  <a:cubicBezTo>
                    <a:pt x="604585" y="1062202"/>
                    <a:pt x="1114110" y="611097"/>
                    <a:pt x="1579057" y="47217"/>
                  </a:cubicBezTo>
                  <a:cubicBezTo>
                    <a:pt x="1626628" y="-9005"/>
                    <a:pt x="1710769" y="-16017"/>
                    <a:pt x="1766991" y="31555"/>
                  </a:cubicBezTo>
                  <a:cubicBezTo>
                    <a:pt x="1822211" y="78279"/>
                    <a:pt x="1830110" y="160507"/>
                    <a:pt x="1784796" y="216889"/>
                  </a:cubicBezTo>
                  <a:cubicBezTo>
                    <a:pt x="1300673" y="804011"/>
                    <a:pt x="768796" y="1274927"/>
                    <a:pt x="202249" y="1616430"/>
                  </a:cubicBezTo>
                  <a:cubicBezTo>
                    <a:pt x="181474" y="1628959"/>
                    <a:pt x="157676" y="1635590"/>
                    <a:pt x="133415" y="1635607"/>
                  </a:cubicBezTo>
                  <a:close/>
                </a:path>
              </a:pathLst>
            </a:custGeom>
            <a:solidFill>
              <a:srgbClr val="FFFFFF"/>
            </a:solid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923FD5AC-26EE-4EB7-A613-3325FAB84AA3}"/>
                </a:ext>
              </a:extLst>
            </p:cNvPr>
            <p:cNvSpPr/>
            <p:nvPr/>
          </p:nvSpPr>
          <p:spPr>
            <a:xfrm>
              <a:off x="11203339" y="1514596"/>
              <a:ext cx="989688" cy="1659410"/>
            </a:xfrm>
            <a:custGeom>
              <a:avLst/>
              <a:gdLst>
                <a:gd name="connsiteX0" fmla="*/ 48871 w 989688"/>
                <a:gd name="connsiteY0" fmla="*/ 1629157 h 1659410"/>
                <a:gd name="connsiteX1" fmla="*/ 236372 w 989688"/>
                <a:gd name="connsiteY1" fmla="*/ 1610711 h 1659410"/>
                <a:gd name="connsiteX2" fmla="*/ 236450 w 989688"/>
                <a:gd name="connsiteY2" fmla="*/ 1610615 h 1659410"/>
                <a:gd name="connsiteX3" fmla="*/ 989688 w 989688"/>
                <a:gd name="connsiteY3" fmla="*/ 535051 h 1659410"/>
                <a:gd name="connsiteX4" fmla="*/ 989688 w 989688"/>
                <a:gd name="connsiteY4" fmla="*/ 0 h 1659410"/>
                <a:gd name="connsiteX5" fmla="*/ 30202 w 989688"/>
                <a:gd name="connsiteY5" fmla="*/ 1441578 h 1659410"/>
                <a:gd name="connsiteX6" fmla="*/ 48762 w 989688"/>
                <a:gd name="connsiteY6" fmla="*/ 1629068 h 1659410"/>
                <a:gd name="connsiteX7" fmla="*/ 48871 w 989688"/>
                <a:gd name="connsiteY7" fmla="*/ 1629157 h 1659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89688" h="1659410">
                  <a:moveTo>
                    <a:pt x="48871" y="1629157"/>
                  </a:moveTo>
                  <a:cubicBezTo>
                    <a:pt x="105742" y="1675840"/>
                    <a:pt x="189689" y="1667582"/>
                    <a:pt x="236372" y="1610711"/>
                  </a:cubicBezTo>
                  <a:cubicBezTo>
                    <a:pt x="236399" y="1610679"/>
                    <a:pt x="236424" y="1610647"/>
                    <a:pt x="236450" y="1610615"/>
                  </a:cubicBezTo>
                  <a:cubicBezTo>
                    <a:pt x="513004" y="1270625"/>
                    <a:pt x="764733" y="911176"/>
                    <a:pt x="989688" y="535051"/>
                  </a:cubicBezTo>
                  <a:lnTo>
                    <a:pt x="989688" y="0"/>
                  </a:lnTo>
                  <a:cubicBezTo>
                    <a:pt x="693354" y="541867"/>
                    <a:pt x="373526" y="1022393"/>
                    <a:pt x="30202" y="1441578"/>
                  </a:cubicBezTo>
                  <a:cubicBezTo>
                    <a:pt x="-16446" y="1498477"/>
                    <a:pt x="-8137" y="1582419"/>
                    <a:pt x="48762" y="1629068"/>
                  </a:cubicBezTo>
                  <a:cubicBezTo>
                    <a:pt x="48798" y="1629097"/>
                    <a:pt x="48835" y="1629127"/>
                    <a:pt x="48871" y="1629157"/>
                  </a:cubicBezTo>
                  <a:close/>
                </a:path>
              </a:pathLst>
            </a:custGeom>
            <a:solidFill>
              <a:srgbClr val="FFFFFF"/>
            </a:solidFill>
            <a:ln w="12700"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99417C80-6101-47AB-B3F7-40A05CC3A2EA}"/>
                </a:ext>
              </a:extLst>
            </p:cNvPr>
            <p:cNvSpPr/>
            <p:nvPr/>
          </p:nvSpPr>
          <p:spPr>
            <a:xfrm>
              <a:off x="6140583" y="4276592"/>
              <a:ext cx="3775525" cy="2581405"/>
            </a:xfrm>
            <a:custGeom>
              <a:avLst/>
              <a:gdLst>
                <a:gd name="connsiteX0" fmla="*/ 1653542 w 3775525"/>
                <a:gd name="connsiteY0" fmla="*/ 905005 h 2581405"/>
                <a:gd name="connsiteX1" fmla="*/ 3710943 w 3775525"/>
                <a:gd name="connsiteY1" fmla="*/ 247779 h 2581405"/>
                <a:gd name="connsiteX2" fmla="*/ 3756346 w 3775525"/>
                <a:gd name="connsiteY2" fmla="*/ 64582 h 2581405"/>
                <a:gd name="connsiteX3" fmla="*/ 3573149 w 3775525"/>
                <a:gd name="connsiteY3" fmla="*/ 19179 h 2581405"/>
                <a:gd name="connsiteX4" fmla="*/ 1651256 w 3775525"/>
                <a:gd name="connsiteY4" fmla="*/ 637796 h 2581405"/>
                <a:gd name="connsiteX5" fmla="*/ 843154 w 3775525"/>
                <a:gd name="connsiteY5" fmla="*/ 582933 h 2581405"/>
                <a:gd name="connsiteX6" fmla="*/ 682372 w 3775525"/>
                <a:gd name="connsiteY6" fmla="*/ 666753 h 2581405"/>
                <a:gd name="connsiteX7" fmla="*/ 0 w 3775525"/>
                <a:gd name="connsiteY7" fmla="*/ 2581406 h 2581405"/>
                <a:gd name="connsiteX8" fmla="*/ 283083 w 3775525"/>
                <a:gd name="connsiteY8" fmla="*/ 2581406 h 2581405"/>
                <a:gd name="connsiteX9" fmla="*/ 895224 w 3775525"/>
                <a:gd name="connsiteY9" fmla="*/ 866905 h 2581405"/>
                <a:gd name="connsiteX10" fmla="*/ 1653542 w 3775525"/>
                <a:gd name="connsiteY10" fmla="*/ 905005 h 2581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75525" h="2581405">
                  <a:moveTo>
                    <a:pt x="1653542" y="905005"/>
                  </a:moveTo>
                  <a:cubicBezTo>
                    <a:pt x="2139063" y="878589"/>
                    <a:pt x="2890142" y="742952"/>
                    <a:pt x="3710943" y="247779"/>
                  </a:cubicBezTo>
                  <a:cubicBezTo>
                    <a:pt x="3774070" y="209728"/>
                    <a:pt x="3794397" y="127708"/>
                    <a:pt x="3756346" y="64582"/>
                  </a:cubicBezTo>
                  <a:cubicBezTo>
                    <a:pt x="3718295" y="1456"/>
                    <a:pt x="3636275" y="-18872"/>
                    <a:pt x="3573149" y="19179"/>
                  </a:cubicBezTo>
                  <a:cubicBezTo>
                    <a:pt x="2804417" y="482983"/>
                    <a:pt x="2103756" y="611508"/>
                    <a:pt x="1651256" y="637796"/>
                  </a:cubicBezTo>
                  <a:cubicBezTo>
                    <a:pt x="1159892" y="666245"/>
                    <a:pt x="846075" y="583695"/>
                    <a:pt x="843154" y="582933"/>
                  </a:cubicBezTo>
                  <a:cubicBezTo>
                    <a:pt x="775894" y="564598"/>
                    <a:pt x="705853" y="601112"/>
                    <a:pt x="682372" y="666753"/>
                  </a:cubicBezTo>
                  <a:lnTo>
                    <a:pt x="0" y="2581406"/>
                  </a:lnTo>
                  <a:lnTo>
                    <a:pt x="283083" y="2581406"/>
                  </a:lnTo>
                  <a:lnTo>
                    <a:pt x="895224" y="866905"/>
                  </a:lnTo>
                  <a:cubicBezTo>
                    <a:pt x="1038734" y="892305"/>
                    <a:pt x="1303656" y="924563"/>
                    <a:pt x="1653542" y="905005"/>
                  </a:cubicBezTo>
                  <a:close/>
                </a:path>
              </a:pathLst>
            </a:custGeom>
            <a:solidFill>
              <a:srgbClr val="FFFFFF"/>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8737600" y="0"/>
            <a:ext cx="2733674" cy="6137275"/>
          </a:xfrm>
        </p:spPr>
        <p:txBody>
          <a:bodyPr/>
          <a:lstStyle/>
          <a:p>
            <a:r>
              <a:rPr lang="en-US"/>
              <a:t>Click icon to add picture</a:t>
            </a:r>
            <a:endParaRPr lang="en-GB" dirty="0"/>
          </a:p>
        </p:txBody>
      </p:sp>
      <p:sp>
        <p:nvSpPr>
          <p:cNvPr id="9" name="Content Placeholder 2">
            <a:extLst>
              <a:ext uri="{FF2B5EF4-FFF2-40B4-BE49-F238E27FC236}">
                <a16:creationId xmlns:a16="http://schemas.microsoft.com/office/drawing/2014/main" id="{91BA52AE-9ABC-4055-9C13-8C8165D9881B}"/>
              </a:ext>
            </a:extLst>
          </p:cNvPr>
          <p:cNvSpPr>
            <a:spLocks noGrp="1"/>
          </p:cNvSpPr>
          <p:nvPr>
            <p:ph idx="14"/>
          </p:nvPr>
        </p:nvSpPr>
        <p:spPr>
          <a:xfrm>
            <a:off x="4364038" y="2990638"/>
            <a:ext cx="3463925" cy="3146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990639"/>
            <a:ext cx="3463925" cy="3146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7" y="2128838"/>
            <a:ext cx="7108826" cy="756001"/>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7108826" cy="1368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1598337872"/>
      </p:ext>
    </p:extLst>
  </p:cSld>
  <p:clrMapOvr>
    <a:masterClrMapping/>
  </p:clrMapOvr>
  <p:extLst>
    <p:ext uri="{DCECCB84-F9BA-43D5-87BE-67443E8EF086}">
      <p15:sldGuideLst xmlns:p15="http://schemas.microsoft.com/office/powerpoint/2012/main">
        <p15:guide id="3" orient="horz" pos="2233" userDrawn="1">
          <p15:clr>
            <a:srgbClr val="A4A3A4"/>
          </p15:clr>
        </p15:guide>
        <p15:guide id="5" orient="horz" pos="986" userDrawn="1">
          <p15:clr>
            <a:srgbClr val="A4A3A4"/>
          </p15:clr>
        </p15:guide>
        <p15:guide id="6" orient="horz" pos="1576" userDrawn="1">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One Content and Large Image Left">
    <p:spTree>
      <p:nvGrpSpPr>
        <p:cNvPr id="1" name=""/>
        <p:cNvGrpSpPr/>
        <p:nvPr/>
      </p:nvGrpSpPr>
      <p:grpSpPr>
        <a:xfrm>
          <a:off x="0" y="0"/>
          <a:ext cx="0" cy="0"/>
          <a:chOff x="0" y="0"/>
          <a:chExt cx="0" cy="0"/>
        </a:xfrm>
      </p:grpSpPr>
      <p:grpSp>
        <p:nvGrpSpPr>
          <p:cNvPr id="18" name="Group 17">
            <a:extLst>
              <a:ext uri="{FF2B5EF4-FFF2-40B4-BE49-F238E27FC236}">
                <a16:creationId xmlns:a16="http://schemas.microsoft.com/office/drawing/2014/main" id="{6A97D11A-B07A-45DD-B5F7-3C1317C2F07A}"/>
              </a:ext>
            </a:extLst>
          </p:cNvPr>
          <p:cNvGrpSpPr/>
          <p:nvPr userDrawn="1"/>
        </p:nvGrpSpPr>
        <p:grpSpPr>
          <a:xfrm>
            <a:off x="0" y="0"/>
            <a:ext cx="5134863" cy="4480922"/>
            <a:chOff x="0" y="0"/>
            <a:chExt cx="5134863" cy="4480922"/>
          </a:xfrm>
        </p:grpSpPr>
        <p:sp>
          <p:nvSpPr>
            <p:cNvPr id="16" name="Freeform: Shape 15">
              <a:extLst>
                <a:ext uri="{FF2B5EF4-FFF2-40B4-BE49-F238E27FC236}">
                  <a16:creationId xmlns:a16="http://schemas.microsoft.com/office/drawing/2014/main" id="{F76299E4-E25F-4038-A9F4-ADCF55EE1965}"/>
                </a:ext>
              </a:extLst>
            </p:cNvPr>
            <p:cNvSpPr/>
            <p:nvPr/>
          </p:nvSpPr>
          <p:spPr>
            <a:xfrm>
              <a:off x="954718" y="0"/>
              <a:ext cx="4180145" cy="4480922"/>
            </a:xfrm>
            <a:custGeom>
              <a:avLst/>
              <a:gdLst>
                <a:gd name="connsiteX0" fmla="*/ 2385381 w 4180145"/>
                <a:gd name="connsiteY0" fmla="*/ 1186053 h 4480922"/>
                <a:gd name="connsiteX1" fmla="*/ 1048325 w 4180145"/>
                <a:gd name="connsiteY1" fmla="*/ 3687953 h 4480922"/>
                <a:gd name="connsiteX2" fmla="*/ 854777 w 4180145"/>
                <a:gd name="connsiteY2" fmla="*/ 4182364 h 4480922"/>
                <a:gd name="connsiteX3" fmla="*/ 176851 w 4180145"/>
                <a:gd name="connsiteY3" fmla="*/ 3948684 h 4480922"/>
                <a:gd name="connsiteX4" fmla="*/ 7306 w 4180145"/>
                <a:gd name="connsiteY4" fmla="*/ 4031361 h 4480922"/>
                <a:gd name="connsiteX5" fmla="*/ 89983 w 4180145"/>
                <a:gd name="connsiteY5" fmla="*/ 4200907 h 4480922"/>
                <a:gd name="connsiteX6" fmla="*/ 881701 w 4180145"/>
                <a:gd name="connsiteY6" fmla="*/ 4473448 h 4480922"/>
                <a:gd name="connsiteX7" fmla="*/ 1044769 w 4180145"/>
                <a:gd name="connsiteY7" fmla="*/ 4406900 h 4480922"/>
                <a:gd name="connsiteX8" fmla="*/ 1298134 w 4180145"/>
                <a:gd name="connsiteY8" fmla="*/ 3781679 h 4480922"/>
                <a:gd name="connsiteX9" fmla="*/ 4180146 w 4180145"/>
                <a:gd name="connsiteY9" fmla="*/ 0 h 4480922"/>
                <a:gd name="connsiteX10" fmla="*/ 3688274 w 4180145"/>
                <a:gd name="connsiteY10" fmla="*/ 0 h 4480922"/>
                <a:gd name="connsiteX11" fmla="*/ 2385381 w 4180145"/>
                <a:gd name="connsiteY11" fmla="*/ 1186053 h 4480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80145" h="4480922">
                  <a:moveTo>
                    <a:pt x="2385381" y="1186053"/>
                  </a:moveTo>
                  <a:cubicBezTo>
                    <a:pt x="1648781" y="2080387"/>
                    <a:pt x="1301690" y="3009392"/>
                    <a:pt x="1048325" y="3687953"/>
                  </a:cubicBezTo>
                  <a:cubicBezTo>
                    <a:pt x="978221" y="3875913"/>
                    <a:pt x="915483" y="4043553"/>
                    <a:pt x="854777" y="4182364"/>
                  </a:cubicBezTo>
                  <a:lnTo>
                    <a:pt x="176851" y="3948684"/>
                  </a:lnTo>
                  <a:cubicBezTo>
                    <a:pt x="107202" y="3924696"/>
                    <a:pt x="31294" y="3961712"/>
                    <a:pt x="7306" y="4031361"/>
                  </a:cubicBezTo>
                  <a:cubicBezTo>
                    <a:pt x="-16682" y="4101011"/>
                    <a:pt x="20334" y="4176918"/>
                    <a:pt x="89983" y="4200907"/>
                  </a:cubicBezTo>
                  <a:lnTo>
                    <a:pt x="881701" y="4473448"/>
                  </a:lnTo>
                  <a:cubicBezTo>
                    <a:pt x="945063" y="4495604"/>
                    <a:pt x="1015002" y="4467062"/>
                    <a:pt x="1044769" y="4406900"/>
                  </a:cubicBezTo>
                  <a:cubicBezTo>
                    <a:pt x="1127065" y="4239768"/>
                    <a:pt x="1206313" y="4027424"/>
                    <a:pt x="1298134" y="3781679"/>
                  </a:cubicBezTo>
                  <a:cubicBezTo>
                    <a:pt x="1691961" y="2726436"/>
                    <a:pt x="2292671" y="1117600"/>
                    <a:pt x="4180146" y="0"/>
                  </a:cubicBezTo>
                  <a:lnTo>
                    <a:pt x="3688274" y="0"/>
                  </a:lnTo>
                  <a:cubicBezTo>
                    <a:pt x="3200117" y="331803"/>
                    <a:pt x="2761457" y="731126"/>
                    <a:pt x="2385381" y="1186053"/>
                  </a:cubicBezTo>
                  <a:close/>
                </a:path>
              </a:pathLst>
            </a:custGeom>
            <a:solidFill>
              <a:srgbClr val="FFE84C"/>
            </a:solidFill>
            <a:ln w="12700"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5C98D058-C87A-4B6A-83A1-6235BF2E7E5F}"/>
                </a:ext>
              </a:extLst>
            </p:cNvPr>
            <p:cNvSpPr/>
            <p:nvPr/>
          </p:nvSpPr>
          <p:spPr>
            <a:xfrm>
              <a:off x="0" y="3559047"/>
              <a:ext cx="1221581" cy="649097"/>
            </a:xfrm>
            <a:custGeom>
              <a:avLst/>
              <a:gdLst>
                <a:gd name="connsiteX0" fmla="*/ 1088136 w 1221581"/>
                <a:gd name="connsiteY0" fmla="*/ 649097 h 649097"/>
                <a:gd name="connsiteX1" fmla="*/ 1221582 w 1221581"/>
                <a:gd name="connsiteY1" fmla="*/ 515843 h 649097"/>
                <a:gd name="connsiteX2" fmla="*/ 1131570 w 1221581"/>
                <a:gd name="connsiteY2" fmla="*/ 389636 h 649097"/>
                <a:gd name="connsiteX3" fmla="*/ 0 w 1221581"/>
                <a:gd name="connsiteY3" fmla="*/ 0 h 649097"/>
                <a:gd name="connsiteX4" fmla="*/ 0 w 1221581"/>
                <a:gd name="connsiteY4" fmla="*/ 282067 h 649097"/>
                <a:gd name="connsiteX5" fmla="*/ 1044702 w 1221581"/>
                <a:gd name="connsiteY5" fmla="*/ 641858 h 649097"/>
                <a:gd name="connsiteX6" fmla="*/ 1088136 w 1221581"/>
                <a:gd name="connsiteY6" fmla="*/ 649097 h 649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1581" h="649097">
                  <a:moveTo>
                    <a:pt x="1088136" y="649097"/>
                  </a:moveTo>
                  <a:cubicBezTo>
                    <a:pt x="1161783" y="649150"/>
                    <a:pt x="1221529" y="589490"/>
                    <a:pt x="1221582" y="515843"/>
                  </a:cubicBezTo>
                  <a:cubicBezTo>
                    <a:pt x="1221622" y="458864"/>
                    <a:pt x="1185456" y="408154"/>
                    <a:pt x="1131570" y="389636"/>
                  </a:cubicBezTo>
                  <a:lnTo>
                    <a:pt x="0" y="0"/>
                  </a:lnTo>
                  <a:lnTo>
                    <a:pt x="0" y="282067"/>
                  </a:lnTo>
                  <a:lnTo>
                    <a:pt x="1044702" y="641858"/>
                  </a:lnTo>
                  <a:cubicBezTo>
                    <a:pt x="1058681" y="646654"/>
                    <a:pt x="1073358" y="649101"/>
                    <a:pt x="1088136" y="649097"/>
                  </a:cubicBezTo>
                  <a:close/>
                </a:path>
              </a:pathLst>
            </a:custGeom>
            <a:solidFill>
              <a:srgbClr val="005C82"/>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719139" y="720725"/>
            <a:ext cx="4375150" cy="5416550"/>
          </a:xfrm>
        </p:spPr>
        <p:txBody>
          <a:bodyPr/>
          <a:lstStyle/>
          <a:p>
            <a:r>
              <a:rPr lang="en-US"/>
              <a:t>Click icon to add pictur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6005513" y="3374933"/>
            <a:ext cx="5465761" cy="27623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6005513" y="2128838"/>
            <a:ext cx="5465761" cy="1152001"/>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6005513" y="666744"/>
            <a:ext cx="5465761" cy="1368000"/>
          </a:xfrm>
        </p:spPr>
        <p:txBody>
          <a:bodyPr>
            <a:noAutofit/>
          </a:bodyPr>
          <a:lstStyle/>
          <a:p>
            <a:pPr lvl="0"/>
            <a:r>
              <a:rPr lang="en-US"/>
              <a:t>Click to edit Master title style</a:t>
            </a:r>
            <a:endParaRPr lang="en-GB" dirty="0"/>
          </a:p>
        </p:txBody>
      </p:sp>
    </p:spTree>
    <p:extLst>
      <p:ext uri="{BB962C8B-B14F-4D97-AF65-F5344CB8AC3E}">
        <p14:creationId xmlns:p14="http://schemas.microsoft.com/office/powerpoint/2010/main" val="3847709359"/>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One Content and Large Image Left 2">
    <p:bg>
      <p:bgPr>
        <a:solidFill>
          <a:schemeClr val="accent1"/>
        </a:solidFill>
        <a:effectLst/>
      </p:bgPr>
    </p:bg>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7259" y="720725"/>
            <a:ext cx="4375150" cy="5416550"/>
          </a:xfrm>
        </p:spPr>
        <p:txBody>
          <a:bodyPr/>
          <a:lstStyle/>
          <a:p>
            <a:r>
              <a:rPr lang="en-US"/>
              <a:t>Click icon to add pictur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6005513" y="666744"/>
            <a:ext cx="5465761" cy="672823"/>
          </a:xfrm>
        </p:spPr>
        <p:txBody>
          <a:bodyPr>
            <a:noAutofit/>
          </a:bodyPr>
          <a:lstStyle/>
          <a:p>
            <a:pPr lvl="0"/>
            <a:r>
              <a:rPr lang="en-US"/>
              <a:t>Click to edit Master title style</a:t>
            </a:r>
            <a:endParaRPr lang="en-GB" dirty="0"/>
          </a:p>
        </p:txBody>
      </p:sp>
      <p:sp>
        <p:nvSpPr>
          <p:cNvPr id="9" name="Subtitle 1">
            <a:extLst>
              <a:ext uri="{FF2B5EF4-FFF2-40B4-BE49-F238E27FC236}">
                <a16:creationId xmlns:a16="http://schemas.microsoft.com/office/drawing/2014/main" id="{2DA586D9-EBA0-4AB4-8F39-649FC494C899}"/>
              </a:ext>
            </a:extLst>
          </p:cNvPr>
          <p:cNvSpPr>
            <a:spLocks noGrp="1"/>
          </p:cNvSpPr>
          <p:nvPr>
            <p:ph type="subTitle" idx="12"/>
          </p:nvPr>
        </p:nvSpPr>
        <p:spPr>
          <a:xfrm>
            <a:off x="6005513" y="1339568"/>
            <a:ext cx="5465761" cy="527734"/>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10" name="Freeform: Shape 9">
            <a:extLst>
              <a:ext uri="{FF2B5EF4-FFF2-40B4-BE49-F238E27FC236}">
                <a16:creationId xmlns:a16="http://schemas.microsoft.com/office/drawing/2014/main" id="{3B7B3F0B-1F83-4BC9-8F30-052B22C24275}"/>
              </a:ext>
            </a:extLst>
          </p:cNvPr>
          <p:cNvSpPr/>
          <p:nvPr userDrawn="1"/>
        </p:nvSpPr>
        <p:spPr>
          <a:xfrm rot="18016983">
            <a:off x="-1583825" y="693673"/>
            <a:ext cx="6428373" cy="5597475"/>
          </a:xfrm>
          <a:custGeom>
            <a:avLst/>
            <a:gdLst>
              <a:gd name="connsiteX0" fmla="*/ 2795284 w 6428373"/>
              <a:gd name="connsiteY0" fmla="*/ 4502023 h 5597475"/>
              <a:gd name="connsiteX1" fmla="*/ 128919 w 6428373"/>
              <a:gd name="connsiteY1" fmla="*/ 5330698 h 5597475"/>
              <a:gd name="connsiteX2" fmla="*/ 78 w 6428373"/>
              <a:gd name="connsiteY2" fmla="*/ 5468557 h 5597475"/>
              <a:gd name="connsiteX3" fmla="*/ 137936 w 6428373"/>
              <a:gd name="connsiteY3" fmla="*/ 5597398 h 5597475"/>
              <a:gd name="connsiteX4" fmla="*/ 147207 w 6428373"/>
              <a:gd name="connsiteY4" fmla="*/ 5597398 h 5597475"/>
              <a:gd name="connsiteX5" fmla="*/ 2928507 w 6428373"/>
              <a:gd name="connsiteY5" fmla="*/ 4733798 h 5597475"/>
              <a:gd name="connsiteX6" fmla="*/ 5107066 w 6428373"/>
              <a:gd name="connsiteY6" fmla="*/ 2848991 h 5597475"/>
              <a:gd name="connsiteX7" fmla="*/ 6188597 w 6428373"/>
              <a:gd name="connsiteY7" fmla="*/ 840232 h 5597475"/>
              <a:gd name="connsiteX8" fmla="*/ 6428374 w 6428373"/>
              <a:gd name="connsiteY8" fmla="*/ 0 h 5597475"/>
              <a:gd name="connsiteX9" fmla="*/ 6154307 w 6428373"/>
              <a:gd name="connsiteY9" fmla="*/ 0 h 5597475"/>
              <a:gd name="connsiteX10" fmla="*/ 5936756 w 6428373"/>
              <a:gd name="connsiteY10" fmla="*/ 752348 h 5597475"/>
              <a:gd name="connsiteX11" fmla="*/ 2795284 w 6428373"/>
              <a:gd name="connsiteY11" fmla="*/ 4502023 h 559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28373" h="5597475">
                <a:moveTo>
                  <a:pt x="2795284" y="4502023"/>
                </a:moveTo>
                <a:cubicBezTo>
                  <a:pt x="1951750" y="4988052"/>
                  <a:pt x="1054622" y="5266944"/>
                  <a:pt x="128919" y="5330698"/>
                </a:cubicBezTo>
                <a:cubicBezTo>
                  <a:pt x="55272" y="5333188"/>
                  <a:pt x="-2412" y="5394909"/>
                  <a:pt x="78" y="5468557"/>
                </a:cubicBezTo>
                <a:cubicBezTo>
                  <a:pt x="2568" y="5542204"/>
                  <a:pt x="64289" y="5599888"/>
                  <a:pt x="137936" y="5597398"/>
                </a:cubicBezTo>
                <a:cubicBezTo>
                  <a:pt x="140984" y="5597398"/>
                  <a:pt x="144032" y="5597398"/>
                  <a:pt x="147207" y="5597398"/>
                </a:cubicBezTo>
                <a:cubicBezTo>
                  <a:pt x="1113677" y="5530850"/>
                  <a:pt x="2049540" y="5240274"/>
                  <a:pt x="2928507" y="4733798"/>
                </a:cubicBezTo>
                <a:cubicBezTo>
                  <a:pt x="3796553" y="4233545"/>
                  <a:pt x="4529596" y="3599434"/>
                  <a:pt x="5107066" y="2848991"/>
                </a:cubicBezTo>
                <a:cubicBezTo>
                  <a:pt x="5572820" y="2241642"/>
                  <a:pt x="5937983" y="1563415"/>
                  <a:pt x="6188597" y="840232"/>
                </a:cubicBezTo>
                <a:cubicBezTo>
                  <a:pt x="6284668" y="565016"/>
                  <a:pt x="6364727" y="284469"/>
                  <a:pt x="6428374" y="0"/>
                </a:cubicBezTo>
                <a:lnTo>
                  <a:pt x="6154307" y="0"/>
                </a:lnTo>
                <a:cubicBezTo>
                  <a:pt x="6095493" y="254544"/>
                  <a:pt x="6022869" y="505698"/>
                  <a:pt x="5936756" y="752348"/>
                </a:cubicBezTo>
                <a:cubicBezTo>
                  <a:pt x="5550422" y="1859915"/>
                  <a:pt x="4691267" y="3409442"/>
                  <a:pt x="2795284" y="4502023"/>
                </a:cubicBezTo>
                <a:close/>
              </a:path>
            </a:pathLst>
          </a:custGeom>
          <a:solidFill>
            <a:srgbClr val="005C82"/>
          </a:solid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3892404241"/>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One Content and Image Left">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2AADBDED-F3FE-4CAB-88F5-3C5B19159405}"/>
              </a:ext>
            </a:extLst>
          </p:cNvPr>
          <p:cNvGrpSpPr/>
          <p:nvPr userDrawn="1"/>
        </p:nvGrpSpPr>
        <p:grpSpPr>
          <a:xfrm>
            <a:off x="0" y="0"/>
            <a:ext cx="5134863" cy="4480922"/>
            <a:chOff x="0" y="0"/>
            <a:chExt cx="5134863" cy="4480922"/>
          </a:xfrm>
        </p:grpSpPr>
        <p:sp>
          <p:nvSpPr>
            <p:cNvPr id="14" name="Freeform: Shape 13">
              <a:extLst>
                <a:ext uri="{FF2B5EF4-FFF2-40B4-BE49-F238E27FC236}">
                  <a16:creationId xmlns:a16="http://schemas.microsoft.com/office/drawing/2014/main" id="{2F20CED0-286C-49EF-8946-C9362682E66E}"/>
                </a:ext>
              </a:extLst>
            </p:cNvPr>
            <p:cNvSpPr/>
            <p:nvPr/>
          </p:nvSpPr>
          <p:spPr>
            <a:xfrm>
              <a:off x="954718" y="0"/>
              <a:ext cx="4180145" cy="4480922"/>
            </a:xfrm>
            <a:custGeom>
              <a:avLst/>
              <a:gdLst>
                <a:gd name="connsiteX0" fmla="*/ 2385381 w 4180145"/>
                <a:gd name="connsiteY0" fmla="*/ 1186053 h 4480922"/>
                <a:gd name="connsiteX1" fmla="*/ 1048325 w 4180145"/>
                <a:gd name="connsiteY1" fmla="*/ 3687953 h 4480922"/>
                <a:gd name="connsiteX2" fmla="*/ 854777 w 4180145"/>
                <a:gd name="connsiteY2" fmla="*/ 4182364 h 4480922"/>
                <a:gd name="connsiteX3" fmla="*/ 176851 w 4180145"/>
                <a:gd name="connsiteY3" fmla="*/ 3948684 h 4480922"/>
                <a:gd name="connsiteX4" fmla="*/ 7306 w 4180145"/>
                <a:gd name="connsiteY4" fmla="*/ 4031361 h 4480922"/>
                <a:gd name="connsiteX5" fmla="*/ 89983 w 4180145"/>
                <a:gd name="connsiteY5" fmla="*/ 4200907 h 4480922"/>
                <a:gd name="connsiteX6" fmla="*/ 881701 w 4180145"/>
                <a:gd name="connsiteY6" fmla="*/ 4473448 h 4480922"/>
                <a:gd name="connsiteX7" fmla="*/ 1044769 w 4180145"/>
                <a:gd name="connsiteY7" fmla="*/ 4406900 h 4480922"/>
                <a:gd name="connsiteX8" fmla="*/ 1298134 w 4180145"/>
                <a:gd name="connsiteY8" fmla="*/ 3781679 h 4480922"/>
                <a:gd name="connsiteX9" fmla="*/ 4180146 w 4180145"/>
                <a:gd name="connsiteY9" fmla="*/ 0 h 4480922"/>
                <a:gd name="connsiteX10" fmla="*/ 3688274 w 4180145"/>
                <a:gd name="connsiteY10" fmla="*/ 0 h 4480922"/>
                <a:gd name="connsiteX11" fmla="*/ 2385381 w 4180145"/>
                <a:gd name="connsiteY11" fmla="*/ 1186053 h 4480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80145" h="4480922">
                  <a:moveTo>
                    <a:pt x="2385381" y="1186053"/>
                  </a:moveTo>
                  <a:cubicBezTo>
                    <a:pt x="1648781" y="2080387"/>
                    <a:pt x="1301690" y="3009392"/>
                    <a:pt x="1048325" y="3687953"/>
                  </a:cubicBezTo>
                  <a:cubicBezTo>
                    <a:pt x="978221" y="3875913"/>
                    <a:pt x="915483" y="4043553"/>
                    <a:pt x="854777" y="4182364"/>
                  </a:cubicBezTo>
                  <a:lnTo>
                    <a:pt x="176851" y="3948684"/>
                  </a:lnTo>
                  <a:cubicBezTo>
                    <a:pt x="107202" y="3924696"/>
                    <a:pt x="31294" y="3961712"/>
                    <a:pt x="7306" y="4031361"/>
                  </a:cubicBezTo>
                  <a:cubicBezTo>
                    <a:pt x="-16682" y="4101011"/>
                    <a:pt x="20334" y="4176918"/>
                    <a:pt x="89983" y="4200907"/>
                  </a:cubicBezTo>
                  <a:lnTo>
                    <a:pt x="881701" y="4473448"/>
                  </a:lnTo>
                  <a:cubicBezTo>
                    <a:pt x="945063" y="4495604"/>
                    <a:pt x="1015002" y="4467062"/>
                    <a:pt x="1044769" y="4406900"/>
                  </a:cubicBezTo>
                  <a:cubicBezTo>
                    <a:pt x="1127065" y="4239768"/>
                    <a:pt x="1206313" y="4027424"/>
                    <a:pt x="1298134" y="3781679"/>
                  </a:cubicBezTo>
                  <a:cubicBezTo>
                    <a:pt x="1691961" y="2726436"/>
                    <a:pt x="2292671" y="1117600"/>
                    <a:pt x="4180146" y="0"/>
                  </a:cubicBezTo>
                  <a:lnTo>
                    <a:pt x="3688274" y="0"/>
                  </a:lnTo>
                  <a:cubicBezTo>
                    <a:pt x="3200117" y="331803"/>
                    <a:pt x="2761457" y="731126"/>
                    <a:pt x="2385381" y="1186053"/>
                  </a:cubicBezTo>
                  <a:close/>
                </a:path>
              </a:pathLst>
            </a:custGeom>
            <a:solidFill>
              <a:schemeClr val="accent1"/>
            </a:solidFill>
            <a:ln w="12700"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C27D2956-1F82-4E82-8703-8B886F1DDC2B}"/>
                </a:ext>
              </a:extLst>
            </p:cNvPr>
            <p:cNvSpPr/>
            <p:nvPr/>
          </p:nvSpPr>
          <p:spPr>
            <a:xfrm>
              <a:off x="0" y="3559047"/>
              <a:ext cx="1221581" cy="649097"/>
            </a:xfrm>
            <a:custGeom>
              <a:avLst/>
              <a:gdLst>
                <a:gd name="connsiteX0" fmla="*/ 1088136 w 1221581"/>
                <a:gd name="connsiteY0" fmla="*/ 649097 h 649097"/>
                <a:gd name="connsiteX1" fmla="*/ 1221582 w 1221581"/>
                <a:gd name="connsiteY1" fmla="*/ 515843 h 649097"/>
                <a:gd name="connsiteX2" fmla="*/ 1131570 w 1221581"/>
                <a:gd name="connsiteY2" fmla="*/ 389636 h 649097"/>
                <a:gd name="connsiteX3" fmla="*/ 0 w 1221581"/>
                <a:gd name="connsiteY3" fmla="*/ 0 h 649097"/>
                <a:gd name="connsiteX4" fmla="*/ 0 w 1221581"/>
                <a:gd name="connsiteY4" fmla="*/ 282067 h 649097"/>
                <a:gd name="connsiteX5" fmla="*/ 1044702 w 1221581"/>
                <a:gd name="connsiteY5" fmla="*/ 641858 h 649097"/>
                <a:gd name="connsiteX6" fmla="*/ 1088136 w 1221581"/>
                <a:gd name="connsiteY6" fmla="*/ 649097 h 6490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1581" h="649097">
                  <a:moveTo>
                    <a:pt x="1088136" y="649097"/>
                  </a:moveTo>
                  <a:cubicBezTo>
                    <a:pt x="1161783" y="649150"/>
                    <a:pt x="1221529" y="589490"/>
                    <a:pt x="1221582" y="515843"/>
                  </a:cubicBezTo>
                  <a:cubicBezTo>
                    <a:pt x="1221622" y="458864"/>
                    <a:pt x="1185456" y="408154"/>
                    <a:pt x="1131570" y="389636"/>
                  </a:cubicBezTo>
                  <a:lnTo>
                    <a:pt x="0" y="0"/>
                  </a:lnTo>
                  <a:lnTo>
                    <a:pt x="0" y="282067"/>
                  </a:lnTo>
                  <a:lnTo>
                    <a:pt x="1044702" y="641858"/>
                  </a:lnTo>
                  <a:cubicBezTo>
                    <a:pt x="1058681" y="646654"/>
                    <a:pt x="1073358" y="649101"/>
                    <a:pt x="1088136" y="649097"/>
                  </a:cubicBezTo>
                  <a:close/>
                </a:path>
              </a:pathLst>
            </a:custGeom>
            <a:solidFill>
              <a:srgbClr val="005C82"/>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719139" y="720725"/>
            <a:ext cx="3463924" cy="5416550"/>
          </a:xfrm>
        </p:spPr>
        <p:txBody>
          <a:bodyPr/>
          <a:lstStyle/>
          <a:p>
            <a:r>
              <a:rPr lang="en-US"/>
              <a:t>Click icon to add picture</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5094289" y="3374933"/>
            <a:ext cx="6376986" cy="27623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5094289" y="2128838"/>
            <a:ext cx="6376986" cy="1152001"/>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5094289" y="666744"/>
            <a:ext cx="6376986" cy="1368000"/>
          </a:xfrm>
        </p:spPr>
        <p:txBody>
          <a:bodyPr>
            <a:noAutofit/>
          </a:bodyPr>
          <a:lstStyle/>
          <a:p>
            <a:pPr lvl="0"/>
            <a:r>
              <a:rPr lang="en-US"/>
              <a:t>Click to edit Master title style</a:t>
            </a:r>
            <a:endParaRPr lang="en-GB" dirty="0"/>
          </a:p>
        </p:txBody>
      </p:sp>
    </p:spTree>
    <p:extLst>
      <p:ext uri="{BB962C8B-B14F-4D97-AF65-F5344CB8AC3E}">
        <p14:creationId xmlns:p14="http://schemas.microsoft.com/office/powerpoint/2010/main" val="2774142057"/>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ntent and Image">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623F42A6-7097-4D1F-8F48-FDAEECAAEB72}"/>
              </a:ext>
            </a:extLst>
          </p:cNvPr>
          <p:cNvGrpSpPr/>
          <p:nvPr userDrawn="1"/>
        </p:nvGrpSpPr>
        <p:grpSpPr>
          <a:xfrm>
            <a:off x="8944357" y="1706544"/>
            <a:ext cx="3247771" cy="5151963"/>
            <a:chOff x="8944357" y="1706544"/>
            <a:chExt cx="3247771" cy="5151963"/>
          </a:xfrm>
        </p:grpSpPr>
        <p:sp>
          <p:nvSpPr>
            <p:cNvPr id="15" name="Freeform: Shape 14">
              <a:extLst>
                <a:ext uri="{FF2B5EF4-FFF2-40B4-BE49-F238E27FC236}">
                  <a16:creationId xmlns:a16="http://schemas.microsoft.com/office/drawing/2014/main" id="{321533E8-4C38-475F-B611-B8828AB98470}"/>
                </a:ext>
              </a:extLst>
            </p:cNvPr>
            <p:cNvSpPr/>
            <p:nvPr/>
          </p:nvSpPr>
          <p:spPr>
            <a:xfrm>
              <a:off x="10661843" y="1723135"/>
              <a:ext cx="1530285" cy="499378"/>
            </a:xfrm>
            <a:custGeom>
              <a:avLst/>
              <a:gdLst>
                <a:gd name="connsiteX0" fmla="*/ 156018 w 1530285"/>
                <a:gd name="connsiteY0" fmla="*/ 197739 h 499378"/>
                <a:gd name="connsiteX1" fmla="*/ 1904 w 1530285"/>
                <a:gd name="connsiteY1" fmla="*/ 307150 h 499378"/>
                <a:gd name="connsiteX2" fmla="*/ 111314 w 1530285"/>
                <a:gd name="connsiteY2" fmla="*/ 461264 h 499378"/>
                <a:gd name="connsiteX3" fmla="*/ 561657 w 1530285"/>
                <a:gd name="connsiteY3" fmla="*/ 499364 h 499378"/>
                <a:gd name="connsiteX4" fmla="*/ 1443799 w 1530285"/>
                <a:gd name="connsiteY4" fmla="*/ 331343 h 499378"/>
                <a:gd name="connsiteX5" fmla="*/ 1530286 w 1530285"/>
                <a:gd name="connsiteY5" fmla="*/ 294259 h 499378"/>
                <a:gd name="connsiteX6" fmla="*/ 1530286 w 1530285"/>
                <a:gd name="connsiteY6" fmla="*/ 0 h 499378"/>
                <a:gd name="connsiteX7" fmla="*/ 156018 w 1530285"/>
                <a:gd name="connsiteY7" fmla="*/ 197739 h 4993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30285" h="499378">
                  <a:moveTo>
                    <a:pt x="156018" y="197739"/>
                  </a:moveTo>
                  <a:cubicBezTo>
                    <a:pt x="83248" y="185395"/>
                    <a:pt x="14249" y="234379"/>
                    <a:pt x="1904" y="307150"/>
                  </a:cubicBezTo>
                  <a:cubicBezTo>
                    <a:pt x="-10441" y="379920"/>
                    <a:pt x="38544" y="448920"/>
                    <a:pt x="111314" y="461264"/>
                  </a:cubicBezTo>
                  <a:cubicBezTo>
                    <a:pt x="260093" y="486584"/>
                    <a:pt x="410739" y="499329"/>
                    <a:pt x="561657" y="499364"/>
                  </a:cubicBezTo>
                  <a:cubicBezTo>
                    <a:pt x="863755" y="500417"/>
                    <a:pt x="1163239" y="443375"/>
                    <a:pt x="1443799" y="331343"/>
                  </a:cubicBezTo>
                  <a:cubicBezTo>
                    <a:pt x="1472882" y="319659"/>
                    <a:pt x="1501711" y="307213"/>
                    <a:pt x="1530286" y="294259"/>
                  </a:cubicBezTo>
                  <a:lnTo>
                    <a:pt x="1530286" y="0"/>
                  </a:lnTo>
                  <a:cubicBezTo>
                    <a:pt x="1126426" y="210693"/>
                    <a:pt x="653859" y="282194"/>
                    <a:pt x="156018" y="197739"/>
                  </a:cubicBezTo>
                  <a:close/>
                </a:path>
              </a:pathLst>
            </a:custGeom>
            <a:solidFill>
              <a:srgbClr val="9EDED4"/>
            </a:solidFill>
            <a:ln w="12700"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002651D8-68D2-4C77-A852-FB29D7F2CA05}"/>
                </a:ext>
              </a:extLst>
            </p:cNvPr>
            <p:cNvSpPr/>
            <p:nvPr/>
          </p:nvSpPr>
          <p:spPr>
            <a:xfrm>
              <a:off x="8944357" y="1706544"/>
              <a:ext cx="1984567" cy="5151963"/>
            </a:xfrm>
            <a:custGeom>
              <a:avLst/>
              <a:gdLst>
                <a:gd name="connsiteX0" fmla="*/ 1510919 w 1984567"/>
                <a:gd name="connsiteY0" fmla="*/ 2170384 h 5151963"/>
                <a:gd name="connsiteX1" fmla="*/ 1344041 w 1984567"/>
                <a:gd name="connsiteY1" fmla="*/ 352379 h 5151963"/>
                <a:gd name="connsiteX2" fmla="*/ 1828800 w 1984567"/>
                <a:gd name="connsiteY2" fmla="*/ 477855 h 5151963"/>
                <a:gd name="connsiteX3" fmla="*/ 1982660 w 1984567"/>
                <a:gd name="connsiteY3" fmla="*/ 368699 h 5151963"/>
                <a:gd name="connsiteX4" fmla="*/ 1873504 w 1984567"/>
                <a:gd name="connsiteY4" fmla="*/ 214838 h 5151963"/>
                <a:gd name="connsiteX5" fmla="*/ 1199642 w 1984567"/>
                <a:gd name="connsiteY5" fmla="*/ 11003 h 5151963"/>
                <a:gd name="connsiteX6" fmla="*/ 1024297 w 1984567"/>
                <a:gd name="connsiteY6" fmla="*/ 80421 h 5151963"/>
                <a:gd name="connsiteX7" fmla="*/ 1019810 w 1984567"/>
                <a:gd name="connsiteY7" fmla="*/ 174452 h 5151963"/>
                <a:gd name="connsiteX8" fmla="*/ 1244600 w 1984567"/>
                <a:gd name="connsiteY8" fmla="*/ 2157812 h 5151963"/>
                <a:gd name="connsiteX9" fmla="*/ 0 w 1984567"/>
                <a:gd name="connsiteY9" fmla="*/ 5151964 h 5151963"/>
                <a:gd name="connsiteX10" fmla="*/ 363474 w 1984567"/>
                <a:gd name="connsiteY10" fmla="*/ 5151964 h 5151963"/>
                <a:gd name="connsiteX11" fmla="*/ 1079500 w 1984567"/>
                <a:gd name="connsiteY11" fmla="*/ 4042619 h 5151963"/>
                <a:gd name="connsiteX12" fmla="*/ 1510919 w 1984567"/>
                <a:gd name="connsiteY12" fmla="*/ 2170384 h 5151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84567" h="5151963">
                  <a:moveTo>
                    <a:pt x="1510919" y="2170384"/>
                  </a:moveTo>
                  <a:cubicBezTo>
                    <a:pt x="1539305" y="1559589"/>
                    <a:pt x="1483148" y="947800"/>
                    <a:pt x="1344041" y="352379"/>
                  </a:cubicBezTo>
                  <a:cubicBezTo>
                    <a:pt x="1501954" y="407291"/>
                    <a:pt x="1664076" y="449255"/>
                    <a:pt x="1828800" y="477855"/>
                  </a:cubicBezTo>
                  <a:cubicBezTo>
                    <a:pt x="1901430" y="490200"/>
                    <a:pt x="1970316" y="441329"/>
                    <a:pt x="1982660" y="368699"/>
                  </a:cubicBezTo>
                  <a:cubicBezTo>
                    <a:pt x="1995005" y="296069"/>
                    <a:pt x="1946134" y="227183"/>
                    <a:pt x="1873504" y="214838"/>
                  </a:cubicBezTo>
                  <a:cubicBezTo>
                    <a:pt x="1641537" y="174100"/>
                    <a:pt x="1415298" y="105666"/>
                    <a:pt x="1199642" y="11003"/>
                  </a:cubicBezTo>
                  <a:cubicBezTo>
                    <a:pt x="1132053" y="-18248"/>
                    <a:pt x="1053548" y="12831"/>
                    <a:pt x="1024297" y="80421"/>
                  </a:cubicBezTo>
                  <a:cubicBezTo>
                    <a:pt x="1011420" y="110176"/>
                    <a:pt x="1009825" y="143605"/>
                    <a:pt x="1019810" y="174452"/>
                  </a:cubicBezTo>
                  <a:cubicBezTo>
                    <a:pt x="1022604" y="183088"/>
                    <a:pt x="1299210" y="1052911"/>
                    <a:pt x="1244600" y="2157812"/>
                  </a:cubicBezTo>
                  <a:cubicBezTo>
                    <a:pt x="1184783" y="3375869"/>
                    <a:pt x="766699" y="4380312"/>
                    <a:pt x="0" y="5151964"/>
                  </a:cubicBezTo>
                  <a:lnTo>
                    <a:pt x="363474" y="5151964"/>
                  </a:lnTo>
                  <a:cubicBezTo>
                    <a:pt x="656641" y="4820341"/>
                    <a:pt x="898039" y="4446342"/>
                    <a:pt x="1079500" y="4042619"/>
                  </a:cubicBezTo>
                  <a:cubicBezTo>
                    <a:pt x="1332357" y="3479882"/>
                    <a:pt x="1477645" y="2850216"/>
                    <a:pt x="1510919" y="2170384"/>
                  </a:cubicBezTo>
                  <a:close/>
                </a:path>
              </a:pathLst>
            </a:custGeom>
            <a:solidFill>
              <a:srgbClr val="85ABE3"/>
            </a:solidFill>
            <a:ln w="12700" cap="flat">
              <a:noFill/>
              <a:prstDash val="solid"/>
              <a:miter/>
            </a:ln>
          </p:spPr>
          <p:txBody>
            <a:bodyPr rtlCol="0" anchor="ctr"/>
            <a:lstStyle/>
            <a:p>
              <a:endParaRPr lang="en-GB"/>
            </a:p>
          </p:txBody>
        </p:sp>
      </p:gr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6" name="Picture Placeholder 5">
            <a:extLst>
              <a:ext uri="{FF2B5EF4-FFF2-40B4-BE49-F238E27FC236}">
                <a16:creationId xmlns:a16="http://schemas.microsoft.com/office/drawing/2014/main" id="{C4640013-B17B-4FBE-AAD0-8922287B3E0B}"/>
              </a:ext>
            </a:extLst>
          </p:cNvPr>
          <p:cNvSpPr>
            <a:spLocks noGrp="1"/>
          </p:cNvSpPr>
          <p:nvPr>
            <p:ph type="pic" sz="quarter" idx="13"/>
          </p:nvPr>
        </p:nvSpPr>
        <p:spPr>
          <a:xfrm>
            <a:off x="8737600" y="2128838"/>
            <a:ext cx="2733673" cy="4006800"/>
          </a:xfrm>
        </p:spPr>
        <p:txBody>
          <a:bodyPr/>
          <a:lstStyle/>
          <a:p>
            <a:r>
              <a:rPr lang="en-US"/>
              <a:t>Click icon to add picture</a:t>
            </a:r>
            <a:endParaRPr lang="en-GB" dirty="0"/>
          </a:p>
        </p:txBody>
      </p:sp>
      <p:sp>
        <p:nvSpPr>
          <p:cNvPr id="9" name="Content Placeholder 2">
            <a:extLst>
              <a:ext uri="{FF2B5EF4-FFF2-40B4-BE49-F238E27FC236}">
                <a16:creationId xmlns:a16="http://schemas.microsoft.com/office/drawing/2014/main" id="{6B4CA702-2FD4-456F-AE3B-5E547319FD5E}"/>
              </a:ext>
            </a:extLst>
          </p:cNvPr>
          <p:cNvSpPr>
            <a:spLocks noGrp="1"/>
          </p:cNvSpPr>
          <p:nvPr>
            <p:ph idx="14"/>
          </p:nvPr>
        </p:nvSpPr>
        <p:spPr>
          <a:xfrm>
            <a:off x="4364038"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9" y="2128838"/>
            <a:ext cx="3463924"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8929688"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p:txBody>
          <a:bodyPr/>
          <a:lstStyle/>
          <a:p>
            <a:pPr lvl="0"/>
            <a:r>
              <a:rPr lang="en-US"/>
              <a:t>Click to edit Master title style</a:t>
            </a:r>
            <a:endParaRPr lang="en-GB" dirty="0"/>
          </a:p>
        </p:txBody>
      </p:sp>
    </p:spTree>
    <p:extLst>
      <p:ext uri="{BB962C8B-B14F-4D97-AF65-F5344CB8AC3E}">
        <p14:creationId xmlns:p14="http://schemas.microsoft.com/office/powerpoint/2010/main" val="372603204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8007349"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4362450"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8" y="2128838"/>
            <a:ext cx="3463925"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10752136"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7"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1760133430"/>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am Bio 1">
    <p:bg>
      <p:bgPr>
        <a:solidFill>
          <a:schemeClr val="accent5"/>
        </a:solidFill>
        <a:effectLst/>
      </p:bgPr>
    </p:bg>
    <p:spTree>
      <p:nvGrpSpPr>
        <p:cNvPr id="1" name=""/>
        <p:cNvGrpSpPr/>
        <p:nvPr/>
      </p:nvGrpSpPr>
      <p:grpSpPr>
        <a:xfrm>
          <a:off x="0" y="0"/>
          <a:ext cx="0" cy="0"/>
          <a:chOff x="0" y="0"/>
          <a:chExt cx="0" cy="0"/>
        </a:xfrm>
      </p:grpSpPr>
      <p:sp>
        <p:nvSpPr>
          <p:cNvPr id="19" name="Freeform: Shape 18">
            <a:extLst>
              <a:ext uri="{FF2B5EF4-FFF2-40B4-BE49-F238E27FC236}">
                <a16:creationId xmlns:a16="http://schemas.microsoft.com/office/drawing/2014/main" id="{8B05E4C6-B644-4A07-BE10-28429BB2C13E}"/>
              </a:ext>
            </a:extLst>
          </p:cNvPr>
          <p:cNvSpPr/>
          <p:nvPr userDrawn="1"/>
        </p:nvSpPr>
        <p:spPr>
          <a:xfrm>
            <a:off x="8612632" y="0"/>
            <a:ext cx="3579368" cy="1883155"/>
          </a:xfrm>
          <a:custGeom>
            <a:avLst/>
            <a:gdLst>
              <a:gd name="connsiteX0" fmla="*/ 450088 w 3579368"/>
              <a:gd name="connsiteY0" fmla="*/ 499872 h 1883155"/>
              <a:gd name="connsiteX1" fmla="*/ 1723898 w 3579368"/>
              <a:gd name="connsiteY1" fmla="*/ 1398143 h 1883155"/>
              <a:gd name="connsiteX2" fmla="*/ 3579368 w 3579368"/>
              <a:gd name="connsiteY2" fmla="*/ 1883156 h 1883155"/>
              <a:gd name="connsiteX3" fmla="*/ 3579368 w 3579368"/>
              <a:gd name="connsiteY3" fmla="*/ 1615694 h 1883155"/>
              <a:gd name="connsiteX4" fmla="*/ 644017 w 3579368"/>
              <a:gd name="connsiteY4" fmla="*/ 316484 h 1883155"/>
              <a:gd name="connsiteX5" fmla="*/ 346075 w 3579368"/>
              <a:gd name="connsiteY5" fmla="*/ 0 h 1883155"/>
              <a:gd name="connsiteX6" fmla="*/ 0 w 3579368"/>
              <a:gd name="connsiteY6" fmla="*/ 0 h 1883155"/>
              <a:gd name="connsiteX7" fmla="*/ 450088 w 3579368"/>
              <a:gd name="connsiteY7" fmla="*/ 499872 h 1883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368" h="1883155">
                <a:moveTo>
                  <a:pt x="450088" y="499872"/>
                </a:moveTo>
                <a:cubicBezTo>
                  <a:pt x="823820" y="865611"/>
                  <a:pt x="1253909" y="1168903"/>
                  <a:pt x="1723898" y="1398143"/>
                </a:cubicBezTo>
                <a:cubicBezTo>
                  <a:pt x="2291335" y="1673987"/>
                  <a:pt x="2915412" y="1837055"/>
                  <a:pt x="3579368" y="1883156"/>
                </a:cubicBezTo>
                <a:lnTo>
                  <a:pt x="3579368" y="1615694"/>
                </a:lnTo>
                <a:cubicBezTo>
                  <a:pt x="2434717" y="1532382"/>
                  <a:pt x="1447292" y="1095629"/>
                  <a:pt x="644017" y="316484"/>
                </a:cubicBezTo>
                <a:cubicBezTo>
                  <a:pt x="533781" y="209550"/>
                  <a:pt x="434594" y="102870"/>
                  <a:pt x="346075" y="0"/>
                </a:cubicBezTo>
                <a:lnTo>
                  <a:pt x="0" y="0"/>
                </a:lnTo>
                <a:cubicBezTo>
                  <a:pt x="138966" y="176263"/>
                  <a:pt x="289316" y="343244"/>
                  <a:pt x="450088" y="499872"/>
                </a:cubicBezTo>
                <a:close/>
              </a:path>
            </a:pathLst>
          </a:custGeom>
          <a:solidFill>
            <a:schemeClr val="tx2"/>
          </a:solidFill>
          <a:ln w="12700" cap="flat">
            <a:noFill/>
            <a:prstDash val="solid"/>
            <a:miter/>
          </a:ln>
        </p:spPr>
        <p:txBody>
          <a:bodyPr rtlCol="0" anchor="ctr"/>
          <a:lstStyle/>
          <a:p>
            <a:endParaRPr lang="en-GB"/>
          </a:p>
        </p:txBody>
      </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rot="16200000">
            <a:off x="-1628637" y="3068637"/>
            <a:ext cx="5417275" cy="720000"/>
          </a:xfrm>
        </p:spPr>
        <p:txBody>
          <a:bodyPr/>
          <a:lstStyle/>
          <a:p>
            <a:pPr lvl="0"/>
            <a:r>
              <a:rPr lang="en-US"/>
              <a:t>Click to edit Master title style</a:t>
            </a:r>
            <a:endParaRPr lang="en-GB" dirty="0"/>
          </a:p>
        </p:txBody>
      </p:sp>
      <p:sp>
        <p:nvSpPr>
          <p:cNvPr id="6" name="Picture Placeholder 1">
            <a:extLst>
              <a:ext uri="{FF2B5EF4-FFF2-40B4-BE49-F238E27FC236}">
                <a16:creationId xmlns:a16="http://schemas.microsoft.com/office/drawing/2014/main" id="{19E97DF0-7E3E-4B5B-91F4-20265AAB2B48}"/>
              </a:ext>
            </a:extLst>
          </p:cNvPr>
          <p:cNvSpPr>
            <a:spLocks noGrp="1" noChangeAspect="1"/>
          </p:cNvSpPr>
          <p:nvPr>
            <p:ph type="pic" sz="quarter" idx="13"/>
          </p:nvPr>
        </p:nvSpPr>
        <p:spPr>
          <a:xfrm>
            <a:off x="2541587" y="719997"/>
            <a:ext cx="2552699" cy="1701799"/>
          </a:xfrm>
          <a:solidFill>
            <a:schemeClr val="bg2"/>
          </a:solidFill>
        </p:spPr>
        <p:txBody>
          <a:bodyPr/>
          <a:lstStyle/>
          <a:p>
            <a:r>
              <a:rPr lang="en-US"/>
              <a:t>Click icon to add picture</a:t>
            </a:r>
            <a:endParaRPr lang="en-GB" dirty="0"/>
          </a:p>
        </p:txBody>
      </p:sp>
      <p:sp>
        <p:nvSpPr>
          <p:cNvPr id="21" name="Name Placeholder 1">
            <a:extLst>
              <a:ext uri="{FF2B5EF4-FFF2-40B4-BE49-F238E27FC236}">
                <a16:creationId xmlns:a16="http://schemas.microsoft.com/office/drawing/2014/main" id="{58649EB9-FA8B-41C8-A805-DE861CABEFBE}"/>
              </a:ext>
            </a:extLst>
          </p:cNvPr>
          <p:cNvSpPr>
            <a:spLocks noGrp="1"/>
          </p:cNvSpPr>
          <p:nvPr>
            <p:ph type="body" sz="quarter" idx="16" hasCustomPrompt="1"/>
          </p:nvPr>
        </p:nvSpPr>
        <p:spPr>
          <a:xfrm>
            <a:off x="6184901" y="719999"/>
            <a:ext cx="5286374" cy="360001"/>
          </a:xfrm>
        </p:spPr>
        <p:txBody>
          <a:bodyPr>
            <a:noAutofit/>
          </a:bodyPr>
          <a:lstStyle>
            <a:lvl1pPr marL="0">
              <a:lnSpc>
                <a:spcPct val="95000"/>
              </a:lnSpc>
              <a:spcBef>
                <a:spcPts val="0"/>
              </a:spcBef>
              <a:buFontTx/>
              <a:buNone/>
              <a:defRPr sz="2000" i="1">
                <a:solidFill>
                  <a:schemeClr val="tx1"/>
                </a:solidFill>
                <a:latin typeface="+mj-lt"/>
              </a:defRPr>
            </a:lvl1pPr>
            <a:lvl2pPr marL="0" indent="0">
              <a:lnSpc>
                <a:spcPct val="95000"/>
              </a:lnSpc>
              <a:spcBef>
                <a:spcPts val="0"/>
              </a:spcBef>
              <a:buFontTx/>
              <a:buNone/>
              <a:defRPr sz="2000" i="1">
                <a:solidFill>
                  <a:schemeClr val="tx1"/>
                </a:solidFill>
                <a:latin typeface="+mj-lt"/>
              </a:defRPr>
            </a:lvl2pPr>
            <a:lvl3pPr marL="0" indent="0">
              <a:lnSpc>
                <a:spcPct val="95000"/>
              </a:lnSpc>
              <a:spcBef>
                <a:spcPts val="0"/>
              </a:spcBef>
              <a:buFontTx/>
              <a:buNone/>
              <a:defRPr sz="1800" i="1">
                <a:solidFill>
                  <a:schemeClr val="tx1"/>
                </a:solidFill>
                <a:latin typeface="+mj-lt"/>
              </a:defRPr>
            </a:lvl3pPr>
            <a:lvl4pPr marL="0" indent="0">
              <a:lnSpc>
                <a:spcPct val="95000"/>
              </a:lnSpc>
              <a:spcBef>
                <a:spcPts val="0"/>
              </a:spcBef>
              <a:buFontTx/>
              <a:buNone/>
              <a:defRPr sz="1600" i="1">
                <a:solidFill>
                  <a:schemeClr val="tx1"/>
                </a:solidFill>
                <a:latin typeface="+mj-lt"/>
              </a:defRPr>
            </a:lvl4pPr>
            <a:lvl5pPr marL="0" indent="0">
              <a:lnSpc>
                <a:spcPct val="95000"/>
              </a:lnSpc>
              <a:spcBef>
                <a:spcPts val="0"/>
              </a:spcBef>
              <a:buFontTx/>
              <a:buNone/>
              <a:defRPr sz="1600" i="1">
                <a:solidFill>
                  <a:schemeClr val="tx1"/>
                </a:solidFill>
                <a:latin typeface="+mj-lt"/>
              </a:defRPr>
            </a:lvl5pPr>
            <a:lvl6pPr marL="0" indent="0">
              <a:lnSpc>
                <a:spcPct val="95000"/>
              </a:lnSpc>
              <a:spcBef>
                <a:spcPts val="0"/>
              </a:spcBef>
              <a:buFontTx/>
              <a:buNone/>
              <a:defRPr sz="1600" i="1">
                <a:solidFill>
                  <a:schemeClr val="tx1"/>
                </a:solidFill>
                <a:latin typeface="+mj-lt"/>
              </a:defRPr>
            </a:lvl6pPr>
            <a:lvl7pPr marL="0">
              <a:lnSpc>
                <a:spcPct val="95000"/>
              </a:lnSpc>
              <a:spcBef>
                <a:spcPts val="0"/>
              </a:spcBef>
              <a:buFontTx/>
              <a:buNone/>
              <a:defRPr sz="1600" i="1">
                <a:solidFill>
                  <a:schemeClr val="tx1"/>
                </a:solidFill>
                <a:latin typeface="+mj-lt"/>
              </a:defRPr>
            </a:lvl7pPr>
            <a:lvl8pPr marL="0">
              <a:lnSpc>
                <a:spcPct val="95000"/>
              </a:lnSpc>
              <a:spcBef>
                <a:spcPts val="0"/>
              </a:spcBef>
              <a:buFontTx/>
              <a:buNone/>
              <a:defRPr sz="1600" i="1">
                <a:solidFill>
                  <a:schemeClr val="tx1"/>
                </a:solidFill>
                <a:latin typeface="+mj-lt"/>
              </a:defRPr>
            </a:lvl8pPr>
            <a:lvl9pPr marL="0">
              <a:lnSpc>
                <a:spcPct val="95000"/>
              </a:lnSpc>
              <a:spcBef>
                <a:spcPts val="0"/>
              </a:spcBef>
              <a:buFontTx/>
              <a:buNone/>
              <a:defRPr sz="1600" i="1">
                <a:solidFill>
                  <a:schemeClr val="tx1"/>
                </a:solidFill>
                <a:latin typeface="+mj-lt"/>
              </a:defRPr>
            </a:lvl9pPr>
          </a:lstStyle>
          <a:p>
            <a:pPr lvl="0"/>
            <a:r>
              <a:rPr lang="en-GB" dirty="0"/>
              <a:t>Click to add Name</a:t>
            </a:r>
          </a:p>
        </p:txBody>
      </p:sp>
      <p:sp>
        <p:nvSpPr>
          <p:cNvPr id="25" name="Job Title 1">
            <a:extLst>
              <a:ext uri="{FF2B5EF4-FFF2-40B4-BE49-F238E27FC236}">
                <a16:creationId xmlns:a16="http://schemas.microsoft.com/office/drawing/2014/main" id="{5041421C-5295-497A-9F52-4D09B296BFD5}"/>
              </a:ext>
            </a:extLst>
          </p:cNvPr>
          <p:cNvSpPr>
            <a:spLocks noGrp="1"/>
          </p:cNvSpPr>
          <p:nvPr>
            <p:ph type="body" sz="quarter" idx="19" hasCustomPrompt="1"/>
          </p:nvPr>
        </p:nvSpPr>
        <p:spPr>
          <a:xfrm>
            <a:off x="6184901" y="1259999"/>
            <a:ext cx="2217636" cy="482274"/>
          </a:xfrm>
          <a:prstGeom prst="roundRect">
            <a:avLst>
              <a:gd name="adj" fmla="val 50000"/>
            </a:avLst>
          </a:prstGeom>
          <a:solidFill>
            <a:schemeClr val="accent2"/>
          </a:solidFill>
        </p:spPr>
        <p:txBody>
          <a:bodyPr wrap="none" lIns="72000" tIns="54000" rIns="72000" bIns="54000" anchor="ctr" anchorCtr="0">
            <a:spAutoFit/>
          </a:bodyPr>
          <a:lstStyle>
            <a:lvl1pPr marL="0" indent="0">
              <a:lnSpc>
                <a:spcPct val="95000"/>
              </a:lnSpc>
              <a:spcBef>
                <a:spcPts val="0"/>
              </a:spcBef>
              <a:buFont typeface="Arial" panose="020B0604020202020204" pitchFamily="34" charset="0"/>
              <a:buNone/>
              <a:defRPr sz="1600" i="1">
                <a:solidFill>
                  <a:schemeClr val="tx1"/>
                </a:solidFill>
                <a:latin typeface="+mj-lt"/>
              </a:defRPr>
            </a:lvl1pPr>
            <a:lvl2pPr marL="0" indent="0">
              <a:lnSpc>
                <a:spcPct val="95000"/>
              </a:lnSpc>
              <a:spcBef>
                <a:spcPts val="0"/>
              </a:spcBef>
              <a:buNone/>
              <a:defRPr sz="1600" i="1">
                <a:solidFill>
                  <a:schemeClr val="tx1"/>
                </a:solidFill>
                <a:latin typeface="+mj-lt"/>
              </a:defRPr>
            </a:lvl2pPr>
            <a:lvl3pPr marL="0" indent="0">
              <a:lnSpc>
                <a:spcPct val="95000"/>
              </a:lnSpc>
              <a:spcBef>
                <a:spcPts val="0"/>
              </a:spcBef>
              <a:buNone/>
              <a:defRPr sz="1600" i="1">
                <a:solidFill>
                  <a:schemeClr val="tx1"/>
                </a:solidFill>
                <a:latin typeface="+mj-lt"/>
              </a:defRPr>
            </a:lvl3pPr>
            <a:lvl4pPr marL="0" indent="0">
              <a:lnSpc>
                <a:spcPct val="95000"/>
              </a:lnSpc>
              <a:spcBef>
                <a:spcPts val="0"/>
              </a:spcBef>
              <a:buNone/>
              <a:defRPr sz="1600" i="1">
                <a:solidFill>
                  <a:schemeClr val="tx1"/>
                </a:solidFill>
                <a:latin typeface="+mj-lt"/>
              </a:defRPr>
            </a:lvl4pPr>
            <a:lvl5pPr marL="0" indent="0">
              <a:lnSpc>
                <a:spcPct val="95000"/>
              </a:lnSpc>
              <a:spcBef>
                <a:spcPts val="0"/>
              </a:spcBef>
              <a:buFont typeface="Arial" panose="020B0604020202020204" pitchFamily="34" charset="0"/>
              <a:buNone/>
              <a:defRPr sz="1600" i="1">
                <a:solidFill>
                  <a:schemeClr val="tx1"/>
                </a:solidFill>
                <a:latin typeface="+mj-lt"/>
              </a:defRPr>
            </a:lvl5pPr>
            <a:lvl6pPr marL="0" indent="0">
              <a:lnSpc>
                <a:spcPct val="95000"/>
              </a:lnSpc>
              <a:spcBef>
                <a:spcPts val="0"/>
              </a:spcBef>
              <a:buFont typeface="Arial" panose="020B0604020202020204" pitchFamily="34" charset="0"/>
              <a:buNone/>
              <a:defRPr sz="1600" i="1">
                <a:solidFill>
                  <a:schemeClr val="tx1"/>
                </a:solidFill>
                <a:latin typeface="+mj-lt"/>
              </a:defRPr>
            </a:lvl6pPr>
            <a:lvl7pPr marL="0" indent="0">
              <a:lnSpc>
                <a:spcPct val="95000"/>
              </a:lnSpc>
              <a:spcBef>
                <a:spcPts val="0"/>
              </a:spcBef>
              <a:buFont typeface="Arial" panose="020B0604020202020204" pitchFamily="34" charset="0"/>
              <a:buNone/>
              <a:defRPr sz="1600" i="1">
                <a:solidFill>
                  <a:schemeClr val="tx1"/>
                </a:solidFill>
                <a:latin typeface="+mj-lt"/>
              </a:defRPr>
            </a:lvl7pPr>
            <a:lvl8pPr marL="0" indent="0">
              <a:lnSpc>
                <a:spcPct val="95000"/>
              </a:lnSpc>
              <a:spcBef>
                <a:spcPts val="0"/>
              </a:spcBef>
              <a:buFont typeface="Arial" panose="020B0604020202020204" pitchFamily="34" charset="0"/>
              <a:buNone/>
              <a:defRPr sz="1600" i="1">
                <a:solidFill>
                  <a:schemeClr val="tx1"/>
                </a:solidFill>
                <a:latin typeface="+mj-lt"/>
              </a:defRPr>
            </a:lvl8pPr>
            <a:lvl9pPr marL="0" indent="0">
              <a:lnSpc>
                <a:spcPct val="95000"/>
              </a:lnSpc>
              <a:spcBef>
                <a:spcPts val="0"/>
              </a:spcBef>
              <a:buFont typeface="Arial" panose="020B0604020202020204" pitchFamily="34" charset="0"/>
              <a:buNone/>
              <a:defRPr sz="1600" i="1">
                <a:solidFill>
                  <a:schemeClr val="tx1"/>
                </a:solidFill>
                <a:latin typeface="+mj-lt"/>
              </a:defRPr>
            </a:lvl9pPr>
          </a:lstStyle>
          <a:p>
            <a:pPr lvl="0"/>
            <a:r>
              <a:rPr lang="en-GB" dirty="0"/>
              <a:t>Click to add Job Title</a:t>
            </a:r>
          </a:p>
        </p:txBody>
      </p:sp>
      <p:sp>
        <p:nvSpPr>
          <p:cNvPr id="30" name="Contact Details 1">
            <a:extLst>
              <a:ext uri="{FF2B5EF4-FFF2-40B4-BE49-F238E27FC236}">
                <a16:creationId xmlns:a16="http://schemas.microsoft.com/office/drawing/2014/main" id="{07047B58-01F7-4E67-959E-947D81690991}"/>
              </a:ext>
            </a:extLst>
          </p:cNvPr>
          <p:cNvSpPr>
            <a:spLocks noGrp="1"/>
          </p:cNvSpPr>
          <p:nvPr>
            <p:ph type="body" sz="quarter" idx="20" hasCustomPrompt="1"/>
          </p:nvPr>
        </p:nvSpPr>
        <p:spPr>
          <a:xfrm>
            <a:off x="6184901" y="1922273"/>
            <a:ext cx="5286374" cy="468000"/>
          </a:xfrm>
        </p:spPr>
        <p:txBody>
          <a:bodyPr>
            <a:noAutofit/>
          </a:bodyPr>
          <a:lstStyle>
            <a:lvl1pPr marL="0" indent="0">
              <a:lnSpc>
                <a:spcPct val="95000"/>
              </a:lnSpc>
              <a:spcBef>
                <a:spcPts val="300"/>
              </a:spcBef>
              <a:buFont typeface="Arial" panose="020B0604020202020204" pitchFamily="34" charset="0"/>
              <a:buNone/>
              <a:defRPr sz="1400">
                <a:solidFill>
                  <a:schemeClr val="tx1"/>
                </a:solidFill>
                <a:latin typeface="+mn-lt"/>
              </a:defRPr>
            </a:lvl1pPr>
            <a:lvl2pPr marL="0" indent="0">
              <a:lnSpc>
                <a:spcPct val="95000"/>
              </a:lnSpc>
              <a:spcBef>
                <a:spcPts val="300"/>
              </a:spcBef>
              <a:buNone/>
              <a:defRPr sz="1200">
                <a:solidFill>
                  <a:schemeClr val="tx1"/>
                </a:solidFill>
                <a:latin typeface="+mn-lt"/>
              </a:defRPr>
            </a:lvl2pPr>
            <a:lvl3pPr marL="0" indent="0">
              <a:lnSpc>
                <a:spcPct val="95000"/>
              </a:lnSpc>
              <a:spcBef>
                <a:spcPts val="300"/>
              </a:spcBef>
              <a:buNone/>
              <a:defRPr sz="1100">
                <a:solidFill>
                  <a:schemeClr val="tx1"/>
                </a:solidFill>
                <a:latin typeface="+mn-lt"/>
              </a:defRPr>
            </a:lvl3pPr>
            <a:lvl4pPr marL="0" indent="0">
              <a:lnSpc>
                <a:spcPct val="95000"/>
              </a:lnSpc>
              <a:spcBef>
                <a:spcPts val="300"/>
              </a:spcBef>
              <a:buNone/>
              <a:defRPr sz="1100">
                <a:solidFill>
                  <a:schemeClr val="tx1"/>
                </a:solidFill>
                <a:latin typeface="+mn-lt"/>
              </a:defRPr>
            </a:lvl4pPr>
            <a:lvl5pPr marL="0" indent="0">
              <a:lnSpc>
                <a:spcPct val="95000"/>
              </a:lnSpc>
              <a:spcBef>
                <a:spcPts val="300"/>
              </a:spcBef>
              <a:buFont typeface="Arial" panose="020B0604020202020204" pitchFamily="34" charset="0"/>
              <a:buNone/>
              <a:defRPr sz="1100">
                <a:solidFill>
                  <a:schemeClr val="tx1"/>
                </a:solidFill>
                <a:latin typeface="+mn-lt"/>
              </a:defRPr>
            </a:lvl5pPr>
            <a:lvl6pPr marL="0" indent="0">
              <a:lnSpc>
                <a:spcPct val="95000"/>
              </a:lnSpc>
              <a:spcBef>
                <a:spcPts val="300"/>
              </a:spcBef>
              <a:buFont typeface="Arial" panose="020B0604020202020204" pitchFamily="34" charset="0"/>
              <a:buNone/>
              <a:defRPr sz="1100">
                <a:solidFill>
                  <a:schemeClr val="tx1"/>
                </a:solidFill>
                <a:latin typeface="+mn-lt"/>
              </a:defRPr>
            </a:lvl6pPr>
            <a:lvl7pPr marL="0" indent="0">
              <a:lnSpc>
                <a:spcPct val="95000"/>
              </a:lnSpc>
              <a:spcBef>
                <a:spcPts val="300"/>
              </a:spcBef>
              <a:buFont typeface="Arial" panose="020B0604020202020204" pitchFamily="34" charset="0"/>
              <a:buNone/>
              <a:defRPr sz="1100">
                <a:solidFill>
                  <a:schemeClr val="tx1"/>
                </a:solidFill>
                <a:latin typeface="+mn-lt"/>
              </a:defRPr>
            </a:lvl7pPr>
            <a:lvl8pPr marL="0" indent="0">
              <a:lnSpc>
                <a:spcPct val="95000"/>
              </a:lnSpc>
              <a:spcBef>
                <a:spcPts val="300"/>
              </a:spcBef>
              <a:buFont typeface="Arial" panose="020B0604020202020204" pitchFamily="34" charset="0"/>
              <a:buNone/>
              <a:defRPr sz="1100">
                <a:solidFill>
                  <a:schemeClr val="tx1"/>
                </a:solidFill>
                <a:latin typeface="+mn-lt"/>
              </a:defRPr>
            </a:lvl8pPr>
            <a:lvl9pPr marL="0" indent="0">
              <a:lnSpc>
                <a:spcPct val="95000"/>
              </a:lnSpc>
              <a:spcBef>
                <a:spcPts val="300"/>
              </a:spcBef>
              <a:buFont typeface="Arial" panose="020B0604020202020204" pitchFamily="34" charset="0"/>
              <a:buNone/>
              <a:defRPr sz="1100">
                <a:solidFill>
                  <a:schemeClr val="tx1"/>
                </a:solidFill>
                <a:latin typeface="+mn-lt"/>
              </a:defRPr>
            </a:lvl9pPr>
          </a:lstStyle>
          <a:p>
            <a:pPr lvl="0"/>
            <a:r>
              <a:rPr lang="en-GB" dirty="0"/>
              <a:t>Click to add email address</a:t>
            </a:r>
          </a:p>
        </p:txBody>
      </p:sp>
      <p:sp>
        <p:nvSpPr>
          <p:cNvPr id="31" name="Bio Description 1">
            <a:extLst>
              <a:ext uri="{FF2B5EF4-FFF2-40B4-BE49-F238E27FC236}">
                <a16:creationId xmlns:a16="http://schemas.microsoft.com/office/drawing/2014/main" id="{B718AAF7-E3B8-4B2A-A298-9B65FE37CFCE}"/>
              </a:ext>
            </a:extLst>
          </p:cNvPr>
          <p:cNvSpPr>
            <a:spLocks noGrp="1"/>
          </p:cNvSpPr>
          <p:nvPr>
            <p:ph type="body" sz="quarter" idx="21" hasCustomPrompt="1"/>
          </p:nvPr>
        </p:nvSpPr>
        <p:spPr>
          <a:xfrm>
            <a:off x="6184901" y="2570273"/>
            <a:ext cx="5286374" cy="3567002"/>
          </a:xfrm>
        </p:spPr>
        <p:txBody>
          <a:bodyPr vert="horz" lIns="0" tIns="0" rIns="0" bIns="0" rtlCol="0">
            <a:normAutofit/>
          </a:bodyPr>
          <a:lstStyle>
            <a:lvl1pPr>
              <a:defRPr lang="en-US" dirty="0"/>
            </a:lvl1pPr>
            <a:lvl2pPr>
              <a:defRPr lang="en-US" dirty="0"/>
            </a:lvl2pPr>
            <a:lvl3pPr>
              <a:defRPr lang="en-US" dirty="0"/>
            </a:lvl3pPr>
            <a:lvl4pPr>
              <a:defRPr lang="en-US" dirty="0"/>
            </a:lvl4pPr>
            <a:lvl5pPr marL="0" indent="0">
              <a:lnSpc>
                <a:spcPct val="95000"/>
              </a:lnSpc>
              <a:spcBef>
                <a:spcPts val="800"/>
              </a:spcBef>
              <a:buFont typeface="Arial" panose="020B0604020202020204" pitchFamily="34" charset="0"/>
              <a:buNone/>
              <a:defRPr lang="en-US" sz="1600" dirty="0">
                <a:solidFill>
                  <a:schemeClr val="tx2"/>
                </a:solidFill>
                <a:latin typeface="+mn-lt"/>
              </a:defRPr>
            </a:lvl5pPr>
            <a:lvl6pPr marL="0" indent="0">
              <a:lnSpc>
                <a:spcPct val="95000"/>
              </a:lnSpc>
              <a:spcBef>
                <a:spcPts val="800"/>
              </a:spcBef>
              <a:buFont typeface="Arial" panose="020B0604020202020204" pitchFamily="34" charset="0"/>
              <a:buNone/>
              <a:defRPr lang="en-US" sz="1600" dirty="0">
                <a:solidFill>
                  <a:schemeClr val="tx1"/>
                </a:solidFill>
                <a:latin typeface="+mn-lt"/>
              </a:defRPr>
            </a:lvl6pPr>
            <a:lvl7pPr marL="0" indent="0">
              <a:lnSpc>
                <a:spcPct val="95000"/>
              </a:lnSpc>
              <a:spcBef>
                <a:spcPts val="800"/>
              </a:spcBef>
              <a:buFont typeface="Arial" panose="020B0604020202020204" pitchFamily="34" charset="0"/>
              <a:buNone/>
              <a:defRPr lang="en-US" sz="1600" dirty="0">
                <a:solidFill>
                  <a:schemeClr val="tx1"/>
                </a:solidFill>
                <a:latin typeface="+mn-lt"/>
              </a:defRPr>
            </a:lvl7pPr>
            <a:lvl8pPr marL="0" indent="0">
              <a:lnSpc>
                <a:spcPct val="95000"/>
              </a:lnSpc>
              <a:spcBef>
                <a:spcPts val="800"/>
              </a:spcBef>
              <a:buFont typeface="Arial" panose="020B0604020202020204" pitchFamily="34" charset="0"/>
              <a:buNone/>
              <a:defRPr lang="en-US" sz="1600" dirty="0">
                <a:solidFill>
                  <a:schemeClr val="tx1"/>
                </a:solidFill>
                <a:latin typeface="+mn-lt"/>
              </a:defRPr>
            </a:lvl8pPr>
            <a:lvl9pPr marL="0" indent="0">
              <a:lnSpc>
                <a:spcPct val="95000"/>
              </a:lnSpc>
              <a:spcBef>
                <a:spcPts val="800"/>
              </a:spcBef>
              <a:buFont typeface="Arial" panose="020B0604020202020204" pitchFamily="34" charset="0"/>
              <a:buNone/>
              <a:defRPr lang="en-GB" sz="1600" dirty="0">
                <a:solidFill>
                  <a:schemeClr val="tx1"/>
                </a:solidFill>
                <a:latin typeface="+mn-lt"/>
              </a:defRPr>
            </a:lvl9pPr>
          </a:lstStyle>
          <a:p>
            <a:pPr lvl="0"/>
            <a:r>
              <a:rPr lang="en-GB" dirty="0"/>
              <a:t>Click to add description</a:t>
            </a:r>
          </a:p>
          <a:p>
            <a:pPr lvl="1"/>
            <a:r>
              <a:rPr lang="en-GB" dirty="0"/>
              <a:t>Second level – Bullet 1</a:t>
            </a:r>
          </a:p>
          <a:p>
            <a:pPr lvl="2"/>
            <a:r>
              <a:rPr lang="en-GB" dirty="0"/>
              <a:t>Third level – Bullet 2</a:t>
            </a:r>
          </a:p>
          <a:p>
            <a:pPr lvl="3"/>
            <a:r>
              <a:rPr lang="en-GB" dirty="0"/>
              <a:t>Fourth level – Bullet 3</a:t>
            </a:r>
          </a:p>
          <a:p>
            <a:pPr lvl="4"/>
            <a:r>
              <a:rPr lang="en-GB" dirty="0"/>
              <a:t>Fifth level – Secondary</a:t>
            </a:r>
          </a:p>
          <a:p>
            <a:pPr lvl="5"/>
            <a:r>
              <a:rPr lang="en-GB" dirty="0"/>
              <a:t>Sixth level – Body</a:t>
            </a:r>
          </a:p>
          <a:p>
            <a:pPr lvl="6"/>
            <a:r>
              <a:rPr lang="en-GB" dirty="0"/>
              <a:t>Seventh level – Body</a:t>
            </a:r>
          </a:p>
          <a:p>
            <a:pPr lvl="7"/>
            <a:r>
              <a:rPr lang="en-GB" dirty="0"/>
              <a:t>Eighth level – Body</a:t>
            </a:r>
          </a:p>
          <a:p>
            <a:pPr lvl="8"/>
            <a:r>
              <a:rPr lang="en-GB" dirty="0"/>
              <a:t>Ninth level – Body</a:t>
            </a:r>
          </a:p>
        </p:txBody>
      </p:sp>
      <p:sp>
        <p:nvSpPr>
          <p:cNvPr id="16" name="Text Quotation 1">
            <a:extLst>
              <a:ext uri="{FF2B5EF4-FFF2-40B4-BE49-F238E27FC236}">
                <a16:creationId xmlns:a16="http://schemas.microsoft.com/office/drawing/2014/main" id="{6AD1114A-9EDA-479C-ACC6-49277F39F273}"/>
              </a:ext>
            </a:extLst>
          </p:cNvPr>
          <p:cNvSpPr>
            <a:spLocks noGrp="1"/>
          </p:cNvSpPr>
          <p:nvPr>
            <p:ph type="body" sz="quarter" idx="22" hasCustomPrompt="1"/>
          </p:nvPr>
        </p:nvSpPr>
        <p:spPr>
          <a:xfrm>
            <a:off x="2541588" y="3039291"/>
            <a:ext cx="2552700" cy="2504577"/>
          </a:xfrm>
        </p:spPr>
        <p:txBody>
          <a:bodyPr/>
          <a:lstStyle>
            <a:lvl1pPr marL="0" indent="0">
              <a:lnSpc>
                <a:spcPct val="90000"/>
              </a:lnSpc>
              <a:buFont typeface="Arial" panose="020B0604020202020204" pitchFamily="34" charset="0"/>
              <a:buNone/>
              <a:defRPr sz="2000" i="1">
                <a:latin typeface="+mj-lt"/>
              </a:defRPr>
            </a:lvl1pPr>
            <a:lvl2pPr marL="0" indent="0">
              <a:lnSpc>
                <a:spcPct val="90000"/>
              </a:lnSpc>
              <a:buNone/>
              <a:defRPr sz="1600" i="1">
                <a:latin typeface="+mj-lt"/>
              </a:defRPr>
            </a:lvl2pPr>
            <a:lvl3pPr marL="0" indent="0">
              <a:lnSpc>
                <a:spcPct val="90000"/>
              </a:lnSpc>
              <a:buNone/>
              <a:defRPr sz="1000" i="0">
                <a:latin typeface="+mn-lt"/>
              </a:defRPr>
            </a:lvl3pPr>
            <a:lvl4pPr marL="0" indent="0">
              <a:lnSpc>
                <a:spcPct val="90000"/>
              </a:lnSpc>
              <a:buNone/>
              <a:defRPr sz="1800" i="1">
                <a:latin typeface="+mj-lt"/>
              </a:defRPr>
            </a:lvl4pPr>
            <a:lvl5pPr marL="0" indent="0">
              <a:lnSpc>
                <a:spcPct val="90000"/>
              </a:lnSpc>
              <a:buFont typeface="Arial" panose="020B0604020202020204" pitchFamily="34" charset="0"/>
              <a:buNone/>
              <a:defRPr sz="1400" i="1">
                <a:latin typeface="+mj-lt"/>
              </a:defRPr>
            </a:lvl5pPr>
            <a:lvl6pPr marL="0" indent="0">
              <a:lnSpc>
                <a:spcPct val="90000"/>
              </a:lnSpc>
              <a:buFont typeface="Arial" panose="020B0604020202020204" pitchFamily="34" charset="0"/>
              <a:buNone/>
              <a:defRPr sz="1200" i="1">
                <a:latin typeface="+mj-lt"/>
              </a:defRPr>
            </a:lvl6pPr>
            <a:lvl7pPr marL="0" indent="0">
              <a:lnSpc>
                <a:spcPct val="90000"/>
              </a:lnSpc>
              <a:spcBef>
                <a:spcPts val="800"/>
              </a:spcBef>
              <a:buFont typeface="Arial" panose="020B0604020202020204" pitchFamily="34" charset="0"/>
              <a:buNone/>
              <a:defRPr sz="1400" i="0">
                <a:solidFill>
                  <a:schemeClr val="tx1"/>
                </a:solidFill>
                <a:latin typeface="+mn-lt"/>
              </a:defRPr>
            </a:lvl7pPr>
            <a:lvl8pPr marL="0" indent="0">
              <a:lnSpc>
                <a:spcPct val="90000"/>
              </a:lnSpc>
              <a:spcBef>
                <a:spcPts val="800"/>
              </a:spcBef>
              <a:buFont typeface="Arial" panose="020B0604020202020204" pitchFamily="34" charset="0"/>
              <a:buNone/>
              <a:defRPr sz="1200" i="0">
                <a:solidFill>
                  <a:schemeClr val="tx1"/>
                </a:solidFill>
                <a:latin typeface="+mn-lt"/>
              </a:defRPr>
            </a:lvl8pPr>
            <a:lvl9pPr marL="0" indent="0">
              <a:lnSpc>
                <a:spcPct val="90000"/>
              </a:lnSpc>
              <a:spcBef>
                <a:spcPts val="800"/>
              </a:spcBef>
              <a:buFont typeface="Arial" panose="020B0604020202020204" pitchFamily="34" charset="0"/>
              <a:buNone/>
              <a:defRPr sz="1000" i="0">
                <a:solidFill>
                  <a:schemeClr val="tx1"/>
                </a:solidFill>
                <a:latin typeface="+mn-lt"/>
              </a:defRPr>
            </a:lvl9pPr>
          </a:lstStyle>
          <a:p>
            <a:pPr lvl="0"/>
            <a:r>
              <a:rPr lang="en-GB" dirty="0"/>
              <a:t>Click to add quotation</a:t>
            </a:r>
          </a:p>
          <a:p>
            <a:pPr lvl="1"/>
            <a:r>
              <a:rPr lang="en-GB" dirty="0"/>
              <a:t>Second level – Name</a:t>
            </a:r>
          </a:p>
          <a:p>
            <a:pPr lvl="2"/>
            <a:r>
              <a:rPr lang="en-GB" dirty="0"/>
              <a:t>Third level – Job Title - Organisation</a:t>
            </a:r>
          </a:p>
          <a:p>
            <a:pPr lvl="3"/>
            <a:r>
              <a:rPr lang="en-GB" dirty="0"/>
              <a:t>Fourth level</a:t>
            </a:r>
          </a:p>
          <a:p>
            <a:pPr lvl="4"/>
            <a:r>
              <a:rPr lang="en-GB" dirty="0"/>
              <a:t>Fifth level – Number 1</a:t>
            </a:r>
          </a:p>
          <a:p>
            <a:pPr lvl="5"/>
            <a:r>
              <a:rPr lang="en-GB" dirty="0"/>
              <a:t>Sixth level – Number 2</a:t>
            </a:r>
          </a:p>
          <a:p>
            <a:pPr lvl="6"/>
            <a:r>
              <a:rPr lang="en-GB" dirty="0"/>
              <a:t>Seventh level – Heading 1</a:t>
            </a:r>
          </a:p>
          <a:p>
            <a:pPr lvl="7"/>
            <a:r>
              <a:rPr lang="en-GB" dirty="0"/>
              <a:t>Eighth level – Heading 2</a:t>
            </a:r>
          </a:p>
          <a:p>
            <a:pPr lvl="8"/>
            <a:r>
              <a:rPr lang="en-GB" dirty="0"/>
              <a:t>Ninth level – Pull-out</a:t>
            </a:r>
          </a:p>
        </p:txBody>
      </p:sp>
      <p:sp>
        <p:nvSpPr>
          <p:cNvPr id="9" name="Quote Icon">
            <a:extLst>
              <a:ext uri="{FF2B5EF4-FFF2-40B4-BE49-F238E27FC236}">
                <a16:creationId xmlns:a16="http://schemas.microsoft.com/office/drawing/2014/main" id="{7DB0792E-7D00-4D1D-9A1F-8330DCE1DB7A}"/>
              </a:ext>
            </a:extLst>
          </p:cNvPr>
          <p:cNvSpPr>
            <a:spLocks noGrp="1" noChangeAspect="1"/>
          </p:cNvSpPr>
          <p:nvPr>
            <p:ph type="body" sz="quarter" idx="23" hasCustomPrompt="1"/>
          </p:nvPr>
        </p:nvSpPr>
        <p:spPr>
          <a:xfrm>
            <a:off x="1820613" y="3039291"/>
            <a:ext cx="540000" cy="540000"/>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spTree>
    <p:extLst>
      <p:ext uri="{BB962C8B-B14F-4D97-AF65-F5344CB8AC3E}">
        <p14:creationId xmlns:p14="http://schemas.microsoft.com/office/powerpoint/2010/main" val="2732520471"/>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am Bio 2">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5465762" cy="720000"/>
          </a:xfrm>
        </p:spPr>
        <p:txBody>
          <a:bodyPr/>
          <a:lstStyle/>
          <a:p>
            <a:pPr lvl="0"/>
            <a:r>
              <a:rPr lang="en-US"/>
              <a:t>Click to edit Master title style</a:t>
            </a:r>
            <a:endParaRPr lang="en-GB" dirty="0"/>
          </a:p>
        </p:txBody>
      </p:sp>
      <p:sp>
        <p:nvSpPr>
          <p:cNvPr id="6" name="Picture Placeholder 1">
            <a:extLst>
              <a:ext uri="{FF2B5EF4-FFF2-40B4-BE49-F238E27FC236}">
                <a16:creationId xmlns:a16="http://schemas.microsoft.com/office/drawing/2014/main" id="{19E97DF0-7E3E-4B5B-91F4-20265AAB2B48}"/>
              </a:ext>
            </a:extLst>
          </p:cNvPr>
          <p:cNvSpPr>
            <a:spLocks noGrp="1" noChangeAspect="1"/>
          </p:cNvSpPr>
          <p:nvPr>
            <p:ph type="pic" sz="quarter" idx="13"/>
          </p:nvPr>
        </p:nvSpPr>
        <p:spPr>
          <a:xfrm>
            <a:off x="719137" y="1565274"/>
            <a:ext cx="2160000" cy="1440000"/>
          </a:xfrm>
          <a:solidFill>
            <a:schemeClr val="bg2"/>
          </a:solidFill>
        </p:spPr>
        <p:txBody>
          <a:bodyPr/>
          <a:lstStyle/>
          <a:p>
            <a:r>
              <a:rPr lang="en-US"/>
              <a:t>Click icon to add picture</a:t>
            </a:r>
            <a:endParaRPr lang="en-GB" dirty="0"/>
          </a:p>
        </p:txBody>
      </p:sp>
      <p:sp>
        <p:nvSpPr>
          <p:cNvPr id="21" name="Name Placeholder 1">
            <a:extLst>
              <a:ext uri="{FF2B5EF4-FFF2-40B4-BE49-F238E27FC236}">
                <a16:creationId xmlns:a16="http://schemas.microsoft.com/office/drawing/2014/main" id="{58649EB9-FA8B-41C8-A805-DE861CABEFBE}"/>
              </a:ext>
            </a:extLst>
          </p:cNvPr>
          <p:cNvSpPr>
            <a:spLocks noGrp="1"/>
          </p:cNvSpPr>
          <p:nvPr>
            <p:ph type="body" sz="quarter" idx="16" hasCustomPrompt="1"/>
          </p:nvPr>
        </p:nvSpPr>
        <p:spPr>
          <a:xfrm>
            <a:off x="719137" y="3113274"/>
            <a:ext cx="5286374"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25" name="Job Title 1">
            <a:extLst>
              <a:ext uri="{FF2B5EF4-FFF2-40B4-BE49-F238E27FC236}">
                <a16:creationId xmlns:a16="http://schemas.microsoft.com/office/drawing/2014/main" id="{5041421C-5295-497A-9F52-4D09B296BFD5}"/>
              </a:ext>
            </a:extLst>
          </p:cNvPr>
          <p:cNvSpPr>
            <a:spLocks noGrp="1"/>
          </p:cNvSpPr>
          <p:nvPr>
            <p:ph type="body" sz="quarter" idx="19" hasCustomPrompt="1"/>
          </p:nvPr>
        </p:nvSpPr>
        <p:spPr>
          <a:xfrm>
            <a:off x="719137" y="3488716"/>
            <a:ext cx="1575730" cy="297809"/>
          </a:xfrm>
          <a:prstGeom prst="roundRect">
            <a:avLst>
              <a:gd name="adj" fmla="val 50000"/>
            </a:avLst>
          </a:prstGeom>
          <a:solidFill>
            <a:schemeClr val="accent1"/>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30" name="Contact Details 1">
            <a:extLst>
              <a:ext uri="{FF2B5EF4-FFF2-40B4-BE49-F238E27FC236}">
                <a16:creationId xmlns:a16="http://schemas.microsoft.com/office/drawing/2014/main" id="{07047B58-01F7-4E67-959E-947D81690991}"/>
              </a:ext>
            </a:extLst>
          </p:cNvPr>
          <p:cNvSpPr>
            <a:spLocks noGrp="1"/>
          </p:cNvSpPr>
          <p:nvPr>
            <p:ph type="body" sz="quarter" idx="20" hasCustomPrompt="1"/>
          </p:nvPr>
        </p:nvSpPr>
        <p:spPr>
          <a:xfrm>
            <a:off x="719137" y="3873967"/>
            <a:ext cx="5286374"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31" name="Bio Description 1">
            <a:extLst>
              <a:ext uri="{FF2B5EF4-FFF2-40B4-BE49-F238E27FC236}">
                <a16:creationId xmlns:a16="http://schemas.microsoft.com/office/drawing/2014/main" id="{B718AAF7-E3B8-4B2A-A298-9B65FE37CFCE}"/>
              </a:ext>
            </a:extLst>
          </p:cNvPr>
          <p:cNvSpPr>
            <a:spLocks noGrp="1"/>
          </p:cNvSpPr>
          <p:nvPr>
            <p:ph type="body" sz="quarter" idx="21" hasCustomPrompt="1"/>
          </p:nvPr>
        </p:nvSpPr>
        <p:spPr>
          <a:xfrm>
            <a:off x="719137" y="4342066"/>
            <a:ext cx="5286374" cy="1795209"/>
          </a:xfrm>
        </p:spPr>
        <p:txBody>
          <a:bodyPr>
            <a:normAutofit/>
          </a:bodyPr>
          <a:lstStyle>
            <a:lvl1pPr>
              <a:lnSpc>
                <a:spcPct val="95000"/>
              </a:lnSpc>
              <a:spcBef>
                <a:spcPts val="600"/>
              </a:spcBef>
              <a:defRPr sz="1200">
                <a:latin typeface="+mn-lt"/>
              </a:defRPr>
            </a:lvl1pPr>
            <a:lvl2pPr>
              <a:lnSpc>
                <a:spcPct val="95000"/>
              </a:lnSpc>
              <a:spcBef>
                <a:spcPts val="600"/>
              </a:spcBef>
              <a:defRPr sz="1200">
                <a:latin typeface="+mn-lt"/>
              </a:defRPr>
            </a:lvl2pPr>
            <a:lvl3pPr>
              <a:lnSpc>
                <a:spcPct val="95000"/>
              </a:lnSpc>
              <a:spcBef>
                <a:spcPts val="600"/>
              </a:spcBef>
              <a:defRPr sz="1200">
                <a:latin typeface="+mn-lt"/>
              </a:defRPr>
            </a:lvl3pPr>
            <a:lvl4pPr>
              <a:lnSpc>
                <a:spcPct val="95000"/>
              </a:lnSpc>
              <a:spcBef>
                <a:spcPts val="600"/>
              </a:spcBef>
              <a:defRPr sz="1200">
                <a:latin typeface="+mn-lt"/>
              </a:defRPr>
            </a:lvl4pPr>
            <a:lvl5pPr marL="0" indent="0">
              <a:lnSpc>
                <a:spcPct val="95000"/>
              </a:lnSpc>
              <a:spcBef>
                <a:spcPts val="600"/>
              </a:spcBef>
              <a:buFont typeface="Arial" panose="020B0604020202020204" pitchFamily="34" charset="0"/>
              <a:buNone/>
              <a:defRPr sz="1200">
                <a:solidFill>
                  <a:schemeClr val="tx2"/>
                </a:solidFill>
                <a:latin typeface="+mn-lt"/>
              </a:defRPr>
            </a:lvl5pPr>
            <a:lvl6pPr marL="0" indent="0">
              <a:lnSpc>
                <a:spcPct val="95000"/>
              </a:lnSpc>
              <a:spcBef>
                <a:spcPts val="600"/>
              </a:spcBef>
              <a:buFont typeface="Arial" panose="020B0604020202020204" pitchFamily="34" charset="0"/>
              <a:buNone/>
              <a:defRPr sz="1200">
                <a:solidFill>
                  <a:schemeClr val="tx1"/>
                </a:solidFill>
                <a:latin typeface="+mn-lt"/>
              </a:defRPr>
            </a:lvl6pPr>
            <a:lvl7pPr marL="0" indent="0">
              <a:lnSpc>
                <a:spcPct val="95000"/>
              </a:lnSpc>
              <a:spcBef>
                <a:spcPts val="600"/>
              </a:spcBef>
              <a:buFont typeface="Arial" panose="020B0604020202020204" pitchFamily="34" charset="0"/>
              <a:buNone/>
              <a:defRPr sz="1200">
                <a:solidFill>
                  <a:schemeClr val="tx1"/>
                </a:solidFill>
                <a:latin typeface="+mn-lt"/>
              </a:defRPr>
            </a:lvl7pPr>
            <a:lvl8pPr marL="0" indent="0">
              <a:lnSpc>
                <a:spcPct val="95000"/>
              </a:lnSpc>
              <a:spcBef>
                <a:spcPts val="600"/>
              </a:spcBef>
              <a:buFont typeface="Arial" panose="020B0604020202020204" pitchFamily="34" charset="0"/>
              <a:buNone/>
              <a:defRPr sz="1200">
                <a:solidFill>
                  <a:schemeClr val="tx1"/>
                </a:solidFill>
                <a:latin typeface="+mn-lt"/>
              </a:defRPr>
            </a:lvl8pPr>
            <a:lvl9pPr marL="0" indent="0">
              <a:lnSpc>
                <a:spcPct val="95000"/>
              </a:lnSpc>
              <a:spcBef>
                <a:spcPts val="600"/>
              </a:spcBef>
              <a:buFont typeface="Arial" panose="020B0604020202020204" pitchFamily="34" charset="0"/>
              <a:buNone/>
              <a:defRPr sz="1200">
                <a:solidFill>
                  <a:schemeClr val="tx1"/>
                </a:solidFill>
                <a:latin typeface="+mn-lt"/>
              </a:defRPr>
            </a:lvl9pPr>
          </a:lstStyle>
          <a:p>
            <a:pPr lvl="0"/>
            <a:r>
              <a:rPr lang="en-GB" dirty="0"/>
              <a:t>Click to add description</a:t>
            </a:r>
          </a:p>
          <a:p>
            <a:pPr lvl="1"/>
            <a:r>
              <a:rPr lang="en-GB" dirty="0"/>
              <a:t>Second level – Bullet 1</a:t>
            </a:r>
          </a:p>
          <a:p>
            <a:pPr lvl="2"/>
            <a:r>
              <a:rPr lang="en-GB" dirty="0"/>
              <a:t>Third level – Bullet 2</a:t>
            </a:r>
          </a:p>
          <a:p>
            <a:pPr lvl="3"/>
            <a:r>
              <a:rPr lang="en-GB" dirty="0"/>
              <a:t>Fourth level – Bullet 3</a:t>
            </a:r>
          </a:p>
          <a:p>
            <a:pPr lvl="4"/>
            <a:r>
              <a:rPr lang="en-GB" dirty="0"/>
              <a:t>Fifth level – Secondary</a:t>
            </a:r>
          </a:p>
          <a:p>
            <a:pPr lvl="5"/>
            <a:r>
              <a:rPr lang="en-GB" dirty="0"/>
              <a:t>Sixth level – Body</a:t>
            </a:r>
          </a:p>
          <a:p>
            <a:pPr lvl="6"/>
            <a:r>
              <a:rPr lang="en-GB" dirty="0"/>
              <a:t>Seventh level – Body</a:t>
            </a:r>
          </a:p>
          <a:p>
            <a:pPr lvl="7"/>
            <a:r>
              <a:rPr lang="en-GB" dirty="0"/>
              <a:t>Eighth level – Body</a:t>
            </a:r>
          </a:p>
          <a:p>
            <a:pPr lvl="8"/>
            <a:r>
              <a:rPr lang="en-GB" dirty="0"/>
              <a:t>Ninth level – Body</a:t>
            </a:r>
          </a:p>
        </p:txBody>
      </p:sp>
      <p:sp>
        <p:nvSpPr>
          <p:cNvPr id="43" name="Picture Placeholder 2">
            <a:extLst>
              <a:ext uri="{FF2B5EF4-FFF2-40B4-BE49-F238E27FC236}">
                <a16:creationId xmlns:a16="http://schemas.microsoft.com/office/drawing/2014/main" id="{2C71EBB3-958B-46B2-B16A-D9A971CB5E21}"/>
              </a:ext>
            </a:extLst>
          </p:cNvPr>
          <p:cNvSpPr>
            <a:spLocks noGrp="1" noChangeAspect="1"/>
          </p:cNvSpPr>
          <p:nvPr>
            <p:ph type="pic" sz="quarter" idx="22"/>
          </p:nvPr>
        </p:nvSpPr>
        <p:spPr>
          <a:xfrm>
            <a:off x="6184900" y="1565274"/>
            <a:ext cx="2160000" cy="1440000"/>
          </a:xfrm>
          <a:solidFill>
            <a:schemeClr val="bg2"/>
          </a:solidFill>
        </p:spPr>
        <p:txBody>
          <a:bodyPr/>
          <a:lstStyle/>
          <a:p>
            <a:r>
              <a:rPr lang="en-US"/>
              <a:t>Click icon to add picture</a:t>
            </a:r>
            <a:endParaRPr lang="en-GB" dirty="0"/>
          </a:p>
        </p:txBody>
      </p:sp>
      <p:sp>
        <p:nvSpPr>
          <p:cNvPr id="44" name="Name Placeholder 2">
            <a:extLst>
              <a:ext uri="{FF2B5EF4-FFF2-40B4-BE49-F238E27FC236}">
                <a16:creationId xmlns:a16="http://schemas.microsoft.com/office/drawing/2014/main" id="{D127DC27-338F-4B6A-987F-E7D622D13008}"/>
              </a:ext>
            </a:extLst>
          </p:cNvPr>
          <p:cNvSpPr>
            <a:spLocks noGrp="1"/>
          </p:cNvSpPr>
          <p:nvPr>
            <p:ph type="body" sz="quarter" idx="23" hasCustomPrompt="1"/>
          </p:nvPr>
        </p:nvSpPr>
        <p:spPr>
          <a:xfrm>
            <a:off x="6184900" y="3113274"/>
            <a:ext cx="5286374"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45" name="Job Title 2">
            <a:extLst>
              <a:ext uri="{FF2B5EF4-FFF2-40B4-BE49-F238E27FC236}">
                <a16:creationId xmlns:a16="http://schemas.microsoft.com/office/drawing/2014/main" id="{B788EC0D-1D8D-4859-B60F-E5B18534D185}"/>
              </a:ext>
            </a:extLst>
          </p:cNvPr>
          <p:cNvSpPr>
            <a:spLocks noGrp="1"/>
          </p:cNvSpPr>
          <p:nvPr>
            <p:ph type="body" sz="quarter" idx="24" hasCustomPrompt="1"/>
          </p:nvPr>
        </p:nvSpPr>
        <p:spPr>
          <a:xfrm>
            <a:off x="6184900" y="3488716"/>
            <a:ext cx="1575730" cy="297809"/>
          </a:xfrm>
          <a:prstGeom prst="roundRect">
            <a:avLst>
              <a:gd name="adj" fmla="val 50000"/>
            </a:avLst>
          </a:prstGeom>
          <a:solidFill>
            <a:schemeClr val="accent2"/>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46" name="Contact Details 2">
            <a:extLst>
              <a:ext uri="{FF2B5EF4-FFF2-40B4-BE49-F238E27FC236}">
                <a16:creationId xmlns:a16="http://schemas.microsoft.com/office/drawing/2014/main" id="{AEBC6940-689F-426A-81F4-5DFBF83B31F3}"/>
              </a:ext>
            </a:extLst>
          </p:cNvPr>
          <p:cNvSpPr>
            <a:spLocks noGrp="1"/>
          </p:cNvSpPr>
          <p:nvPr>
            <p:ph type="body" sz="quarter" idx="25" hasCustomPrompt="1"/>
          </p:nvPr>
        </p:nvSpPr>
        <p:spPr>
          <a:xfrm>
            <a:off x="6184900" y="3873967"/>
            <a:ext cx="5286374"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47" name="Bio Description 2">
            <a:extLst>
              <a:ext uri="{FF2B5EF4-FFF2-40B4-BE49-F238E27FC236}">
                <a16:creationId xmlns:a16="http://schemas.microsoft.com/office/drawing/2014/main" id="{546D1641-B818-46C5-869C-6A568D01E42F}"/>
              </a:ext>
            </a:extLst>
          </p:cNvPr>
          <p:cNvSpPr>
            <a:spLocks noGrp="1"/>
          </p:cNvSpPr>
          <p:nvPr>
            <p:ph type="body" sz="quarter" idx="26" hasCustomPrompt="1"/>
          </p:nvPr>
        </p:nvSpPr>
        <p:spPr>
          <a:xfrm>
            <a:off x="6184900" y="4342066"/>
            <a:ext cx="5286374" cy="1795209"/>
          </a:xfrm>
        </p:spPr>
        <p:txBody>
          <a:bodyPr>
            <a:normAutofit/>
          </a:bodyPr>
          <a:lstStyle>
            <a:lvl1pPr>
              <a:lnSpc>
                <a:spcPct val="95000"/>
              </a:lnSpc>
              <a:spcBef>
                <a:spcPts val="600"/>
              </a:spcBef>
              <a:defRPr sz="1200">
                <a:latin typeface="+mn-lt"/>
              </a:defRPr>
            </a:lvl1pPr>
            <a:lvl2pPr>
              <a:lnSpc>
                <a:spcPct val="95000"/>
              </a:lnSpc>
              <a:spcBef>
                <a:spcPts val="600"/>
              </a:spcBef>
              <a:defRPr sz="1200">
                <a:latin typeface="+mn-lt"/>
              </a:defRPr>
            </a:lvl2pPr>
            <a:lvl3pPr>
              <a:lnSpc>
                <a:spcPct val="95000"/>
              </a:lnSpc>
              <a:spcBef>
                <a:spcPts val="600"/>
              </a:spcBef>
              <a:defRPr sz="1200">
                <a:latin typeface="+mn-lt"/>
              </a:defRPr>
            </a:lvl3pPr>
            <a:lvl4pPr>
              <a:lnSpc>
                <a:spcPct val="95000"/>
              </a:lnSpc>
              <a:spcBef>
                <a:spcPts val="600"/>
              </a:spcBef>
              <a:defRPr sz="1200">
                <a:latin typeface="+mn-lt"/>
              </a:defRPr>
            </a:lvl4pPr>
            <a:lvl5pPr marL="0" indent="0">
              <a:lnSpc>
                <a:spcPct val="95000"/>
              </a:lnSpc>
              <a:spcBef>
                <a:spcPts val="600"/>
              </a:spcBef>
              <a:buFont typeface="Arial" panose="020B0604020202020204" pitchFamily="34" charset="0"/>
              <a:buNone/>
              <a:defRPr sz="1200">
                <a:solidFill>
                  <a:schemeClr val="tx2"/>
                </a:solidFill>
                <a:latin typeface="+mn-lt"/>
              </a:defRPr>
            </a:lvl5pPr>
            <a:lvl6pPr marL="0" indent="0">
              <a:lnSpc>
                <a:spcPct val="95000"/>
              </a:lnSpc>
              <a:spcBef>
                <a:spcPts val="600"/>
              </a:spcBef>
              <a:buFont typeface="Arial" panose="020B0604020202020204" pitchFamily="34" charset="0"/>
              <a:buNone/>
              <a:defRPr sz="1200">
                <a:solidFill>
                  <a:schemeClr val="tx1"/>
                </a:solidFill>
                <a:latin typeface="+mn-lt"/>
              </a:defRPr>
            </a:lvl6pPr>
            <a:lvl7pPr marL="0" indent="0">
              <a:lnSpc>
                <a:spcPct val="95000"/>
              </a:lnSpc>
              <a:spcBef>
                <a:spcPts val="600"/>
              </a:spcBef>
              <a:buFont typeface="Arial" panose="020B0604020202020204" pitchFamily="34" charset="0"/>
              <a:buNone/>
              <a:defRPr sz="1200">
                <a:solidFill>
                  <a:schemeClr val="tx1"/>
                </a:solidFill>
                <a:latin typeface="+mn-lt"/>
              </a:defRPr>
            </a:lvl7pPr>
            <a:lvl8pPr marL="0" indent="0">
              <a:lnSpc>
                <a:spcPct val="95000"/>
              </a:lnSpc>
              <a:spcBef>
                <a:spcPts val="600"/>
              </a:spcBef>
              <a:buFont typeface="Arial" panose="020B0604020202020204" pitchFamily="34" charset="0"/>
              <a:buNone/>
              <a:defRPr sz="1200">
                <a:solidFill>
                  <a:schemeClr val="tx1"/>
                </a:solidFill>
                <a:latin typeface="+mn-lt"/>
              </a:defRPr>
            </a:lvl8pPr>
            <a:lvl9pPr marL="0" indent="0">
              <a:lnSpc>
                <a:spcPct val="95000"/>
              </a:lnSpc>
              <a:spcBef>
                <a:spcPts val="600"/>
              </a:spcBef>
              <a:buFont typeface="Arial" panose="020B0604020202020204" pitchFamily="34" charset="0"/>
              <a:buNone/>
              <a:defRPr sz="1200">
                <a:solidFill>
                  <a:schemeClr val="tx1"/>
                </a:solidFill>
                <a:latin typeface="+mn-lt"/>
              </a:defRPr>
            </a:lvl9pPr>
          </a:lstStyle>
          <a:p>
            <a:pPr lvl="0"/>
            <a:r>
              <a:rPr lang="en-GB" dirty="0"/>
              <a:t>Click to add description</a:t>
            </a:r>
          </a:p>
          <a:p>
            <a:pPr lvl="1"/>
            <a:r>
              <a:rPr lang="en-GB" dirty="0"/>
              <a:t>Second level – Bullet 1</a:t>
            </a:r>
          </a:p>
          <a:p>
            <a:pPr lvl="2"/>
            <a:r>
              <a:rPr lang="en-GB" dirty="0"/>
              <a:t>Third level – Bullet 2</a:t>
            </a:r>
          </a:p>
          <a:p>
            <a:pPr lvl="3"/>
            <a:r>
              <a:rPr lang="en-GB" dirty="0"/>
              <a:t>Fourth level – Bullet 3</a:t>
            </a:r>
          </a:p>
          <a:p>
            <a:pPr lvl="4"/>
            <a:r>
              <a:rPr lang="en-GB" dirty="0"/>
              <a:t>Fifth level – Secondary</a:t>
            </a:r>
          </a:p>
          <a:p>
            <a:pPr lvl="5"/>
            <a:r>
              <a:rPr lang="en-GB" dirty="0"/>
              <a:t>Sixth level – Body</a:t>
            </a:r>
          </a:p>
          <a:p>
            <a:pPr lvl="6"/>
            <a:r>
              <a:rPr lang="en-GB" dirty="0"/>
              <a:t>Seventh level – Body</a:t>
            </a:r>
          </a:p>
          <a:p>
            <a:pPr lvl="7"/>
            <a:r>
              <a:rPr lang="en-GB" dirty="0"/>
              <a:t>Eighth level – Body</a:t>
            </a:r>
          </a:p>
          <a:p>
            <a:pPr lvl="8"/>
            <a:r>
              <a:rPr lang="en-GB" dirty="0"/>
              <a:t>Ninth level – Body</a:t>
            </a:r>
          </a:p>
        </p:txBody>
      </p:sp>
      <p:grpSp>
        <p:nvGrpSpPr>
          <p:cNvPr id="15" name="Group 14">
            <a:extLst>
              <a:ext uri="{FF2B5EF4-FFF2-40B4-BE49-F238E27FC236}">
                <a16:creationId xmlns:a16="http://schemas.microsoft.com/office/drawing/2014/main" id="{399CD1D3-3D7B-4175-B9B5-AABE6DAC6948}"/>
              </a:ext>
            </a:extLst>
          </p:cNvPr>
          <p:cNvGrpSpPr/>
          <p:nvPr userDrawn="1"/>
        </p:nvGrpSpPr>
        <p:grpSpPr>
          <a:xfrm>
            <a:off x="6894610" y="0"/>
            <a:ext cx="5298532" cy="1803399"/>
            <a:chOff x="6894610" y="0"/>
            <a:chExt cx="5298532" cy="1803399"/>
          </a:xfrm>
        </p:grpSpPr>
        <p:sp>
          <p:nvSpPr>
            <p:cNvPr id="10" name="Freeform: Shape 9">
              <a:extLst>
                <a:ext uri="{FF2B5EF4-FFF2-40B4-BE49-F238E27FC236}">
                  <a16:creationId xmlns:a16="http://schemas.microsoft.com/office/drawing/2014/main" id="{52AD3346-80C8-4504-B648-AD22AA2F3ACF}"/>
                </a:ext>
              </a:extLst>
            </p:cNvPr>
            <p:cNvSpPr/>
            <p:nvPr/>
          </p:nvSpPr>
          <p:spPr>
            <a:xfrm>
              <a:off x="10870623" y="834697"/>
              <a:ext cx="1322519" cy="968702"/>
            </a:xfrm>
            <a:custGeom>
              <a:avLst/>
              <a:gdLst>
                <a:gd name="connsiteX0" fmla="*/ 7815 w 1322519"/>
                <a:gd name="connsiteY0" fmla="*/ 88465 h 968702"/>
                <a:gd name="connsiteX1" fmla="*/ 88460 w 1322519"/>
                <a:gd name="connsiteY1" fmla="*/ 258899 h 968702"/>
                <a:gd name="connsiteX2" fmla="*/ 1322519 w 1322519"/>
                <a:gd name="connsiteY2" fmla="*/ 968702 h 968702"/>
                <a:gd name="connsiteX3" fmla="*/ 1322520 w 1322519"/>
                <a:gd name="connsiteY3" fmla="*/ 627707 h 968702"/>
                <a:gd name="connsiteX4" fmla="*/ 178376 w 1322519"/>
                <a:gd name="connsiteY4" fmla="*/ 7820 h 968702"/>
                <a:gd name="connsiteX5" fmla="*/ 7815 w 1322519"/>
                <a:gd name="connsiteY5" fmla="*/ 88465 h 968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2519" h="968702">
                  <a:moveTo>
                    <a:pt x="7815" y="88465"/>
                  </a:moveTo>
                  <a:cubicBezTo>
                    <a:pt x="-16964" y="157798"/>
                    <a:pt x="19136" y="234094"/>
                    <a:pt x="88460" y="258899"/>
                  </a:cubicBezTo>
                  <a:cubicBezTo>
                    <a:pt x="538461" y="420858"/>
                    <a:pt x="956254" y="661163"/>
                    <a:pt x="1322519" y="968702"/>
                  </a:cubicBezTo>
                  <a:lnTo>
                    <a:pt x="1322520" y="627707"/>
                  </a:lnTo>
                  <a:cubicBezTo>
                    <a:pt x="974877" y="364105"/>
                    <a:pt x="589058" y="155072"/>
                    <a:pt x="178376" y="7820"/>
                  </a:cubicBezTo>
                  <a:cubicBezTo>
                    <a:pt x="109010" y="-16967"/>
                    <a:pt x="32676" y="19125"/>
                    <a:pt x="7815" y="88465"/>
                  </a:cubicBezTo>
                  <a:close/>
                </a:path>
              </a:pathLst>
            </a:custGeom>
            <a:solidFill>
              <a:srgbClr val="005C82"/>
            </a:solidFill>
            <a:ln w="12700"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4EB68B2B-7333-44EE-A6A3-9DD6B717F52E}"/>
                </a:ext>
              </a:extLst>
            </p:cNvPr>
            <p:cNvSpPr/>
            <p:nvPr/>
          </p:nvSpPr>
          <p:spPr>
            <a:xfrm>
              <a:off x="6894610" y="0"/>
              <a:ext cx="4228218" cy="1354511"/>
            </a:xfrm>
            <a:custGeom>
              <a:avLst/>
              <a:gdLst>
                <a:gd name="connsiteX0" fmla="*/ 4918 w 4228218"/>
                <a:gd name="connsiteY0" fmla="*/ 1185545 h 1354511"/>
                <a:gd name="connsiteX1" fmla="*/ 97513 w 4228218"/>
                <a:gd name="connsiteY1" fmla="*/ 1349627 h 1354511"/>
                <a:gd name="connsiteX2" fmla="*/ 191989 w 4228218"/>
                <a:gd name="connsiteY2" fmla="*/ 1340866 h 1354511"/>
                <a:gd name="connsiteX3" fmla="*/ 1408141 w 4228218"/>
                <a:gd name="connsiteY3" fmla="*/ 956564 h 1354511"/>
                <a:gd name="connsiteX4" fmla="*/ 4050376 w 4228218"/>
                <a:gd name="connsiteY4" fmla="*/ 1085215 h 1354511"/>
                <a:gd name="connsiteX5" fmla="*/ 4220557 w 4228218"/>
                <a:gd name="connsiteY5" fmla="*/ 1003935 h 1354511"/>
                <a:gd name="connsiteX6" fmla="*/ 4139276 w 4228218"/>
                <a:gd name="connsiteY6" fmla="*/ 833755 h 1354511"/>
                <a:gd name="connsiteX7" fmla="*/ 1346292 w 4228218"/>
                <a:gd name="connsiteY7" fmla="*/ 696849 h 1354511"/>
                <a:gd name="connsiteX8" fmla="*/ 322799 w 4228218"/>
                <a:gd name="connsiteY8" fmla="*/ 995807 h 1354511"/>
                <a:gd name="connsiteX9" fmla="*/ 338547 w 4228218"/>
                <a:gd name="connsiteY9" fmla="*/ 0 h 1354511"/>
                <a:gd name="connsiteX10" fmla="*/ 69307 w 4228218"/>
                <a:gd name="connsiteY10" fmla="*/ 0 h 1354511"/>
                <a:gd name="connsiteX11" fmla="*/ 4918 w 4228218"/>
                <a:gd name="connsiteY11" fmla="*/ 1185545 h 1354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28218" h="1354511">
                  <a:moveTo>
                    <a:pt x="4918" y="1185545"/>
                  </a:moveTo>
                  <a:cubicBezTo>
                    <a:pt x="-14822" y="1256425"/>
                    <a:pt x="26634" y="1329886"/>
                    <a:pt x="97513" y="1349627"/>
                  </a:cubicBezTo>
                  <a:cubicBezTo>
                    <a:pt x="129013" y="1358400"/>
                    <a:pt x="162640" y="1355282"/>
                    <a:pt x="191989" y="1340866"/>
                  </a:cubicBezTo>
                  <a:cubicBezTo>
                    <a:pt x="196942" y="1338453"/>
                    <a:pt x="687289" y="1103757"/>
                    <a:pt x="1408141" y="956564"/>
                  </a:cubicBezTo>
                  <a:cubicBezTo>
                    <a:pt x="2067398" y="821690"/>
                    <a:pt x="3061427" y="734441"/>
                    <a:pt x="4050376" y="1085215"/>
                  </a:cubicBezTo>
                  <a:cubicBezTo>
                    <a:pt x="4119815" y="1109764"/>
                    <a:pt x="4196007" y="1073374"/>
                    <a:pt x="4220557" y="1003935"/>
                  </a:cubicBezTo>
                  <a:cubicBezTo>
                    <a:pt x="4245106" y="934496"/>
                    <a:pt x="4208715" y="858304"/>
                    <a:pt x="4139276" y="833755"/>
                  </a:cubicBezTo>
                  <a:cubicBezTo>
                    <a:pt x="3089748" y="461645"/>
                    <a:pt x="2041109" y="554355"/>
                    <a:pt x="1346292" y="696849"/>
                  </a:cubicBezTo>
                  <a:cubicBezTo>
                    <a:pt x="997459" y="768073"/>
                    <a:pt x="655124" y="868067"/>
                    <a:pt x="322799" y="995807"/>
                  </a:cubicBezTo>
                  <a:cubicBezTo>
                    <a:pt x="389601" y="648462"/>
                    <a:pt x="395189" y="315341"/>
                    <a:pt x="338547" y="0"/>
                  </a:cubicBezTo>
                  <a:lnTo>
                    <a:pt x="69307" y="0"/>
                  </a:lnTo>
                  <a:cubicBezTo>
                    <a:pt x="140173" y="363220"/>
                    <a:pt x="120488" y="764159"/>
                    <a:pt x="4918" y="1185545"/>
                  </a:cubicBezTo>
                  <a:close/>
                </a:path>
              </a:pathLst>
            </a:custGeom>
            <a:solidFill>
              <a:srgbClr val="9EDED4"/>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22158590"/>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am Bio 6">
    <p:spTree>
      <p:nvGrpSpPr>
        <p:cNvPr id="1" name=""/>
        <p:cNvGrpSpPr/>
        <p:nvPr/>
      </p:nvGrpSpPr>
      <p:grpSpPr>
        <a:xfrm>
          <a:off x="0" y="0"/>
          <a:ext cx="0" cy="0"/>
          <a:chOff x="0" y="0"/>
          <a:chExt cx="0" cy="0"/>
        </a:xfrm>
      </p:grpSpPr>
      <p:sp>
        <p:nvSpPr>
          <p:cNvPr id="47" name="Picture Placeholder 4">
            <a:extLst>
              <a:ext uri="{FF2B5EF4-FFF2-40B4-BE49-F238E27FC236}">
                <a16:creationId xmlns:a16="http://schemas.microsoft.com/office/drawing/2014/main" id="{FFFFCC4A-5EB9-407D-97EE-22A1FAEF4BB1}"/>
              </a:ext>
            </a:extLst>
          </p:cNvPr>
          <p:cNvSpPr>
            <a:spLocks noGrp="1" noChangeAspect="1"/>
          </p:cNvSpPr>
          <p:nvPr>
            <p:ph type="pic" sz="quarter" idx="31"/>
          </p:nvPr>
        </p:nvSpPr>
        <p:spPr>
          <a:xfrm>
            <a:off x="719137" y="3997256"/>
            <a:ext cx="1366200" cy="910800"/>
          </a:xfrm>
          <a:solidFill>
            <a:schemeClr val="bg2"/>
          </a:solidFill>
        </p:spPr>
        <p:txBody>
          <a:bodyPr/>
          <a:lstStyle/>
          <a:p>
            <a:r>
              <a:rPr lang="en-US"/>
              <a:t>Click icon to add picture</a:t>
            </a:r>
            <a:endParaRPr lang="en-GB" dirty="0"/>
          </a:p>
        </p:txBody>
      </p:sp>
      <p:sp>
        <p:nvSpPr>
          <p:cNvPr id="52" name="Name Placeholder 4">
            <a:extLst>
              <a:ext uri="{FF2B5EF4-FFF2-40B4-BE49-F238E27FC236}">
                <a16:creationId xmlns:a16="http://schemas.microsoft.com/office/drawing/2014/main" id="{81FE4BB9-8A23-4971-A551-0843CC4135B4}"/>
              </a:ext>
            </a:extLst>
          </p:cNvPr>
          <p:cNvSpPr>
            <a:spLocks noGrp="1"/>
          </p:cNvSpPr>
          <p:nvPr>
            <p:ph type="body" sz="quarter" idx="32" hasCustomPrompt="1"/>
          </p:nvPr>
        </p:nvSpPr>
        <p:spPr>
          <a:xfrm>
            <a:off x="719137" y="5016056"/>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53" name="Job Title 4">
            <a:extLst>
              <a:ext uri="{FF2B5EF4-FFF2-40B4-BE49-F238E27FC236}">
                <a16:creationId xmlns:a16="http://schemas.microsoft.com/office/drawing/2014/main" id="{6FB8DF09-CA51-4CE6-AA75-72F870FB85D4}"/>
              </a:ext>
            </a:extLst>
          </p:cNvPr>
          <p:cNvSpPr>
            <a:spLocks noGrp="1"/>
          </p:cNvSpPr>
          <p:nvPr>
            <p:ph type="body" sz="quarter" idx="33" hasCustomPrompt="1"/>
          </p:nvPr>
        </p:nvSpPr>
        <p:spPr>
          <a:xfrm>
            <a:off x="719137" y="5412056"/>
            <a:ext cx="1575730" cy="297809"/>
          </a:xfrm>
          <a:prstGeom prst="roundRect">
            <a:avLst>
              <a:gd name="adj" fmla="val 50000"/>
            </a:avLst>
          </a:prstGeom>
          <a:solidFill>
            <a:schemeClr val="accent3"/>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54" name="Contact Details 4">
            <a:extLst>
              <a:ext uri="{FF2B5EF4-FFF2-40B4-BE49-F238E27FC236}">
                <a16:creationId xmlns:a16="http://schemas.microsoft.com/office/drawing/2014/main" id="{3EB728E6-1CBC-4703-BCC2-7BA00104160C}"/>
              </a:ext>
            </a:extLst>
          </p:cNvPr>
          <p:cNvSpPr>
            <a:spLocks noGrp="1"/>
          </p:cNvSpPr>
          <p:nvPr>
            <p:ph type="body" sz="quarter" idx="34" hasCustomPrompt="1"/>
          </p:nvPr>
        </p:nvSpPr>
        <p:spPr>
          <a:xfrm>
            <a:off x="719137" y="5817865"/>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55" name="Picture Placeholder 5">
            <a:extLst>
              <a:ext uri="{FF2B5EF4-FFF2-40B4-BE49-F238E27FC236}">
                <a16:creationId xmlns:a16="http://schemas.microsoft.com/office/drawing/2014/main" id="{879E3977-0FEE-46FC-820F-2B21ED7103C9}"/>
              </a:ext>
            </a:extLst>
          </p:cNvPr>
          <p:cNvSpPr>
            <a:spLocks noGrp="1" noChangeAspect="1"/>
          </p:cNvSpPr>
          <p:nvPr>
            <p:ph type="pic" sz="quarter" idx="35"/>
          </p:nvPr>
        </p:nvSpPr>
        <p:spPr>
          <a:xfrm>
            <a:off x="4364038" y="4001155"/>
            <a:ext cx="1366200" cy="910800"/>
          </a:xfrm>
          <a:solidFill>
            <a:schemeClr val="bg2"/>
          </a:solidFill>
        </p:spPr>
        <p:txBody>
          <a:bodyPr/>
          <a:lstStyle/>
          <a:p>
            <a:r>
              <a:rPr lang="en-US"/>
              <a:t>Click icon to add picture</a:t>
            </a:r>
            <a:endParaRPr lang="en-GB" dirty="0"/>
          </a:p>
        </p:txBody>
      </p:sp>
      <p:sp>
        <p:nvSpPr>
          <p:cNvPr id="56" name="Name Placeholder 5">
            <a:extLst>
              <a:ext uri="{FF2B5EF4-FFF2-40B4-BE49-F238E27FC236}">
                <a16:creationId xmlns:a16="http://schemas.microsoft.com/office/drawing/2014/main" id="{4DD93172-4F19-45F9-AB3C-0D32428D33BF}"/>
              </a:ext>
            </a:extLst>
          </p:cNvPr>
          <p:cNvSpPr>
            <a:spLocks noGrp="1"/>
          </p:cNvSpPr>
          <p:nvPr>
            <p:ph type="body" sz="quarter" idx="36" hasCustomPrompt="1"/>
          </p:nvPr>
        </p:nvSpPr>
        <p:spPr>
          <a:xfrm>
            <a:off x="4364038" y="5020381"/>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57" name="Job Title 5">
            <a:extLst>
              <a:ext uri="{FF2B5EF4-FFF2-40B4-BE49-F238E27FC236}">
                <a16:creationId xmlns:a16="http://schemas.microsoft.com/office/drawing/2014/main" id="{A3D19A47-4337-4F39-9834-87D7BAD04FA9}"/>
              </a:ext>
            </a:extLst>
          </p:cNvPr>
          <p:cNvSpPr>
            <a:spLocks noGrp="1"/>
          </p:cNvSpPr>
          <p:nvPr>
            <p:ph type="body" sz="quarter" idx="37" hasCustomPrompt="1"/>
          </p:nvPr>
        </p:nvSpPr>
        <p:spPr>
          <a:xfrm>
            <a:off x="4364038" y="5395823"/>
            <a:ext cx="1575730" cy="297809"/>
          </a:xfrm>
          <a:prstGeom prst="roundRect">
            <a:avLst>
              <a:gd name="adj" fmla="val 50000"/>
            </a:avLst>
          </a:prstGeom>
          <a:solidFill>
            <a:schemeClr val="accent1"/>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58" name="Contact Details 5">
            <a:extLst>
              <a:ext uri="{FF2B5EF4-FFF2-40B4-BE49-F238E27FC236}">
                <a16:creationId xmlns:a16="http://schemas.microsoft.com/office/drawing/2014/main" id="{900086A4-8295-427F-99DF-31DAD9889407}"/>
              </a:ext>
            </a:extLst>
          </p:cNvPr>
          <p:cNvSpPr>
            <a:spLocks noGrp="1"/>
          </p:cNvSpPr>
          <p:nvPr>
            <p:ph type="body" sz="quarter" idx="38" hasCustomPrompt="1"/>
          </p:nvPr>
        </p:nvSpPr>
        <p:spPr>
          <a:xfrm>
            <a:off x="4364038" y="5781074"/>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59" name="Picture Placeholder 6">
            <a:extLst>
              <a:ext uri="{FF2B5EF4-FFF2-40B4-BE49-F238E27FC236}">
                <a16:creationId xmlns:a16="http://schemas.microsoft.com/office/drawing/2014/main" id="{758D5642-E56B-4C4F-BD98-E87D6EB12962}"/>
              </a:ext>
            </a:extLst>
          </p:cNvPr>
          <p:cNvSpPr>
            <a:spLocks noGrp="1" noChangeAspect="1"/>
          </p:cNvSpPr>
          <p:nvPr>
            <p:ph type="pic" sz="quarter" idx="39"/>
          </p:nvPr>
        </p:nvSpPr>
        <p:spPr>
          <a:xfrm>
            <a:off x="8008939" y="4001155"/>
            <a:ext cx="1366200" cy="910800"/>
          </a:xfrm>
          <a:solidFill>
            <a:schemeClr val="bg2"/>
          </a:solidFill>
        </p:spPr>
        <p:txBody>
          <a:bodyPr/>
          <a:lstStyle/>
          <a:p>
            <a:r>
              <a:rPr lang="en-US"/>
              <a:t>Click icon to add picture</a:t>
            </a:r>
            <a:endParaRPr lang="en-GB" dirty="0"/>
          </a:p>
        </p:txBody>
      </p:sp>
      <p:sp>
        <p:nvSpPr>
          <p:cNvPr id="60" name="Name Placeholder 6">
            <a:extLst>
              <a:ext uri="{FF2B5EF4-FFF2-40B4-BE49-F238E27FC236}">
                <a16:creationId xmlns:a16="http://schemas.microsoft.com/office/drawing/2014/main" id="{62BC04E0-B094-4F2E-A4D4-A68642592CB7}"/>
              </a:ext>
            </a:extLst>
          </p:cNvPr>
          <p:cNvSpPr>
            <a:spLocks noGrp="1"/>
          </p:cNvSpPr>
          <p:nvPr>
            <p:ph type="body" sz="quarter" idx="40" hasCustomPrompt="1"/>
          </p:nvPr>
        </p:nvSpPr>
        <p:spPr>
          <a:xfrm>
            <a:off x="8008939" y="5020381"/>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61" name="Job Title 6">
            <a:extLst>
              <a:ext uri="{FF2B5EF4-FFF2-40B4-BE49-F238E27FC236}">
                <a16:creationId xmlns:a16="http://schemas.microsoft.com/office/drawing/2014/main" id="{4CD61B50-A333-417F-AB60-C160340391A8}"/>
              </a:ext>
            </a:extLst>
          </p:cNvPr>
          <p:cNvSpPr>
            <a:spLocks noGrp="1"/>
          </p:cNvSpPr>
          <p:nvPr>
            <p:ph type="body" sz="quarter" idx="41" hasCustomPrompt="1"/>
          </p:nvPr>
        </p:nvSpPr>
        <p:spPr>
          <a:xfrm>
            <a:off x="8008939" y="5395823"/>
            <a:ext cx="1575730" cy="297809"/>
          </a:xfrm>
          <a:prstGeom prst="roundRect">
            <a:avLst>
              <a:gd name="adj" fmla="val 50000"/>
            </a:avLst>
          </a:prstGeom>
          <a:solidFill>
            <a:schemeClr val="accent2"/>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62" name="Contact Details 6">
            <a:extLst>
              <a:ext uri="{FF2B5EF4-FFF2-40B4-BE49-F238E27FC236}">
                <a16:creationId xmlns:a16="http://schemas.microsoft.com/office/drawing/2014/main" id="{1A05B0D5-0358-4010-BDE0-FFE7305E079B}"/>
              </a:ext>
            </a:extLst>
          </p:cNvPr>
          <p:cNvSpPr>
            <a:spLocks noGrp="1"/>
          </p:cNvSpPr>
          <p:nvPr>
            <p:ph type="body" sz="quarter" idx="42" hasCustomPrompt="1"/>
          </p:nvPr>
        </p:nvSpPr>
        <p:spPr>
          <a:xfrm>
            <a:off x="8008939" y="5781074"/>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5465762" cy="720000"/>
          </a:xfrm>
        </p:spPr>
        <p:txBody>
          <a:bodyPr/>
          <a:lstStyle/>
          <a:p>
            <a:pPr lvl="0"/>
            <a:r>
              <a:rPr lang="en-US"/>
              <a:t>Click to edit Master title style</a:t>
            </a:r>
            <a:endParaRPr lang="en-GB" dirty="0"/>
          </a:p>
        </p:txBody>
      </p:sp>
      <p:sp>
        <p:nvSpPr>
          <p:cNvPr id="6" name="Picture Placeholder 1">
            <a:extLst>
              <a:ext uri="{FF2B5EF4-FFF2-40B4-BE49-F238E27FC236}">
                <a16:creationId xmlns:a16="http://schemas.microsoft.com/office/drawing/2014/main" id="{19E97DF0-7E3E-4B5B-91F4-20265AAB2B48}"/>
              </a:ext>
            </a:extLst>
          </p:cNvPr>
          <p:cNvSpPr>
            <a:spLocks noGrp="1" noChangeAspect="1"/>
          </p:cNvSpPr>
          <p:nvPr>
            <p:ph type="pic" sz="quarter" idx="13"/>
          </p:nvPr>
        </p:nvSpPr>
        <p:spPr>
          <a:xfrm>
            <a:off x="719137" y="1565375"/>
            <a:ext cx="1366200" cy="910800"/>
          </a:xfrm>
          <a:solidFill>
            <a:schemeClr val="bg2"/>
          </a:solidFill>
        </p:spPr>
        <p:txBody>
          <a:bodyPr/>
          <a:lstStyle/>
          <a:p>
            <a:r>
              <a:rPr lang="en-US"/>
              <a:t>Click icon to add picture</a:t>
            </a:r>
            <a:endParaRPr lang="en-GB" dirty="0"/>
          </a:p>
        </p:txBody>
      </p:sp>
      <p:sp>
        <p:nvSpPr>
          <p:cNvPr id="21" name="Name Placeholder 1">
            <a:extLst>
              <a:ext uri="{FF2B5EF4-FFF2-40B4-BE49-F238E27FC236}">
                <a16:creationId xmlns:a16="http://schemas.microsoft.com/office/drawing/2014/main" id="{58649EB9-FA8B-41C8-A805-DE861CABEFBE}"/>
              </a:ext>
            </a:extLst>
          </p:cNvPr>
          <p:cNvSpPr>
            <a:spLocks noGrp="1"/>
          </p:cNvSpPr>
          <p:nvPr>
            <p:ph type="body" sz="quarter" idx="16" hasCustomPrompt="1"/>
          </p:nvPr>
        </p:nvSpPr>
        <p:spPr>
          <a:xfrm>
            <a:off x="719137" y="2584175"/>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25" name="Job Title 1">
            <a:extLst>
              <a:ext uri="{FF2B5EF4-FFF2-40B4-BE49-F238E27FC236}">
                <a16:creationId xmlns:a16="http://schemas.microsoft.com/office/drawing/2014/main" id="{5041421C-5295-497A-9F52-4D09B296BFD5}"/>
              </a:ext>
            </a:extLst>
          </p:cNvPr>
          <p:cNvSpPr>
            <a:spLocks noGrp="1"/>
          </p:cNvSpPr>
          <p:nvPr>
            <p:ph type="body" sz="quarter" idx="19" hasCustomPrompt="1"/>
          </p:nvPr>
        </p:nvSpPr>
        <p:spPr>
          <a:xfrm>
            <a:off x="719137" y="2980175"/>
            <a:ext cx="1575730" cy="297809"/>
          </a:xfrm>
          <a:prstGeom prst="roundRect">
            <a:avLst>
              <a:gd name="adj" fmla="val 50000"/>
            </a:avLst>
          </a:prstGeom>
          <a:solidFill>
            <a:schemeClr val="accent1"/>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30" name="Contact Details 1">
            <a:extLst>
              <a:ext uri="{FF2B5EF4-FFF2-40B4-BE49-F238E27FC236}">
                <a16:creationId xmlns:a16="http://schemas.microsoft.com/office/drawing/2014/main" id="{07047B58-01F7-4E67-959E-947D81690991}"/>
              </a:ext>
            </a:extLst>
          </p:cNvPr>
          <p:cNvSpPr>
            <a:spLocks noGrp="1"/>
          </p:cNvSpPr>
          <p:nvPr>
            <p:ph type="body" sz="quarter" idx="20" hasCustomPrompt="1"/>
          </p:nvPr>
        </p:nvSpPr>
        <p:spPr>
          <a:xfrm>
            <a:off x="719137" y="3385984"/>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43" name="Picture Placeholder 2">
            <a:extLst>
              <a:ext uri="{FF2B5EF4-FFF2-40B4-BE49-F238E27FC236}">
                <a16:creationId xmlns:a16="http://schemas.microsoft.com/office/drawing/2014/main" id="{2C71EBB3-958B-46B2-B16A-D9A971CB5E21}"/>
              </a:ext>
            </a:extLst>
          </p:cNvPr>
          <p:cNvSpPr>
            <a:spLocks noGrp="1" noChangeAspect="1"/>
          </p:cNvSpPr>
          <p:nvPr>
            <p:ph type="pic" sz="quarter" idx="22"/>
          </p:nvPr>
        </p:nvSpPr>
        <p:spPr>
          <a:xfrm>
            <a:off x="4364038" y="1565375"/>
            <a:ext cx="1366200" cy="910800"/>
          </a:xfrm>
          <a:solidFill>
            <a:schemeClr val="bg2"/>
          </a:solidFill>
        </p:spPr>
        <p:txBody>
          <a:bodyPr/>
          <a:lstStyle/>
          <a:p>
            <a:r>
              <a:rPr lang="en-US"/>
              <a:t>Click icon to add picture</a:t>
            </a:r>
            <a:endParaRPr lang="en-GB" dirty="0"/>
          </a:p>
        </p:txBody>
      </p:sp>
      <p:sp>
        <p:nvSpPr>
          <p:cNvPr id="44" name="Name Placeholder 2">
            <a:extLst>
              <a:ext uri="{FF2B5EF4-FFF2-40B4-BE49-F238E27FC236}">
                <a16:creationId xmlns:a16="http://schemas.microsoft.com/office/drawing/2014/main" id="{D127DC27-338F-4B6A-987F-E7D622D13008}"/>
              </a:ext>
            </a:extLst>
          </p:cNvPr>
          <p:cNvSpPr>
            <a:spLocks noGrp="1"/>
          </p:cNvSpPr>
          <p:nvPr>
            <p:ph type="body" sz="quarter" idx="23" hasCustomPrompt="1"/>
          </p:nvPr>
        </p:nvSpPr>
        <p:spPr>
          <a:xfrm>
            <a:off x="4364038" y="2584175"/>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45" name="Job Title 2">
            <a:extLst>
              <a:ext uri="{FF2B5EF4-FFF2-40B4-BE49-F238E27FC236}">
                <a16:creationId xmlns:a16="http://schemas.microsoft.com/office/drawing/2014/main" id="{B788EC0D-1D8D-4859-B60F-E5B18534D185}"/>
              </a:ext>
            </a:extLst>
          </p:cNvPr>
          <p:cNvSpPr>
            <a:spLocks noGrp="1"/>
          </p:cNvSpPr>
          <p:nvPr>
            <p:ph type="body" sz="quarter" idx="24" hasCustomPrompt="1"/>
          </p:nvPr>
        </p:nvSpPr>
        <p:spPr>
          <a:xfrm>
            <a:off x="4364038" y="2980175"/>
            <a:ext cx="1575730" cy="297809"/>
          </a:xfrm>
          <a:prstGeom prst="roundRect">
            <a:avLst>
              <a:gd name="adj" fmla="val 50000"/>
            </a:avLst>
          </a:prstGeom>
          <a:solidFill>
            <a:schemeClr val="accent2"/>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46" name="Contact Details 2">
            <a:extLst>
              <a:ext uri="{FF2B5EF4-FFF2-40B4-BE49-F238E27FC236}">
                <a16:creationId xmlns:a16="http://schemas.microsoft.com/office/drawing/2014/main" id="{AEBC6940-689F-426A-81F4-5DFBF83B31F3}"/>
              </a:ext>
            </a:extLst>
          </p:cNvPr>
          <p:cNvSpPr>
            <a:spLocks noGrp="1"/>
          </p:cNvSpPr>
          <p:nvPr>
            <p:ph type="body" sz="quarter" idx="25" hasCustomPrompt="1"/>
          </p:nvPr>
        </p:nvSpPr>
        <p:spPr>
          <a:xfrm>
            <a:off x="4364038" y="3385984"/>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48" name="Picture Placeholder 3">
            <a:extLst>
              <a:ext uri="{FF2B5EF4-FFF2-40B4-BE49-F238E27FC236}">
                <a16:creationId xmlns:a16="http://schemas.microsoft.com/office/drawing/2014/main" id="{D376AA3C-4E82-4D08-9202-51469C989558}"/>
              </a:ext>
            </a:extLst>
          </p:cNvPr>
          <p:cNvSpPr>
            <a:spLocks noGrp="1" noChangeAspect="1"/>
          </p:cNvSpPr>
          <p:nvPr>
            <p:ph type="pic" sz="quarter" idx="27"/>
          </p:nvPr>
        </p:nvSpPr>
        <p:spPr>
          <a:xfrm>
            <a:off x="8008939" y="1565376"/>
            <a:ext cx="1366200" cy="910800"/>
          </a:xfrm>
          <a:solidFill>
            <a:schemeClr val="bg2"/>
          </a:solidFill>
        </p:spPr>
        <p:txBody>
          <a:bodyPr/>
          <a:lstStyle/>
          <a:p>
            <a:r>
              <a:rPr lang="en-US"/>
              <a:t>Click icon to add picture</a:t>
            </a:r>
            <a:endParaRPr lang="en-GB" dirty="0"/>
          </a:p>
        </p:txBody>
      </p:sp>
      <p:sp>
        <p:nvSpPr>
          <p:cNvPr id="49" name="Name Placeholder 3">
            <a:extLst>
              <a:ext uri="{FF2B5EF4-FFF2-40B4-BE49-F238E27FC236}">
                <a16:creationId xmlns:a16="http://schemas.microsoft.com/office/drawing/2014/main" id="{0B2DDA88-23CF-4A0E-BC64-8920EF581112}"/>
              </a:ext>
            </a:extLst>
          </p:cNvPr>
          <p:cNvSpPr>
            <a:spLocks noGrp="1"/>
          </p:cNvSpPr>
          <p:nvPr>
            <p:ph type="body" sz="quarter" idx="28" hasCustomPrompt="1"/>
          </p:nvPr>
        </p:nvSpPr>
        <p:spPr>
          <a:xfrm>
            <a:off x="8008939" y="2584602"/>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50" name="Job Title 3">
            <a:extLst>
              <a:ext uri="{FF2B5EF4-FFF2-40B4-BE49-F238E27FC236}">
                <a16:creationId xmlns:a16="http://schemas.microsoft.com/office/drawing/2014/main" id="{FF803BEF-346B-4A1E-9346-FD32D891CE7A}"/>
              </a:ext>
            </a:extLst>
          </p:cNvPr>
          <p:cNvSpPr>
            <a:spLocks noGrp="1"/>
          </p:cNvSpPr>
          <p:nvPr>
            <p:ph type="body" sz="quarter" idx="29" hasCustomPrompt="1"/>
          </p:nvPr>
        </p:nvSpPr>
        <p:spPr>
          <a:xfrm>
            <a:off x="8008939" y="2960044"/>
            <a:ext cx="1575730" cy="297809"/>
          </a:xfrm>
          <a:prstGeom prst="roundRect">
            <a:avLst>
              <a:gd name="adj" fmla="val 50000"/>
            </a:avLst>
          </a:prstGeom>
          <a:solidFill>
            <a:schemeClr val="accent3"/>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n-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51" name="Contact Details 3">
            <a:extLst>
              <a:ext uri="{FF2B5EF4-FFF2-40B4-BE49-F238E27FC236}">
                <a16:creationId xmlns:a16="http://schemas.microsoft.com/office/drawing/2014/main" id="{39386C32-2455-497F-A545-94ED15C248D3}"/>
              </a:ext>
            </a:extLst>
          </p:cNvPr>
          <p:cNvSpPr>
            <a:spLocks noGrp="1"/>
          </p:cNvSpPr>
          <p:nvPr>
            <p:ph type="body" sz="quarter" idx="30" hasCustomPrompt="1"/>
          </p:nvPr>
        </p:nvSpPr>
        <p:spPr>
          <a:xfrm>
            <a:off x="8008939" y="3345294"/>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grpSp>
        <p:nvGrpSpPr>
          <p:cNvPr id="40" name="Group 39">
            <a:extLst>
              <a:ext uri="{FF2B5EF4-FFF2-40B4-BE49-F238E27FC236}">
                <a16:creationId xmlns:a16="http://schemas.microsoft.com/office/drawing/2014/main" id="{490D5149-31BE-41B9-A908-B92CCC4EFA13}"/>
              </a:ext>
            </a:extLst>
          </p:cNvPr>
          <p:cNvGrpSpPr/>
          <p:nvPr userDrawn="1"/>
        </p:nvGrpSpPr>
        <p:grpSpPr>
          <a:xfrm>
            <a:off x="6894610" y="0"/>
            <a:ext cx="5298532" cy="1803399"/>
            <a:chOff x="6894610" y="0"/>
            <a:chExt cx="5298532" cy="1803399"/>
          </a:xfrm>
        </p:grpSpPr>
        <p:sp>
          <p:nvSpPr>
            <p:cNvPr id="41" name="Freeform: Shape 40">
              <a:extLst>
                <a:ext uri="{FF2B5EF4-FFF2-40B4-BE49-F238E27FC236}">
                  <a16:creationId xmlns:a16="http://schemas.microsoft.com/office/drawing/2014/main" id="{3FA1111A-1FB1-4DAC-A008-B937A876EAB6}"/>
                </a:ext>
              </a:extLst>
            </p:cNvPr>
            <p:cNvSpPr/>
            <p:nvPr/>
          </p:nvSpPr>
          <p:spPr>
            <a:xfrm>
              <a:off x="10870623" y="834697"/>
              <a:ext cx="1322519" cy="968702"/>
            </a:xfrm>
            <a:custGeom>
              <a:avLst/>
              <a:gdLst>
                <a:gd name="connsiteX0" fmla="*/ 7815 w 1322519"/>
                <a:gd name="connsiteY0" fmla="*/ 88465 h 968702"/>
                <a:gd name="connsiteX1" fmla="*/ 88460 w 1322519"/>
                <a:gd name="connsiteY1" fmla="*/ 258899 h 968702"/>
                <a:gd name="connsiteX2" fmla="*/ 1322519 w 1322519"/>
                <a:gd name="connsiteY2" fmla="*/ 968702 h 968702"/>
                <a:gd name="connsiteX3" fmla="*/ 1322520 w 1322519"/>
                <a:gd name="connsiteY3" fmla="*/ 627707 h 968702"/>
                <a:gd name="connsiteX4" fmla="*/ 178376 w 1322519"/>
                <a:gd name="connsiteY4" fmla="*/ 7820 h 968702"/>
                <a:gd name="connsiteX5" fmla="*/ 7815 w 1322519"/>
                <a:gd name="connsiteY5" fmla="*/ 88465 h 9687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22519" h="968702">
                  <a:moveTo>
                    <a:pt x="7815" y="88465"/>
                  </a:moveTo>
                  <a:cubicBezTo>
                    <a:pt x="-16964" y="157798"/>
                    <a:pt x="19136" y="234094"/>
                    <a:pt x="88460" y="258899"/>
                  </a:cubicBezTo>
                  <a:cubicBezTo>
                    <a:pt x="538461" y="420858"/>
                    <a:pt x="956254" y="661163"/>
                    <a:pt x="1322519" y="968702"/>
                  </a:cubicBezTo>
                  <a:lnTo>
                    <a:pt x="1322520" y="627707"/>
                  </a:lnTo>
                  <a:cubicBezTo>
                    <a:pt x="974877" y="364105"/>
                    <a:pt x="589058" y="155072"/>
                    <a:pt x="178376" y="7820"/>
                  </a:cubicBezTo>
                  <a:cubicBezTo>
                    <a:pt x="109010" y="-16967"/>
                    <a:pt x="32676" y="19125"/>
                    <a:pt x="7815" y="88465"/>
                  </a:cubicBezTo>
                  <a:close/>
                </a:path>
              </a:pathLst>
            </a:custGeom>
            <a:solidFill>
              <a:srgbClr val="005C82"/>
            </a:solidFill>
            <a:ln w="12700"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E30CC355-5F57-48F1-B6A8-94BED44F0FF4}"/>
                </a:ext>
              </a:extLst>
            </p:cNvPr>
            <p:cNvSpPr/>
            <p:nvPr/>
          </p:nvSpPr>
          <p:spPr>
            <a:xfrm>
              <a:off x="6894610" y="0"/>
              <a:ext cx="4228218" cy="1354511"/>
            </a:xfrm>
            <a:custGeom>
              <a:avLst/>
              <a:gdLst>
                <a:gd name="connsiteX0" fmla="*/ 4918 w 4228218"/>
                <a:gd name="connsiteY0" fmla="*/ 1185545 h 1354511"/>
                <a:gd name="connsiteX1" fmla="*/ 97513 w 4228218"/>
                <a:gd name="connsiteY1" fmla="*/ 1349627 h 1354511"/>
                <a:gd name="connsiteX2" fmla="*/ 191989 w 4228218"/>
                <a:gd name="connsiteY2" fmla="*/ 1340866 h 1354511"/>
                <a:gd name="connsiteX3" fmla="*/ 1408141 w 4228218"/>
                <a:gd name="connsiteY3" fmla="*/ 956564 h 1354511"/>
                <a:gd name="connsiteX4" fmla="*/ 4050376 w 4228218"/>
                <a:gd name="connsiteY4" fmla="*/ 1085215 h 1354511"/>
                <a:gd name="connsiteX5" fmla="*/ 4220557 w 4228218"/>
                <a:gd name="connsiteY5" fmla="*/ 1003935 h 1354511"/>
                <a:gd name="connsiteX6" fmla="*/ 4139276 w 4228218"/>
                <a:gd name="connsiteY6" fmla="*/ 833755 h 1354511"/>
                <a:gd name="connsiteX7" fmla="*/ 1346292 w 4228218"/>
                <a:gd name="connsiteY7" fmla="*/ 696849 h 1354511"/>
                <a:gd name="connsiteX8" fmla="*/ 322799 w 4228218"/>
                <a:gd name="connsiteY8" fmla="*/ 995807 h 1354511"/>
                <a:gd name="connsiteX9" fmla="*/ 338547 w 4228218"/>
                <a:gd name="connsiteY9" fmla="*/ 0 h 1354511"/>
                <a:gd name="connsiteX10" fmla="*/ 69307 w 4228218"/>
                <a:gd name="connsiteY10" fmla="*/ 0 h 1354511"/>
                <a:gd name="connsiteX11" fmla="*/ 4918 w 4228218"/>
                <a:gd name="connsiteY11" fmla="*/ 1185545 h 1354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228218" h="1354511">
                  <a:moveTo>
                    <a:pt x="4918" y="1185545"/>
                  </a:moveTo>
                  <a:cubicBezTo>
                    <a:pt x="-14822" y="1256425"/>
                    <a:pt x="26634" y="1329886"/>
                    <a:pt x="97513" y="1349627"/>
                  </a:cubicBezTo>
                  <a:cubicBezTo>
                    <a:pt x="129013" y="1358400"/>
                    <a:pt x="162640" y="1355282"/>
                    <a:pt x="191989" y="1340866"/>
                  </a:cubicBezTo>
                  <a:cubicBezTo>
                    <a:pt x="196942" y="1338453"/>
                    <a:pt x="687289" y="1103757"/>
                    <a:pt x="1408141" y="956564"/>
                  </a:cubicBezTo>
                  <a:cubicBezTo>
                    <a:pt x="2067398" y="821690"/>
                    <a:pt x="3061427" y="734441"/>
                    <a:pt x="4050376" y="1085215"/>
                  </a:cubicBezTo>
                  <a:cubicBezTo>
                    <a:pt x="4119815" y="1109764"/>
                    <a:pt x="4196007" y="1073374"/>
                    <a:pt x="4220557" y="1003935"/>
                  </a:cubicBezTo>
                  <a:cubicBezTo>
                    <a:pt x="4245106" y="934496"/>
                    <a:pt x="4208715" y="858304"/>
                    <a:pt x="4139276" y="833755"/>
                  </a:cubicBezTo>
                  <a:cubicBezTo>
                    <a:pt x="3089748" y="461645"/>
                    <a:pt x="2041109" y="554355"/>
                    <a:pt x="1346292" y="696849"/>
                  </a:cubicBezTo>
                  <a:cubicBezTo>
                    <a:pt x="997459" y="768073"/>
                    <a:pt x="655124" y="868067"/>
                    <a:pt x="322799" y="995807"/>
                  </a:cubicBezTo>
                  <a:cubicBezTo>
                    <a:pt x="389601" y="648462"/>
                    <a:pt x="395189" y="315341"/>
                    <a:pt x="338547" y="0"/>
                  </a:cubicBezTo>
                  <a:lnTo>
                    <a:pt x="69307" y="0"/>
                  </a:lnTo>
                  <a:cubicBezTo>
                    <a:pt x="140173" y="363220"/>
                    <a:pt x="120488" y="764159"/>
                    <a:pt x="4918" y="1185545"/>
                  </a:cubicBezTo>
                  <a:close/>
                </a:path>
              </a:pathLst>
            </a:custGeom>
            <a:solidFill>
              <a:schemeClr val="accent5"/>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3288190155"/>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accent4"/>
        </a:solidFill>
        <a:effectLst/>
      </p:bgPr>
    </p:bg>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57355E78-E0F2-42FF-BDE9-9CC7C36E4A1A}"/>
              </a:ext>
            </a:extLst>
          </p:cNvPr>
          <p:cNvGrpSpPr/>
          <p:nvPr userDrawn="1"/>
        </p:nvGrpSpPr>
        <p:grpSpPr>
          <a:xfrm>
            <a:off x="5267706" y="0"/>
            <a:ext cx="6012052" cy="6857999"/>
            <a:chOff x="5267706" y="0"/>
            <a:chExt cx="6012052" cy="6857999"/>
          </a:xfrm>
        </p:grpSpPr>
        <p:sp>
          <p:nvSpPr>
            <p:cNvPr id="13" name="Freeform: Shape 12">
              <a:extLst>
                <a:ext uri="{FF2B5EF4-FFF2-40B4-BE49-F238E27FC236}">
                  <a16:creationId xmlns:a16="http://schemas.microsoft.com/office/drawing/2014/main" id="{28A40671-E776-46D6-86BE-DB1FE2B7BFED}"/>
                </a:ext>
              </a:extLst>
            </p:cNvPr>
            <p:cNvSpPr/>
            <p:nvPr/>
          </p:nvSpPr>
          <p:spPr>
            <a:xfrm>
              <a:off x="8913557" y="0"/>
              <a:ext cx="2366201" cy="1903292"/>
            </a:xfrm>
            <a:custGeom>
              <a:avLst/>
              <a:gdLst>
                <a:gd name="connsiteX0" fmla="*/ 18734 w 2366201"/>
                <a:gd name="connsiteY0" fmla="*/ 1701800 h 1903292"/>
                <a:gd name="connsiteX1" fmla="*/ 65249 w 2366201"/>
                <a:gd name="connsiteY1" fmla="*/ 1884559 h 1903292"/>
                <a:gd name="connsiteX2" fmla="*/ 248008 w 2366201"/>
                <a:gd name="connsiteY2" fmla="*/ 1838044 h 1903292"/>
                <a:gd name="connsiteX3" fmla="*/ 250381 w 2366201"/>
                <a:gd name="connsiteY3" fmla="*/ 1833880 h 1903292"/>
                <a:gd name="connsiteX4" fmla="*/ 1527621 w 2366201"/>
                <a:gd name="connsiteY4" fmla="*/ 465074 h 1903292"/>
                <a:gd name="connsiteX5" fmla="*/ 2366202 w 2366201"/>
                <a:gd name="connsiteY5" fmla="*/ 0 h 1903292"/>
                <a:gd name="connsiteX6" fmla="*/ 1770190 w 2366201"/>
                <a:gd name="connsiteY6" fmla="*/ 0 h 1903292"/>
                <a:gd name="connsiteX7" fmla="*/ 1377252 w 2366201"/>
                <a:gd name="connsiteY7" fmla="*/ 244348 h 1903292"/>
                <a:gd name="connsiteX8" fmla="*/ 18734 w 2366201"/>
                <a:gd name="connsiteY8" fmla="*/ 1701800 h 1903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66201" h="1903292">
                  <a:moveTo>
                    <a:pt x="18734" y="1701800"/>
                  </a:moveTo>
                  <a:cubicBezTo>
                    <a:pt x="-18889" y="1765112"/>
                    <a:pt x="1937" y="1846936"/>
                    <a:pt x="65249" y="1884559"/>
                  </a:cubicBezTo>
                  <a:cubicBezTo>
                    <a:pt x="128562" y="1922181"/>
                    <a:pt x="210385" y="1901356"/>
                    <a:pt x="248008" y="1838044"/>
                  </a:cubicBezTo>
                  <a:cubicBezTo>
                    <a:pt x="248824" y="1836670"/>
                    <a:pt x="249616" y="1835282"/>
                    <a:pt x="250381" y="1833880"/>
                  </a:cubicBezTo>
                  <a:cubicBezTo>
                    <a:pt x="558484" y="1293622"/>
                    <a:pt x="988124" y="832993"/>
                    <a:pt x="1527621" y="465074"/>
                  </a:cubicBezTo>
                  <a:cubicBezTo>
                    <a:pt x="1791749" y="283777"/>
                    <a:pt x="2072543" y="128049"/>
                    <a:pt x="2366202" y="0"/>
                  </a:cubicBezTo>
                  <a:lnTo>
                    <a:pt x="1770190" y="0"/>
                  </a:lnTo>
                  <a:cubicBezTo>
                    <a:pt x="1637263" y="75099"/>
                    <a:pt x="1506285" y="156549"/>
                    <a:pt x="1377252" y="244348"/>
                  </a:cubicBezTo>
                  <a:cubicBezTo>
                    <a:pt x="804101" y="635000"/>
                    <a:pt x="347028" y="1125474"/>
                    <a:pt x="18734" y="1701800"/>
                  </a:cubicBezTo>
                  <a:close/>
                </a:path>
              </a:pathLst>
            </a:custGeom>
            <a:solidFill>
              <a:srgbClr val="005C82"/>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B10E5586-8A0A-48DB-92FC-522751AB95CC}"/>
                </a:ext>
              </a:extLst>
            </p:cNvPr>
            <p:cNvSpPr/>
            <p:nvPr/>
          </p:nvSpPr>
          <p:spPr>
            <a:xfrm>
              <a:off x="5267706" y="1648458"/>
              <a:ext cx="3901887" cy="5209541"/>
            </a:xfrm>
            <a:custGeom>
              <a:avLst/>
              <a:gdLst>
                <a:gd name="connsiteX0" fmla="*/ 797179 w 3901887"/>
                <a:gd name="connsiteY0" fmla="*/ 4469132 h 5209541"/>
                <a:gd name="connsiteX1" fmla="*/ 3281807 w 3901887"/>
                <a:gd name="connsiteY1" fmla="*/ 4198876 h 5209541"/>
                <a:gd name="connsiteX2" fmla="*/ 3459460 w 3901887"/>
                <a:gd name="connsiteY2" fmla="*/ 4135066 h 5209541"/>
                <a:gd name="connsiteX3" fmla="*/ 3467226 w 3901887"/>
                <a:gd name="connsiteY3" fmla="*/ 4042031 h 5209541"/>
                <a:gd name="connsiteX4" fmla="*/ 3299841 w 3901887"/>
                <a:gd name="connsiteY4" fmla="*/ 2777619 h 5209541"/>
                <a:gd name="connsiteX5" fmla="*/ 3885437 w 3901887"/>
                <a:gd name="connsiteY5" fmla="*/ 197487 h 5209541"/>
                <a:gd name="connsiteX6" fmla="*/ 3832628 w 3901887"/>
                <a:gd name="connsiteY6" fmla="*/ 16447 h 5209541"/>
                <a:gd name="connsiteX7" fmla="*/ 3653409 w 3901887"/>
                <a:gd name="connsiteY7" fmla="*/ 66042 h 5209541"/>
                <a:gd name="connsiteX8" fmla="*/ 3033395 w 3901887"/>
                <a:gd name="connsiteY8" fmla="*/ 2792859 h 5209541"/>
                <a:gd name="connsiteX9" fmla="*/ 3150235 w 3901887"/>
                <a:gd name="connsiteY9" fmla="*/ 3852801 h 5209541"/>
                <a:gd name="connsiteX10" fmla="*/ 1829435 w 3901887"/>
                <a:gd name="connsiteY10" fmla="*/ 3689479 h 5209541"/>
                <a:gd name="connsiteX11" fmla="*/ 615950 w 3901887"/>
                <a:gd name="connsiteY11" fmla="*/ 4273679 h 5209541"/>
                <a:gd name="connsiteX12" fmla="*/ 0 w 3901887"/>
                <a:gd name="connsiteY12" fmla="*/ 5209542 h 5209541"/>
                <a:gd name="connsiteX13" fmla="*/ 286258 w 3901887"/>
                <a:gd name="connsiteY13" fmla="*/ 5209542 h 5209541"/>
                <a:gd name="connsiteX14" fmla="*/ 797179 w 3901887"/>
                <a:gd name="connsiteY14" fmla="*/ 4469132 h 52095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901887" h="5209541">
                  <a:moveTo>
                    <a:pt x="797179" y="4469132"/>
                  </a:moveTo>
                  <a:cubicBezTo>
                    <a:pt x="1451863" y="3859532"/>
                    <a:pt x="2357500" y="3761107"/>
                    <a:pt x="3281807" y="4198876"/>
                  </a:cubicBezTo>
                  <a:cubicBezTo>
                    <a:pt x="3348485" y="4230313"/>
                    <a:pt x="3428023" y="4201744"/>
                    <a:pt x="3459460" y="4135066"/>
                  </a:cubicBezTo>
                  <a:cubicBezTo>
                    <a:pt x="3473163" y="4106000"/>
                    <a:pt x="3475921" y="4072967"/>
                    <a:pt x="3467226" y="4042031"/>
                  </a:cubicBezTo>
                  <a:cubicBezTo>
                    <a:pt x="3465703" y="4036824"/>
                    <a:pt x="3319780" y="3512695"/>
                    <a:pt x="3299841" y="2777619"/>
                  </a:cubicBezTo>
                  <a:cubicBezTo>
                    <a:pt x="3281553" y="2104519"/>
                    <a:pt x="3368421" y="1110490"/>
                    <a:pt x="3885437" y="197487"/>
                  </a:cubicBezTo>
                  <a:cubicBezTo>
                    <a:pt x="3920848" y="132911"/>
                    <a:pt x="3897204" y="51856"/>
                    <a:pt x="3832628" y="16447"/>
                  </a:cubicBezTo>
                  <a:cubicBezTo>
                    <a:pt x="3769313" y="-18272"/>
                    <a:pt x="3689867" y="3713"/>
                    <a:pt x="3653409" y="66042"/>
                  </a:cubicBezTo>
                  <a:cubicBezTo>
                    <a:pt x="3104642" y="1035052"/>
                    <a:pt x="3013329" y="2083691"/>
                    <a:pt x="3033395" y="2792859"/>
                  </a:cubicBezTo>
                  <a:cubicBezTo>
                    <a:pt x="3043054" y="3148790"/>
                    <a:pt x="3082134" y="3503312"/>
                    <a:pt x="3150235" y="3852801"/>
                  </a:cubicBezTo>
                  <a:cubicBezTo>
                    <a:pt x="2700655" y="3681224"/>
                    <a:pt x="2257298" y="3626360"/>
                    <a:pt x="1829435" y="3689479"/>
                  </a:cubicBezTo>
                  <a:cubicBezTo>
                    <a:pt x="1374903" y="3756149"/>
                    <a:pt x="951548" y="3959962"/>
                    <a:pt x="615950" y="4273679"/>
                  </a:cubicBezTo>
                  <a:cubicBezTo>
                    <a:pt x="338451" y="4531638"/>
                    <a:pt x="127176" y="4852646"/>
                    <a:pt x="0" y="5209542"/>
                  </a:cubicBezTo>
                  <a:lnTo>
                    <a:pt x="286258" y="5209542"/>
                  </a:lnTo>
                  <a:cubicBezTo>
                    <a:pt x="400867" y="4928613"/>
                    <a:pt x="575203" y="4675972"/>
                    <a:pt x="797179" y="4469132"/>
                  </a:cubicBezTo>
                  <a:close/>
                </a:path>
              </a:pathLst>
            </a:custGeom>
            <a:solidFill>
              <a:srgbClr val="FFFFFF"/>
            </a:solidFill>
            <a:ln w="12700" cap="flat">
              <a:noFill/>
              <a:prstDash val="solid"/>
              <a:miter/>
            </a:ln>
          </p:spPr>
          <p:txBody>
            <a:bodyPr rtlCol="0" anchor="ctr"/>
            <a:lstStyle/>
            <a:p>
              <a:endParaRPr lang="en-GB"/>
            </a:p>
          </p:txBody>
        </p:sp>
      </p:grpSp>
      <p:sp>
        <p:nvSpPr>
          <p:cNvPr id="11" name="Section Number 1">
            <a:extLst>
              <a:ext uri="{FF2B5EF4-FFF2-40B4-BE49-F238E27FC236}">
                <a16:creationId xmlns:a16="http://schemas.microsoft.com/office/drawing/2014/main" id="{814A3C02-7035-49AB-B7ED-455C3FD72429}"/>
              </a:ext>
            </a:extLst>
          </p:cNvPr>
          <p:cNvSpPr>
            <a:spLocks noGrp="1" noChangeAspect="1"/>
          </p:cNvSpPr>
          <p:nvPr userDrawn="1">
            <p:ph type="body" sz="quarter" idx="10" hasCustomPrompt="1"/>
          </p:nvPr>
        </p:nvSpPr>
        <p:spPr>
          <a:xfrm>
            <a:off x="719138" y="720000"/>
            <a:ext cx="1368000" cy="1368000"/>
          </a:xfrm>
          <a:prstGeom prst="ellipse">
            <a:avLst/>
          </a:prstGeom>
          <a:solidFill>
            <a:schemeClr val="bg1"/>
          </a:solidFill>
        </p:spPr>
        <p:txBody>
          <a:bodyPr anchor="ctr" anchorCtr="1"/>
          <a:lstStyle>
            <a:lvl1pPr marL="0" algn="ctr">
              <a:lnSpc>
                <a:spcPct val="90000"/>
              </a:lnSpc>
              <a:spcBef>
                <a:spcPts val="0"/>
              </a:spcBef>
              <a:buFontTx/>
              <a:buNone/>
              <a:defRPr sz="5400">
                <a:solidFill>
                  <a:schemeClr val="tx2"/>
                </a:solidFill>
                <a:latin typeface="+mj-lt"/>
              </a:defRPr>
            </a:lvl1pPr>
            <a:lvl2pPr marL="0" indent="0" algn="ctr">
              <a:lnSpc>
                <a:spcPct val="90000"/>
              </a:lnSpc>
              <a:spcBef>
                <a:spcPts val="0"/>
              </a:spcBef>
              <a:buFontTx/>
              <a:buNone/>
              <a:defRPr sz="5400">
                <a:solidFill>
                  <a:schemeClr val="tx2"/>
                </a:solidFill>
                <a:latin typeface="+mj-lt"/>
              </a:defRPr>
            </a:lvl2pPr>
            <a:lvl3pPr marL="0" indent="0" algn="ctr">
              <a:lnSpc>
                <a:spcPct val="90000"/>
              </a:lnSpc>
              <a:spcBef>
                <a:spcPts val="0"/>
              </a:spcBef>
              <a:buFontTx/>
              <a:buNone/>
              <a:defRPr sz="5400">
                <a:solidFill>
                  <a:schemeClr val="tx2"/>
                </a:solidFill>
                <a:latin typeface="+mj-lt"/>
              </a:defRPr>
            </a:lvl3pPr>
            <a:lvl4pPr marL="0" indent="0" algn="ctr">
              <a:lnSpc>
                <a:spcPct val="90000"/>
              </a:lnSpc>
              <a:spcBef>
                <a:spcPts val="0"/>
              </a:spcBef>
              <a:buFontTx/>
              <a:buNone/>
              <a:defRPr sz="5400">
                <a:solidFill>
                  <a:schemeClr val="tx2"/>
                </a:solidFill>
                <a:latin typeface="+mj-lt"/>
              </a:defRPr>
            </a:lvl4pPr>
            <a:lvl5pPr marL="0" indent="0" algn="ctr">
              <a:lnSpc>
                <a:spcPct val="90000"/>
              </a:lnSpc>
              <a:spcBef>
                <a:spcPts val="0"/>
              </a:spcBef>
              <a:buFontTx/>
              <a:buNone/>
              <a:defRPr sz="5400">
                <a:solidFill>
                  <a:schemeClr val="tx2"/>
                </a:solidFill>
                <a:latin typeface="+mj-lt"/>
              </a:defRPr>
            </a:lvl5pPr>
            <a:lvl6pPr marL="0" indent="0" algn="ctr">
              <a:lnSpc>
                <a:spcPct val="90000"/>
              </a:lnSpc>
              <a:spcBef>
                <a:spcPts val="0"/>
              </a:spcBef>
              <a:buFontTx/>
              <a:buNone/>
              <a:defRPr sz="5400">
                <a:solidFill>
                  <a:schemeClr val="tx2"/>
                </a:solidFill>
                <a:latin typeface="+mj-lt"/>
              </a:defRPr>
            </a:lvl6pPr>
            <a:lvl7pPr marL="0" algn="ctr">
              <a:lnSpc>
                <a:spcPct val="90000"/>
              </a:lnSpc>
              <a:spcBef>
                <a:spcPts val="0"/>
              </a:spcBef>
              <a:buFontTx/>
              <a:buNone/>
              <a:defRPr sz="5400">
                <a:solidFill>
                  <a:schemeClr val="tx2"/>
                </a:solidFill>
                <a:latin typeface="+mj-lt"/>
              </a:defRPr>
            </a:lvl7pPr>
            <a:lvl8pPr marL="0" algn="ctr">
              <a:lnSpc>
                <a:spcPct val="90000"/>
              </a:lnSpc>
              <a:spcBef>
                <a:spcPts val="0"/>
              </a:spcBef>
              <a:buFontTx/>
              <a:buNone/>
              <a:defRPr sz="5400">
                <a:solidFill>
                  <a:schemeClr val="tx2"/>
                </a:solidFill>
                <a:latin typeface="+mj-lt"/>
              </a:defRPr>
            </a:lvl8pPr>
            <a:lvl9pPr marL="0" algn="ctr">
              <a:lnSpc>
                <a:spcPct val="90000"/>
              </a:lnSpc>
              <a:spcBef>
                <a:spcPts val="0"/>
              </a:spcBef>
              <a:buFontTx/>
              <a:buNone/>
              <a:defRPr sz="5400">
                <a:solidFill>
                  <a:schemeClr val="tx2"/>
                </a:solidFill>
                <a:latin typeface="+mj-lt"/>
              </a:defRPr>
            </a:lvl9pPr>
          </a:lstStyle>
          <a:p>
            <a:pPr lvl="0"/>
            <a:r>
              <a:rPr lang="en-GB" dirty="0"/>
              <a:t>##</a:t>
            </a:r>
          </a:p>
        </p:txBody>
      </p:sp>
      <p:sp>
        <p:nvSpPr>
          <p:cNvPr id="3" name="Subtitle 1">
            <a:extLst>
              <a:ext uri="{FF2B5EF4-FFF2-40B4-BE49-F238E27FC236}">
                <a16:creationId xmlns:a16="http://schemas.microsoft.com/office/drawing/2014/main" id="{4CDF00B7-50B6-483C-8BC3-BB00B892A8FA}"/>
              </a:ext>
            </a:extLst>
          </p:cNvPr>
          <p:cNvSpPr>
            <a:spLocks noGrp="1"/>
          </p:cNvSpPr>
          <p:nvPr userDrawn="1">
            <p:ph type="body" idx="1"/>
          </p:nvPr>
        </p:nvSpPr>
        <p:spPr>
          <a:xfrm>
            <a:off x="719139" y="4032000"/>
            <a:ext cx="6197600" cy="1500187"/>
          </a:xfrm>
        </p:spPr>
        <p:txBody>
          <a:bodyPr/>
          <a:lstStyle>
            <a:lvl1pPr marL="0" indent="0">
              <a:lnSpc>
                <a:spcPct val="90000"/>
              </a:lnSpc>
              <a:spcBef>
                <a:spcPts val="600"/>
              </a:spcBef>
              <a:buNone/>
              <a:defRPr sz="1800">
                <a:solidFill>
                  <a:schemeClr val="tx1"/>
                </a:solidFill>
                <a:latin typeface="+mn-lt"/>
              </a:defRPr>
            </a:lvl1pPr>
            <a:lvl2pPr marL="0" indent="0">
              <a:lnSpc>
                <a:spcPct val="90000"/>
              </a:lnSpc>
              <a:spcBef>
                <a:spcPts val="600"/>
              </a:spcBef>
              <a:buNone/>
              <a:defRPr sz="1800">
                <a:solidFill>
                  <a:schemeClr val="tx2"/>
                </a:solidFill>
                <a:latin typeface="+mn-lt"/>
              </a:defRPr>
            </a:lvl2pPr>
            <a:lvl3pPr marL="0" indent="0">
              <a:lnSpc>
                <a:spcPct val="90000"/>
              </a:lnSpc>
              <a:spcBef>
                <a:spcPts val="600"/>
              </a:spcBef>
              <a:buNone/>
              <a:defRPr sz="1800">
                <a:solidFill>
                  <a:schemeClr val="bg1"/>
                </a:solidFill>
                <a:latin typeface="+mn-lt"/>
              </a:defRPr>
            </a:lvl3pPr>
            <a:lvl4pPr marL="0" indent="0">
              <a:lnSpc>
                <a:spcPct val="90000"/>
              </a:lnSpc>
              <a:spcBef>
                <a:spcPts val="600"/>
              </a:spcBef>
              <a:buNone/>
              <a:defRPr sz="1600">
                <a:solidFill>
                  <a:schemeClr val="tx1"/>
                </a:solidFill>
                <a:latin typeface="+mn-lt"/>
              </a:defRPr>
            </a:lvl4pPr>
            <a:lvl5pPr marL="0" indent="0">
              <a:lnSpc>
                <a:spcPct val="90000"/>
              </a:lnSpc>
              <a:spcBef>
                <a:spcPts val="600"/>
              </a:spcBef>
              <a:buNone/>
              <a:defRPr sz="1600">
                <a:solidFill>
                  <a:schemeClr val="tx2"/>
                </a:solidFill>
                <a:latin typeface="+mn-lt"/>
              </a:defRPr>
            </a:lvl5pPr>
            <a:lvl6pPr marL="0" indent="0">
              <a:lnSpc>
                <a:spcPct val="90000"/>
              </a:lnSpc>
              <a:spcBef>
                <a:spcPts val="600"/>
              </a:spcBef>
              <a:buNone/>
              <a:defRPr sz="1600">
                <a:solidFill>
                  <a:schemeClr val="bg1"/>
                </a:solidFill>
                <a:latin typeface="+mn-lt"/>
              </a:defRPr>
            </a:lvl6pPr>
            <a:lvl7pPr marL="0" indent="0">
              <a:lnSpc>
                <a:spcPct val="90000"/>
              </a:lnSpc>
              <a:spcBef>
                <a:spcPts val="600"/>
              </a:spcBef>
              <a:buNone/>
              <a:defRPr sz="1400">
                <a:solidFill>
                  <a:schemeClr val="tx1"/>
                </a:solidFill>
                <a:latin typeface="+mn-lt"/>
              </a:defRPr>
            </a:lvl7pPr>
            <a:lvl8pPr marL="0" indent="0">
              <a:lnSpc>
                <a:spcPct val="90000"/>
              </a:lnSpc>
              <a:spcBef>
                <a:spcPts val="600"/>
              </a:spcBef>
              <a:buNone/>
              <a:defRPr sz="1400">
                <a:solidFill>
                  <a:schemeClr val="tx2"/>
                </a:solidFill>
                <a:latin typeface="+mn-lt"/>
              </a:defRPr>
            </a:lvl8pPr>
            <a:lvl9pPr marL="0" indent="0">
              <a:lnSpc>
                <a:spcPct val="90000"/>
              </a:lnSpc>
              <a:spcBef>
                <a:spcPts val="600"/>
              </a:spcBef>
              <a:buNone/>
              <a:defRPr sz="1400">
                <a:solidFill>
                  <a:schemeClr val="bg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7C15B895-13B1-4E62-A307-74EAE804FD2C}"/>
              </a:ext>
            </a:extLst>
          </p:cNvPr>
          <p:cNvSpPr>
            <a:spLocks noGrp="1"/>
          </p:cNvSpPr>
          <p:nvPr userDrawn="1">
            <p:ph type="title"/>
          </p:nvPr>
        </p:nvSpPr>
        <p:spPr>
          <a:xfrm>
            <a:off x="719138" y="2340000"/>
            <a:ext cx="6197600" cy="1512000"/>
          </a:xfrm>
        </p:spPr>
        <p:txBody>
          <a:bodyPr anchor="b"/>
          <a:lstStyle>
            <a:lvl1pPr>
              <a:defRPr sz="4400">
                <a:solidFill>
                  <a:schemeClr val="tx2"/>
                </a:solidFill>
              </a:defRPr>
            </a:lvl1pPr>
            <a:lvl2pPr>
              <a:defRPr sz="4400">
                <a:solidFill>
                  <a:schemeClr val="tx1"/>
                </a:solidFill>
              </a:defRPr>
            </a:lvl2pPr>
            <a:lvl3pPr>
              <a:defRPr sz="4400">
                <a:solidFill>
                  <a:schemeClr val="bg1"/>
                </a:solidFill>
              </a:defRPr>
            </a:lvl3pPr>
            <a:lvl4pPr>
              <a:defRPr sz="4000">
                <a:solidFill>
                  <a:schemeClr val="tx2"/>
                </a:solidFill>
              </a:defRPr>
            </a:lvl4pPr>
            <a:lvl5pPr>
              <a:defRPr sz="4000">
                <a:solidFill>
                  <a:schemeClr val="tx1"/>
                </a:solidFill>
              </a:defRPr>
            </a:lvl5pPr>
            <a:lvl6pPr>
              <a:defRPr sz="4000">
                <a:solidFill>
                  <a:schemeClr val="bg1"/>
                </a:solidFill>
              </a:defRPr>
            </a:lvl6pPr>
            <a:lvl7pPr>
              <a:defRPr sz="3600">
                <a:solidFill>
                  <a:schemeClr val="tx2"/>
                </a:solidFill>
              </a:defRPr>
            </a:lvl7pPr>
            <a:lvl8pPr>
              <a:defRPr sz="3600">
                <a:solidFill>
                  <a:schemeClr val="tx1"/>
                </a:solidFill>
              </a:defRPr>
            </a:lvl8pPr>
            <a:lvl9pPr>
              <a:defRPr sz="3600" i="0">
                <a:solidFill>
                  <a:schemeClr val="bg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17833556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Section Header 2">
    <p:bg>
      <p:bgPr>
        <a:solidFill>
          <a:schemeClr val="accent1"/>
        </a:solid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6B89C16A-6873-4ED1-BBBE-86292872B1C9}"/>
              </a:ext>
            </a:extLst>
          </p:cNvPr>
          <p:cNvGrpSpPr/>
          <p:nvPr userDrawn="1"/>
        </p:nvGrpSpPr>
        <p:grpSpPr>
          <a:xfrm>
            <a:off x="4497704" y="0"/>
            <a:ext cx="7695438" cy="6857999"/>
            <a:chOff x="4497704" y="0"/>
            <a:chExt cx="7695438" cy="6857999"/>
          </a:xfrm>
        </p:grpSpPr>
        <p:sp>
          <p:nvSpPr>
            <p:cNvPr id="12" name="Freeform: Shape 11">
              <a:extLst>
                <a:ext uri="{FF2B5EF4-FFF2-40B4-BE49-F238E27FC236}">
                  <a16:creationId xmlns:a16="http://schemas.microsoft.com/office/drawing/2014/main" id="{A47784D4-F394-4298-980B-E1F707F7A347}"/>
                </a:ext>
              </a:extLst>
            </p:cNvPr>
            <p:cNvSpPr/>
            <p:nvPr/>
          </p:nvSpPr>
          <p:spPr>
            <a:xfrm>
              <a:off x="7431342" y="0"/>
              <a:ext cx="4761800" cy="4407534"/>
            </a:xfrm>
            <a:custGeom>
              <a:avLst/>
              <a:gdLst>
                <a:gd name="connsiteX0" fmla="*/ 443801 w 4761800"/>
                <a:gd name="connsiteY0" fmla="*/ 1671701 h 4407534"/>
                <a:gd name="connsiteX1" fmla="*/ 521905 w 4761800"/>
                <a:gd name="connsiteY1" fmla="*/ 2415540 h 4407534"/>
                <a:gd name="connsiteX2" fmla="*/ 16700 w 4761800"/>
                <a:gd name="connsiteY2" fmla="*/ 4209542 h 4407534"/>
                <a:gd name="connsiteX3" fmla="*/ 68833 w 4761800"/>
                <a:gd name="connsiteY3" fmla="*/ 4390835 h 4407534"/>
                <a:gd name="connsiteX4" fmla="*/ 250126 w 4761800"/>
                <a:gd name="connsiteY4" fmla="*/ 4338701 h 4407534"/>
                <a:gd name="connsiteX5" fmla="*/ 788860 w 4761800"/>
                <a:gd name="connsiteY5" fmla="*/ 2408301 h 4407534"/>
                <a:gd name="connsiteX6" fmla="*/ 728408 w 4761800"/>
                <a:gd name="connsiteY6" fmla="*/ 1713103 h 4407534"/>
                <a:gd name="connsiteX7" fmla="*/ 4761801 w 4761800"/>
                <a:gd name="connsiteY7" fmla="*/ 98806 h 4407534"/>
                <a:gd name="connsiteX8" fmla="*/ 4761801 w 4761800"/>
                <a:gd name="connsiteY8" fmla="*/ 0 h 4407534"/>
                <a:gd name="connsiteX9" fmla="*/ 4290758 w 4761800"/>
                <a:gd name="connsiteY9" fmla="*/ 0 h 4407534"/>
                <a:gd name="connsiteX10" fmla="*/ 521651 w 4761800"/>
                <a:gd name="connsiteY10" fmla="*/ 1508252 h 4407534"/>
                <a:gd name="connsiteX11" fmla="*/ 443800 w 4761800"/>
                <a:gd name="connsiteY11" fmla="*/ 1671701 h 4407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61800" h="4407534">
                  <a:moveTo>
                    <a:pt x="443801" y="1671701"/>
                  </a:moveTo>
                  <a:cubicBezTo>
                    <a:pt x="444689" y="1674495"/>
                    <a:pt x="531558" y="1961134"/>
                    <a:pt x="521905" y="2415540"/>
                  </a:cubicBezTo>
                  <a:cubicBezTo>
                    <a:pt x="513142" y="2833751"/>
                    <a:pt x="418274" y="3484499"/>
                    <a:pt x="16700" y="4209542"/>
                  </a:cubicBezTo>
                  <a:cubicBezTo>
                    <a:pt x="-18966" y="4274001"/>
                    <a:pt x="4374" y="4355169"/>
                    <a:pt x="68833" y="4390835"/>
                  </a:cubicBezTo>
                  <a:cubicBezTo>
                    <a:pt x="133292" y="4426501"/>
                    <a:pt x="214459" y="4403160"/>
                    <a:pt x="250126" y="4338701"/>
                  </a:cubicBezTo>
                  <a:cubicBezTo>
                    <a:pt x="681164" y="3560445"/>
                    <a:pt x="780986" y="2859151"/>
                    <a:pt x="788860" y="2408301"/>
                  </a:cubicBezTo>
                  <a:cubicBezTo>
                    <a:pt x="794555" y="2175044"/>
                    <a:pt x="774280" y="1941876"/>
                    <a:pt x="728408" y="1713103"/>
                  </a:cubicBezTo>
                  <a:lnTo>
                    <a:pt x="4761801" y="98806"/>
                  </a:lnTo>
                  <a:lnTo>
                    <a:pt x="4761801" y="0"/>
                  </a:lnTo>
                  <a:lnTo>
                    <a:pt x="4290758" y="0"/>
                  </a:lnTo>
                  <a:lnTo>
                    <a:pt x="521651" y="1508252"/>
                  </a:lnTo>
                  <a:cubicBezTo>
                    <a:pt x="457116" y="1534169"/>
                    <a:pt x="423255" y="1605260"/>
                    <a:pt x="443800" y="1671701"/>
                  </a:cubicBezTo>
                  <a:close/>
                </a:path>
              </a:pathLst>
            </a:custGeom>
            <a:solidFill>
              <a:srgbClr val="FFFFFF"/>
            </a:solidFill>
            <a:ln w="12700"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3A0E4423-80C1-414C-BACB-F7E2E50EDCA4}"/>
                </a:ext>
              </a:extLst>
            </p:cNvPr>
            <p:cNvSpPr/>
            <p:nvPr/>
          </p:nvSpPr>
          <p:spPr>
            <a:xfrm>
              <a:off x="6216310" y="4138867"/>
              <a:ext cx="1482415" cy="1748472"/>
            </a:xfrm>
            <a:custGeom>
              <a:avLst/>
              <a:gdLst>
                <a:gd name="connsiteX0" fmla="*/ 133689 w 1482415"/>
                <a:gd name="connsiteY0" fmla="*/ 1748471 h 1748472"/>
                <a:gd name="connsiteX1" fmla="*/ 0 w 1482415"/>
                <a:gd name="connsiteY1" fmla="*/ 1615461 h 1748472"/>
                <a:gd name="connsiteX2" fmla="*/ 44789 w 1482415"/>
                <a:gd name="connsiteY2" fmla="*/ 1515426 h 1748472"/>
                <a:gd name="connsiteX3" fmla="*/ 1231350 w 1482415"/>
                <a:gd name="connsiteY3" fmla="*/ 70674 h 1748472"/>
                <a:gd name="connsiteX4" fmla="*/ 1411741 w 1482415"/>
                <a:gd name="connsiteY4" fmla="*/ 15688 h 1748472"/>
                <a:gd name="connsiteX5" fmla="*/ 1466728 w 1482415"/>
                <a:gd name="connsiteY5" fmla="*/ 196079 h 1748472"/>
                <a:gd name="connsiteX6" fmla="*/ 1464649 w 1482415"/>
                <a:gd name="connsiteY6" fmla="*/ 199833 h 1748472"/>
                <a:gd name="connsiteX7" fmla="*/ 222589 w 1482415"/>
                <a:gd name="connsiteY7" fmla="*/ 1714817 h 1748472"/>
                <a:gd name="connsiteX8" fmla="*/ 133689 w 1482415"/>
                <a:gd name="connsiteY8" fmla="*/ 1748471 h 1748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82415" h="1748472">
                  <a:moveTo>
                    <a:pt x="133689" y="1748471"/>
                  </a:moveTo>
                  <a:cubicBezTo>
                    <a:pt x="60042" y="1748659"/>
                    <a:pt x="188" y="1689108"/>
                    <a:pt x="0" y="1615461"/>
                  </a:cubicBezTo>
                  <a:cubicBezTo>
                    <a:pt x="-97" y="1577238"/>
                    <a:pt x="16213" y="1540811"/>
                    <a:pt x="44789" y="1515426"/>
                  </a:cubicBezTo>
                  <a:cubicBezTo>
                    <a:pt x="549614" y="1066736"/>
                    <a:pt x="948902" y="580579"/>
                    <a:pt x="1231350" y="70674"/>
                  </a:cubicBezTo>
                  <a:cubicBezTo>
                    <a:pt x="1265980" y="5677"/>
                    <a:pt x="1346743" y="-18942"/>
                    <a:pt x="1411741" y="15688"/>
                  </a:cubicBezTo>
                  <a:cubicBezTo>
                    <a:pt x="1476739" y="50317"/>
                    <a:pt x="1501358" y="131081"/>
                    <a:pt x="1466728" y="196079"/>
                  </a:cubicBezTo>
                  <a:cubicBezTo>
                    <a:pt x="1466055" y="197341"/>
                    <a:pt x="1465362" y="198593"/>
                    <a:pt x="1464649" y="199833"/>
                  </a:cubicBezTo>
                  <a:cubicBezTo>
                    <a:pt x="1167977" y="736281"/>
                    <a:pt x="749893" y="1245932"/>
                    <a:pt x="222589" y="1714817"/>
                  </a:cubicBezTo>
                  <a:cubicBezTo>
                    <a:pt x="198134" y="1736637"/>
                    <a:pt x="166464" y="1748626"/>
                    <a:pt x="133689" y="1748471"/>
                  </a:cubicBezTo>
                  <a:close/>
                </a:path>
              </a:pathLst>
            </a:custGeom>
            <a:solidFill>
              <a:schemeClr val="accent3"/>
            </a:solidFill>
            <a:ln w="12700"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3A4B46DE-4394-48C9-B305-66DE751E2BD2}"/>
                </a:ext>
              </a:extLst>
            </p:cNvPr>
            <p:cNvSpPr/>
            <p:nvPr/>
          </p:nvSpPr>
          <p:spPr>
            <a:xfrm>
              <a:off x="4497704" y="5625924"/>
              <a:ext cx="1986201" cy="1232075"/>
            </a:xfrm>
            <a:custGeom>
              <a:avLst/>
              <a:gdLst>
                <a:gd name="connsiteX0" fmla="*/ 1952752 w 1986201"/>
                <a:gd name="connsiteY0" fmla="*/ 45006 h 1232075"/>
                <a:gd name="connsiteX1" fmla="*/ 1764538 w 1986201"/>
                <a:gd name="connsiteY1" fmla="*/ 33449 h 1232075"/>
                <a:gd name="connsiteX2" fmla="*/ 0 w 1986201"/>
                <a:gd name="connsiteY2" fmla="*/ 1232075 h 1232075"/>
                <a:gd name="connsiteX3" fmla="*/ 545211 w 1986201"/>
                <a:gd name="connsiteY3" fmla="*/ 1232075 h 1232075"/>
                <a:gd name="connsiteX4" fmla="*/ 1941195 w 1986201"/>
                <a:gd name="connsiteY4" fmla="*/ 233220 h 1232075"/>
                <a:gd name="connsiteX5" fmla="*/ 1952752 w 1986201"/>
                <a:gd name="connsiteY5" fmla="*/ 45006 h 1232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86201" h="1232075">
                  <a:moveTo>
                    <a:pt x="1952752" y="45006"/>
                  </a:moveTo>
                  <a:cubicBezTo>
                    <a:pt x="1903966" y="-10152"/>
                    <a:pt x="1819706" y="-15327"/>
                    <a:pt x="1764538" y="33449"/>
                  </a:cubicBezTo>
                  <a:cubicBezTo>
                    <a:pt x="1275715" y="465249"/>
                    <a:pt x="685673" y="865934"/>
                    <a:pt x="0" y="1232075"/>
                  </a:cubicBezTo>
                  <a:lnTo>
                    <a:pt x="545211" y="1232075"/>
                  </a:lnTo>
                  <a:cubicBezTo>
                    <a:pt x="1073700" y="921179"/>
                    <a:pt x="1539029" y="588228"/>
                    <a:pt x="1941195" y="233220"/>
                  </a:cubicBezTo>
                  <a:cubicBezTo>
                    <a:pt x="1996354" y="184434"/>
                    <a:pt x="2001528" y="100174"/>
                    <a:pt x="1952752" y="45006"/>
                  </a:cubicBezTo>
                  <a:close/>
                </a:path>
              </a:pathLst>
            </a:custGeom>
            <a:solidFill>
              <a:srgbClr val="005C82"/>
            </a:solidFill>
            <a:ln w="12700" cap="flat">
              <a:noFill/>
              <a:prstDash val="solid"/>
              <a:miter/>
            </a:ln>
          </p:spPr>
          <p:txBody>
            <a:bodyPr rtlCol="0" anchor="ctr"/>
            <a:lstStyle/>
            <a:p>
              <a:endParaRPr lang="en-GB"/>
            </a:p>
          </p:txBody>
        </p:sp>
      </p:grpSp>
      <p:sp>
        <p:nvSpPr>
          <p:cNvPr id="11" name="Section Number 1">
            <a:extLst>
              <a:ext uri="{FF2B5EF4-FFF2-40B4-BE49-F238E27FC236}">
                <a16:creationId xmlns:a16="http://schemas.microsoft.com/office/drawing/2014/main" id="{814A3C02-7035-49AB-B7ED-455C3FD72429}"/>
              </a:ext>
            </a:extLst>
          </p:cNvPr>
          <p:cNvSpPr>
            <a:spLocks noGrp="1" noChangeAspect="1"/>
          </p:cNvSpPr>
          <p:nvPr userDrawn="1">
            <p:ph type="body" sz="quarter" idx="10" hasCustomPrompt="1"/>
          </p:nvPr>
        </p:nvSpPr>
        <p:spPr>
          <a:xfrm>
            <a:off x="719138" y="720000"/>
            <a:ext cx="1368000" cy="1368000"/>
          </a:xfrm>
          <a:prstGeom prst="ellipse">
            <a:avLst/>
          </a:prstGeom>
          <a:solidFill>
            <a:schemeClr val="bg1"/>
          </a:solidFill>
        </p:spPr>
        <p:txBody>
          <a:bodyPr anchor="ctr" anchorCtr="1"/>
          <a:lstStyle>
            <a:lvl1pPr marL="0" algn="ctr">
              <a:lnSpc>
                <a:spcPct val="90000"/>
              </a:lnSpc>
              <a:spcBef>
                <a:spcPts val="0"/>
              </a:spcBef>
              <a:buFontTx/>
              <a:buNone/>
              <a:defRPr sz="5400">
                <a:solidFill>
                  <a:schemeClr val="tx2"/>
                </a:solidFill>
                <a:latin typeface="+mj-lt"/>
              </a:defRPr>
            </a:lvl1pPr>
            <a:lvl2pPr marL="0" indent="0" algn="ctr">
              <a:lnSpc>
                <a:spcPct val="90000"/>
              </a:lnSpc>
              <a:spcBef>
                <a:spcPts val="0"/>
              </a:spcBef>
              <a:buFontTx/>
              <a:buNone/>
              <a:defRPr sz="5400">
                <a:solidFill>
                  <a:schemeClr val="tx2"/>
                </a:solidFill>
                <a:latin typeface="+mj-lt"/>
              </a:defRPr>
            </a:lvl2pPr>
            <a:lvl3pPr marL="0" indent="0" algn="ctr">
              <a:lnSpc>
                <a:spcPct val="90000"/>
              </a:lnSpc>
              <a:spcBef>
                <a:spcPts val="0"/>
              </a:spcBef>
              <a:buFontTx/>
              <a:buNone/>
              <a:defRPr sz="5400">
                <a:solidFill>
                  <a:schemeClr val="tx2"/>
                </a:solidFill>
                <a:latin typeface="+mj-lt"/>
              </a:defRPr>
            </a:lvl3pPr>
            <a:lvl4pPr marL="0" indent="0" algn="ctr">
              <a:lnSpc>
                <a:spcPct val="90000"/>
              </a:lnSpc>
              <a:spcBef>
                <a:spcPts val="0"/>
              </a:spcBef>
              <a:buFontTx/>
              <a:buNone/>
              <a:defRPr sz="5400">
                <a:solidFill>
                  <a:schemeClr val="tx2"/>
                </a:solidFill>
                <a:latin typeface="+mj-lt"/>
              </a:defRPr>
            </a:lvl4pPr>
            <a:lvl5pPr marL="0" indent="0" algn="ctr">
              <a:lnSpc>
                <a:spcPct val="90000"/>
              </a:lnSpc>
              <a:spcBef>
                <a:spcPts val="0"/>
              </a:spcBef>
              <a:buFontTx/>
              <a:buNone/>
              <a:defRPr sz="5400">
                <a:solidFill>
                  <a:schemeClr val="tx2"/>
                </a:solidFill>
                <a:latin typeface="+mj-lt"/>
              </a:defRPr>
            </a:lvl5pPr>
            <a:lvl6pPr marL="0" indent="0" algn="ctr">
              <a:lnSpc>
                <a:spcPct val="90000"/>
              </a:lnSpc>
              <a:spcBef>
                <a:spcPts val="0"/>
              </a:spcBef>
              <a:buFontTx/>
              <a:buNone/>
              <a:defRPr sz="5400">
                <a:solidFill>
                  <a:schemeClr val="tx2"/>
                </a:solidFill>
                <a:latin typeface="+mj-lt"/>
              </a:defRPr>
            </a:lvl6pPr>
            <a:lvl7pPr marL="0" algn="ctr">
              <a:lnSpc>
                <a:spcPct val="90000"/>
              </a:lnSpc>
              <a:spcBef>
                <a:spcPts val="0"/>
              </a:spcBef>
              <a:buFontTx/>
              <a:buNone/>
              <a:defRPr sz="5400">
                <a:solidFill>
                  <a:schemeClr val="tx2"/>
                </a:solidFill>
                <a:latin typeface="+mj-lt"/>
              </a:defRPr>
            </a:lvl7pPr>
            <a:lvl8pPr marL="0" algn="ctr">
              <a:lnSpc>
                <a:spcPct val="90000"/>
              </a:lnSpc>
              <a:spcBef>
                <a:spcPts val="0"/>
              </a:spcBef>
              <a:buFontTx/>
              <a:buNone/>
              <a:defRPr sz="5400">
                <a:solidFill>
                  <a:schemeClr val="tx2"/>
                </a:solidFill>
                <a:latin typeface="+mj-lt"/>
              </a:defRPr>
            </a:lvl8pPr>
            <a:lvl9pPr marL="0" algn="ctr">
              <a:lnSpc>
                <a:spcPct val="90000"/>
              </a:lnSpc>
              <a:spcBef>
                <a:spcPts val="0"/>
              </a:spcBef>
              <a:buFontTx/>
              <a:buNone/>
              <a:defRPr sz="5400">
                <a:solidFill>
                  <a:schemeClr val="tx2"/>
                </a:solidFill>
                <a:latin typeface="+mj-lt"/>
              </a:defRPr>
            </a:lvl9pPr>
          </a:lstStyle>
          <a:p>
            <a:pPr lvl="0"/>
            <a:r>
              <a:rPr lang="en-GB" dirty="0"/>
              <a:t>##</a:t>
            </a:r>
          </a:p>
        </p:txBody>
      </p:sp>
      <p:sp>
        <p:nvSpPr>
          <p:cNvPr id="3" name="Subtitle 1">
            <a:extLst>
              <a:ext uri="{FF2B5EF4-FFF2-40B4-BE49-F238E27FC236}">
                <a16:creationId xmlns:a16="http://schemas.microsoft.com/office/drawing/2014/main" id="{4CDF00B7-50B6-483C-8BC3-BB00B892A8FA}"/>
              </a:ext>
            </a:extLst>
          </p:cNvPr>
          <p:cNvSpPr>
            <a:spLocks noGrp="1"/>
          </p:cNvSpPr>
          <p:nvPr userDrawn="1">
            <p:ph type="body" idx="1"/>
          </p:nvPr>
        </p:nvSpPr>
        <p:spPr>
          <a:xfrm>
            <a:off x="719139" y="4032000"/>
            <a:ext cx="6197600" cy="1500187"/>
          </a:xfrm>
        </p:spPr>
        <p:txBody>
          <a:bodyPr/>
          <a:lstStyle>
            <a:lvl1pPr marL="0" indent="0">
              <a:lnSpc>
                <a:spcPct val="90000"/>
              </a:lnSpc>
              <a:spcBef>
                <a:spcPts val="600"/>
              </a:spcBef>
              <a:buNone/>
              <a:defRPr sz="1800">
                <a:solidFill>
                  <a:schemeClr val="tx1"/>
                </a:solidFill>
                <a:latin typeface="+mn-lt"/>
              </a:defRPr>
            </a:lvl1pPr>
            <a:lvl2pPr marL="0" indent="0">
              <a:lnSpc>
                <a:spcPct val="90000"/>
              </a:lnSpc>
              <a:spcBef>
                <a:spcPts val="600"/>
              </a:spcBef>
              <a:buNone/>
              <a:defRPr sz="1800">
                <a:solidFill>
                  <a:schemeClr val="tx2"/>
                </a:solidFill>
                <a:latin typeface="+mn-lt"/>
              </a:defRPr>
            </a:lvl2pPr>
            <a:lvl3pPr marL="0" indent="0">
              <a:lnSpc>
                <a:spcPct val="90000"/>
              </a:lnSpc>
              <a:spcBef>
                <a:spcPts val="600"/>
              </a:spcBef>
              <a:buNone/>
              <a:defRPr sz="1800">
                <a:solidFill>
                  <a:schemeClr val="bg1"/>
                </a:solidFill>
                <a:latin typeface="+mn-lt"/>
              </a:defRPr>
            </a:lvl3pPr>
            <a:lvl4pPr marL="0" indent="0">
              <a:lnSpc>
                <a:spcPct val="90000"/>
              </a:lnSpc>
              <a:spcBef>
                <a:spcPts val="600"/>
              </a:spcBef>
              <a:buNone/>
              <a:defRPr sz="1600">
                <a:solidFill>
                  <a:schemeClr val="tx1"/>
                </a:solidFill>
                <a:latin typeface="+mn-lt"/>
              </a:defRPr>
            </a:lvl4pPr>
            <a:lvl5pPr marL="0" indent="0">
              <a:lnSpc>
                <a:spcPct val="90000"/>
              </a:lnSpc>
              <a:spcBef>
                <a:spcPts val="600"/>
              </a:spcBef>
              <a:buNone/>
              <a:defRPr sz="1600">
                <a:solidFill>
                  <a:schemeClr val="tx2"/>
                </a:solidFill>
                <a:latin typeface="+mn-lt"/>
              </a:defRPr>
            </a:lvl5pPr>
            <a:lvl6pPr marL="0" indent="0">
              <a:lnSpc>
                <a:spcPct val="90000"/>
              </a:lnSpc>
              <a:spcBef>
                <a:spcPts val="600"/>
              </a:spcBef>
              <a:buNone/>
              <a:defRPr sz="1600">
                <a:solidFill>
                  <a:schemeClr val="bg1"/>
                </a:solidFill>
                <a:latin typeface="+mn-lt"/>
              </a:defRPr>
            </a:lvl6pPr>
            <a:lvl7pPr marL="0" indent="0">
              <a:lnSpc>
                <a:spcPct val="90000"/>
              </a:lnSpc>
              <a:spcBef>
                <a:spcPts val="600"/>
              </a:spcBef>
              <a:buNone/>
              <a:defRPr sz="1400">
                <a:solidFill>
                  <a:schemeClr val="tx1"/>
                </a:solidFill>
                <a:latin typeface="+mn-lt"/>
              </a:defRPr>
            </a:lvl7pPr>
            <a:lvl8pPr marL="0" indent="0">
              <a:lnSpc>
                <a:spcPct val="90000"/>
              </a:lnSpc>
              <a:spcBef>
                <a:spcPts val="600"/>
              </a:spcBef>
              <a:buNone/>
              <a:defRPr sz="1400">
                <a:solidFill>
                  <a:schemeClr val="tx2"/>
                </a:solidFill>
                <a:latin typeface="+mn-lt"/>
              </a:defRPr>
            </a:lvl8pPr>
            <a:lvl9pPr marL="0" indent="0">
              <a:lnSpc>
                <a:spcPct val="90000"/>
              </a:lnSpc>
              <a:spcBef>
                <a:spcPts val="600"/>
              </a:spcBef>
              <a:buNone/>
              <a:defRPr sz="1400">
                <a:solidFill>
                  <a:schemeClr val="bg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7C15B895-13B1-4E62-A307-74EAE804FD2C}"/>
              </a:ext>
            </a:extLst>
          </p:cNvPr>
          <p:cNvSpPr>
            <a:spLocks noGrp="1"/>
          </p:cNvSpPr>
          <p:nvPr userDrawn="1">
            <p:ph type="title"/>
          </p:nvPr>
        </p:nvSpPr>
        <p:spPr>
          <a:xfrm>
            <a:off x="719138" y="2340000"/>
            <a:ext cx="6197600" cy="1512000"/>
          </a:xfrm>
        </p:spPr>
        <p:txBody>
          <a:bodyPr anchor="b"/>
          <a:lstStyle>
            <a:lvl1pPr>
              <a:defRPr sz="4400">
                <a:solidFill>
                  <a:schemeClr val="tx2"/>
                </a:solidFill>
              </a:defRPr>
            </a:lvl1pPr>
            <a:lvl2pPr>
              <a:defRPr sz="4400">
                <a:solidFill>
                  <a:schemeClr val="tx1"/>
                </a:solidFill>
              </a:defRPr>
            </a:lvl2pPr>
            <a:lvl3pPr>
              <a:defRPr sz="4400">
                <a:solidFill>
                  <a:schemeClr val="bg1"/>
                </a:solidFill>
              </a:defRPr>
            </a:lvl3pPr>
            <a:lvl4pPr>
              <a:defRPr sz="4000">
                <a:solidFill>
                  <a:schemeClr val="tx2"/>
                </a:solidFill>
              </a:defRPr>
            </a:lvl4pPr>
            <a:lvl5pPr>
              <a:defRPr sz="4000"/>
            </a:lvl5pPr>
            <a:lvl6pPr>
              <a:defRPr sz="4000">
                <a:solidFill>
                  <a:schemeClr val="bg1"/>
                </a:solidFill>
              </a:defRPr>
            </a:lvl6pPr>
            <a:lvl7pPr>
              <a:defRPr sz="3600" i="0">
                <a:solidFill>
                  <a:schemeClr val="tx2"/>
                </a:solidFill>
              </a:defRPr>
            </a:lvl7pPr>
            <a:lvl8pPr>
              <a:defRPr sz="3600" i="0">
                <a:solidFill>
                  <a:schemeClr val="tx1"/>
                </a:solidFill>
              </a:defRPr>
            </a:lvl8pPr>
            <a:lvl9pPr>
              <a:defRPr sz="3600" i="0">
                <a:solidFill>
                  <a:schemeClr val="bg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413067155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Section Header 3">
    <p:bg>
      <p:bgPr>
        <a:solidFill>
          <a:schemeClr val="accent5"/>
        </a:solidFill>
        <a:effectLst/>
      </p:bgPr>
    </p:bg>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1B9A1C00-161F-4335-AD8A-90DFCB913095}"/>
              </a:ext>
            </a:extLst>
          </p:cNvPr>
          <p:cNvGrpSpPr/>
          <p:nvPr userDrawn="1"/>
        </p:nvGrpSpPr>
        <p:grpSpPr>
          <a:xfrm>
            <a:off x="0" y="3125464"/>
            <a:ext cx="12193143" cy="3180212"/>
            <a:chOff x="0" y="3125464"/>
            <a:chExt cx="12193143" cy="3180212"/>
          </a:xfrm>
        </p:grpSpPr>
        <p:sp>
          <p:nvSpPr>
            <p:cNvPr id="17" name="Freeform: Shape 16">
              <a:extLst>
                <a:ext uri="{FF2B5EF4-FFF2-40B4-BE49-F238E27FC236}">
                  <a16:creationId xmlns:a16="http://schemas.microsoft.com/office/drawing/2014/main" id="{42A97C56-4CF8-437C-A770-3ADADCEF832F}"/>
                </a:ext>
              </a:extLst>
            </p:cNvPr>
            <p:cNvSpPr/>
            <p:nvPr/>
          </p:nvSpPr>
          <p:spPr>
            <a:xfrm>
              <a:off x="5410804" y="3125464"/>
              <a:ext cx="6782339" cy="2336074"/>
            </a:xfrm>
            <a:custGeom>
              <a:avLst/>
              <a:gdLst>
                <a:gd name="connsiteX0" fmla="*/ 1703989 w 6782339"/>
                <a:gd name="connsiteY0" fmla="*/ 104018 h 2336074"/>
                <a:gd name="connsiteX1" fmla="*/ 1399189 w 6782339"/>
                <a:gd name="connsiteY1" fmla="*/ 787278 h 2336074"/>
                <a:gd name="connsiteX2" fmla="*/ 64674 w 6782339"/>
                <a:gd name="connsiteY2" fmla="*/ 2088393 h 2336074"/>
                <a:gd name="connsiteX3" fmla="*/ 19081 w 6782339"/>
                <a:gd name="connsiteY3" fmla="*/ 2271400 h 2336074"/>
                <a:gd name="connsiteX4" fmla="*/ 202088 w 6782339"/>
                <a:gd name="connsiteY4" fmla="*/ 2316993 h 2336074"/>
                <a:gd name="connsiteX5" fmla="*/ 1634139 w 6782339"/>
                <a:gd name="connsiteY5" fmla="*/ 914151 h 2336074"/>
                <a:gd name="connsiteX6" fmla="*/ 1929796 w 6782339"/>
                <a:gd name="connsiteY6" fmla="*/ 282072 h 2336074"/>
                <a:gd name="connsiteX7" fmla="*/ 6782339 w 6782339"/>
                <a:gd name="connsiteY7" fmla="*/ 989335 h 2336074"/>
                <a:gd name="connsiteX8" fmla="*/ 6782339 w 6782339"/>
                <a:gd name="connsiteY8" fmla="*/ 719714 h 2336074"/>
                <a:gd name="connsiteX9" fmla="*/ 1853596 w 6782339"/>
                <a:gd name="connsiteY9" fmla="*/ 1402 h 2336074"/>
                <a:gd name="connsiteX10" fmla="*/ 1703989 w 6782339"/>
                <a:gd name="connsiteY10" fmla="*/ 104018 h 2336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782339" h="2336074">
                  <a:moveTo>
                    <a:pt x="1703989" y="104018"/>
                  </a:moveTo>
                  <a:cubicBezTo>
                    <a:pt x="1703355" y="106939"/>
                    <a:pt x="1635283" y="398658"/>
                    <a:pt x="1399189" y="787278"/>
                  </a:cubicBezTo>
                  <a:cubicBezTo>
                    <a:pt x="1182401" y="1145164"/>
                    <a:pt x="774985" y="1661292"/>
                    <a:pt x="64674" y="2088393"/>
                  </a:cubicBezTo>
                  <a:cubicBezTo>
                    <a:pt x="1548" y="2126339"/>
                    <a:pt x="-18865" y="2208274"/>
                    <a:pt x="19081" y="2271400"/>
                  </a:cubicBezTo>
                  <a:cubicBezTo>
                    <a:pt x="57027" y="2334526"/>
                    <a:pt x="138962" y="2354939"/>
                    <a:pt x="202088" y="2316993"/>
                  </a:cubicBezTo>
                  <a:cubicBezTo>
                    <a:pt x="964088" y="1858523"/>
                    <a:pt x="1401602" y="1300993"/>
                    <a:pt x="1634139" y="914151"/>
                  </a:cubicBezTo>
                  <a:cubicBezTo>
                    <a:pt x="1755840" y="715081"/>
                    <a:pt x="1855003" y="503083"/>
                    <a:pt x="1929796" y="282072"/>
                  </a:cubicBezTo>
                  <a:lnTo>
                    <a:pt x="6782339" y="989335"/>
                  </a:lnTo>
                  <a:lnTo>
                    <a:pt x="6782339" y="719714"/>
                  </a:lnTo>
                  <a:lnTo>
                    <a:pt x="1853596" y="1402"/>
                  </a:lnTo>
                  <a:cubicBezTo>
                    <a:pt x="1784603" y="-8618"/>
                    <a:pt x="1719487" y="36046"/>
                    <a:pt x="1703989" y="104018"/>
                  </a:cubicBezTo>
                  <a:close/>
                </a:path>
              </a:pathLst>
            </a:custGeom>
            <a:solidFill>
              <a:srgbClr val="005C82"/>
            </a:solidFill>
            <a:ln w="12700"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ECB47735-8911-46C6-8029-E5AC6A0462C5}"/>
                </a:ext>
              </a:extLst>
            </p:cNvPr>
            <p:cNvSpPr/>
            <p:nvPr/>
          </p:nvSpPr>
          <p:spPr>
            <a:xfrm>
              <a:off x="0" y="5874198"/>
              <a:ext cx="3882431" cy="431478"/>
            </a:xfrm>
            <a:custGeom>
              <a:avLst/>
              <a:gdLst>
                <a:gd name="connsiteX0" fmla="*/ 3777234 w 3882431"/>
                <a:gd name="connsiteY0" fmla="*/ 263711 h 431478"/>
                <a:gd name="connsiteX1" fmla="*/ 3879392 w 3882431"/>
                <a:gd name="connsiteY1" fmla="*/ 105192 h 431478"/>
                <a:gd name="connsiteX2" fmla="*/ 3724275 w 3882431"/>
                <a:gd name="connsiteY2" fmla="*/ 2345 h 431478"/>
                <a:gd name="connsiteX3" fmla="*/ 0 w 3882431"/>
                <a:gd name="connsiteY3" fmla="*/ 9584 h 431478"/>
                <a:gd name="connsiteX4" fmla="*/ 0 w 3882431"/>
                <a:gd name="connsiteY4" fmla="*/ 279078 h 431478"/>
                <a:gd name="connsiteX5" fmla="*/ 1977390 w 3882431"/>
                <a:gd name="connsiteY5" fmla="*/ 431478 h 431478"/>
                <a:gd name="connsiteX6" fmla="*/ 3777234 w 3882431"/>
                <a:gd name="connsiteY6" fmla="*/ 263711 h 4314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82431" h="431478">
                  <a:moveTo>
                    <a:pt x="3777234" y="263711"/>
                  </a:moveTo>
                  <a:cubicBezTo>
                    <a:pt x="3849218" y="248147"/>
                    <a:pt x="3894956" y="177176"/>
                    <a:pt x="3879392" y="105192"/>
                  </a:cubicBezTo>
                  <a:cubicBezTo>
                    <a:pt x="3864114" y="34530"/>
                    <a:pt x="3795311" y="-11089"/>
                    <a:pt x="3724275" y="2345"/>
                  </a:cubicBezTo>
                  <a:cubicBezTo>
                    <a:pt x="2669159" y="216467"/>
                    <a:pt x="1418844" y="218245"/>
                    <a:pt x="0" y="9584"/>
                  </a:cubicBezTo>
                  <a:lnTo>
                    <a:pt x="0" y="279078"/>
                  </a:lnTo>
                  <a:cubicBezTo>
                    <a:pt x="699685" y="380678"/>
                    <a:pt x="1358815" y="431478"/>
                    <a:pt x="1977390" y="431478"/>
                  </a:cubicBezTo>
                  <a:cubicBezTo>
                    <a:pt x="2625344" y="431224"/>
                    <a:pt x="3226562" y="375471"/>
                    <a:pt x="3777234" y="263711"/>
                  </a:cubicBezTo>
                  <a:close/>
                </a:path>
              </a:pathLst>
            </a:custGeom>
            <a:solidFill>
              <a:srgbClr val="FFE84C"/>
            </a:solidFill>
            <a:ln w="12700"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6585E64C-C0BE-48E1-97AE-3D8C96A7F8EF}"/>
                </a:ext>
              </a:extLst>
            </p:cNvPr>
            <p:cNvSpPr/>
            <p:nvPr/>
          </p:nvSpPr>
          <p:spPr>
            <a:xfrm>
              <a:off x="3619238" y="5194777"/>
              <a:ext cx="2058962" cy="941101"/>
            </a:xfrm>
            <a:custGeom>
              <a:avLst/>
              <a:gdLst>
                <a:gd name="connsiteX0" fmla="*/ 133612 w 2058962"/>
                <a:gd name="connsiteY0" fmla="*/ 941101 h 941101"/>
                <a:gd name="connsiteX1" fmla="*/ 0 w 2058962"/>
                <a:gd name="connsiteY1" fmla="*/ 808013 h 941101"/>
                <a:gd name="connsiteX2" fmla="*/ 106815 w 2058962"/>
                <a:gd name="connsiteY2" fmla="*/ 677068 h 941101"/>
                <a:gd name="connsiteX3" fmla="*/ 1856875 w 2058962"/>
                <a:gd name="connsiteY3" fmla="*/ 19081 h 941101"/>
                <a:gd name="connsiteX4" fmla="*/ 2039882 w 2058962"/>
                <a:gd name="connsiteY4" fmla="*/ 64674 h 941101"/>
                <a:gd name="connsiteX5" fmla="*/ 1994289 w 2058962"/>
                <a:gd name="connsiteY5" fmla="*/ 247681 h 941101"/>
                <a:gd name="connsiteX6" fmla="*/ 160663 w 2058962"/>
                <a:gd name="connsiteY6" fmla="*/ 938307 h 941101"/>
                <a:gd name="connsiteX7" fmla="*/ 133612 w 2058962"/>
                <a:gd name="connsiteY7" fmla="*/ 941101 h 941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58962" h="941101">
                  <a:moveTo>
                    <a:pt x="133612" y="941101"/>
                  </a:moveTo>
                  <a:cubicBezTo>
                    <a:pt x="59965" y="941246"/>
                    <a:pt x="145" y="881660"/>
                    <a:pt x="0" y="808013"/>
                  </a:cubicBezTo>
                  <a:cubicBezTo>
                    <a:pt x="-125" y="744496"/>
                    <a:pt x="44568" y="689707"/>
                    <a:pt x="106815" y="677068"/>
                  </a:cubicBezTo>
                  <a:cubicBezTo>
                    <a:pt x="768485" y="540924"/>
                    <a:pt x="1357257" y="319563"/>
                    <a:pt x="1856875" y="19081"/>
                  </a:cubicBezTo>
                  <a:cubicBezTo>
                    <a:pt x="1920001" y="-18865"/>
                    <a:pt x="2001936" y="1548"/>
                    <a:pt x="2039882" y="64674"/>
                  </a:cubicBezTo>
                  <a:cubicBezTo>
                    <a:pt x="2077828" y="127800"/>
                    <a:pt x="2057415" y="209735"/>
                    <a:pt x="1994289" y="247681"/>
                  </a:cubicBezTo>
                  <a:cubicBezTo>
                    <a:pt x="1468763" y="563657"/>
                    <a:pt x="851924" y="796067"/>
                    <a:pt x="160663" y="938307"/>
                  </a:cubicBezTo>
                  <a:cubicBezTo>
                    <a:pt x="151766" y="940166"/>
                    <a:pt x="142701" y="941102"/>
                    <a:pt x="133612" y="941101"/>
                  </a:cubicBezTo>
                  <a:close/>
                </a:path>
              </a:pathLst>
            </a:custGeom>
            <a:solidFill>
              <a:srgbClr val="FFE84C"/>
            </a:solidFill>
            <a:ln w="12700" cap="flat">
              <a:noFill/>
              <a:prstDash val="solid"/>
              <a:miter/>
            </a:ln>
          </p:spPr>
          <p:txBody>
            <a:bodyPr rtlCol="0" anchor="ctr"/>
            <a:lstStyle/>
            <a:p>
              <a:endParaRPr lang="en-GB"/>
            </a:p>
          </p:txBody>
        </p:sp>
      </p:grpSp>
      <p:sp>
        <p:nvSpPr>
          <p:cNvPr id="5" name="Picture Placeholder 4">
            <a:extLst>
              <a:ext uri="{FF2B5EF4-FFF2-40B4-BE49-F238E27FC236}">
                <a16:creationId xmlns:a16="http://schemas.microsoft.com/office/drawing/2014/main" id="{1D0CB51F-FB93-44E1-8529-723507996C9D}"/>
              </a:ext>
            </a:extLst>
          </p:cNvPr>
          <p:cNvSpPr>
            <a:spLocks noGrp="1"/>
          </p:cNvSpPr>
          <p:nvPr>
            <p:ph type="pic" sz="quarter" idx="11"/>
          </p:nvPr>
        </p:nvSpPr>
        <p:spPr>
          <a:xfrm>
            <a:off x="8007349" y="719137"/>
            <a:ext cx="3463925" cy="5418137"/>
          </a:xfrm>
        </p:spPr>
        <p:txBody>
          <a:bodyPr/>
          <a:lstStyle/>
          <a:p>
            <a:r>
              <a:rPr lang="en-US"/>
              <a:t>Click icon to add picture</a:t>
            </a:r>
            <a:endParaRPr lang="en-GB" dirty="0"/>
          </a:p>
        </p:txBody>
      </p:sp>
      <p:sp>
        <p:nvSpPr>
          <p:cNvPr id="11" name="Section Number 1">
            <a:extLst>
              <a:ext uri="{FF2B5EF4-FFF2-40B4-BE49-F238E27FC236}">
                <a16:creationId xmlns:a16="http://schemas.microsoft.com/office/drawing/2014/main" id="{814A3C02-7035-49AB-B7ED-455C3FD72429}"/>
              </a:ext>
            </a:extLst>
          </p:cNvPr>
          <p:cNvSpPr>
            <a:spLocks noGrp="1" noChangeAspect="1"/>
          </p:cNvSpPr>
          <p:nvPr>
            <p:ph type="body" sz="quarter" idx="10" hasCustomPrompt="1"/>
          </p:nvPr>
        </p:nvSpPr>
        <p:spPr>
          <a:xfrm>
            <a:off x="719138" y="719138"/>
            <a:ext cx="1368000" cy="1368000"/>
          </a:xfrm>
          <a:prstGeom prst="ellipse">
            <a:avLst/>
          </a:prstGeom>
          <a:solidFill>
            <a:schemeClr val="bg1"/>
          </a:solidFill>
        </p:spPr>
        <p:txBody>
          <a:bodyPr anchor="ctr" anchorCtr="1"/>
          <a:lstStyle>
            <a:lvl1pPr marL="0" algn="ctr">
              <a:lnSpc>
                <a:spcPct val="90000"/>
              </a:lnSpc>
              <a:spcBef>
                <a:spcPts val="0"/>
              </a:spcBef>
              <a:buFontTx/>
              <a:buNone/>
              <a:defRPr sz="5400">
                <a:solidFill>
                  <a:schemeClr val="tx2"/>
                </a:solidFill>
                <a:latin typeface="+mj-lt"/>
              </a:defRPr>
            </a:lvl1pPr>
            <a:lvl2pPr marL="0" indent="0" algn="ctr">
              <a:lnSpc>
                <a:spcPct val="90000"/>
              </a:lnSpc>
              <a:spcBef>
                <a:spcPts val="0"/>
              </a:spcBef>
              <a:buFontTx/>
              <a:buNone/>
              <a:defRPr sz="5400">
                <a:solidFill>
                  <a:schemeClr val="tx2"/>
                </a:solidFill>
                <a:latin typeface="+mj-lt"/>
              </a:defRPr>
            </a:lvl2pPr>
            <a:lvl3pPr marL="0" indent="0" algn="ctr">
              <a:lnSpc>
                <a:spcPct val="90000"/>
              </a:lnSpc>
              <a:spcBef>
                <a:spcPts val="0"/>
              </a:spcBef>
              <a:buFontTx/>
              <a:buNone/>
              <a:defRPr sz="5400">
                <a:solidFill>
                  <a:schemeClr val="tx2"/>
                </a:solidFill>
                <a:latin typeface="+mj-lt"/>
              </a:defRPr>
            </a:lvl3pPr>
            <a:lvl4pPr marL="0" indent="0" algn="ctr">
              <a:lnSpc>
                <a:spcPct val="90000"/>
              </a:lnSpc>
              <a:spcBef>
                <a:spcPts val="0"/>
              </a:spcBef>
              <a:buFontTx/>
              <a:buNone/>
              <a:defRPr sz="5400">
                <a:solidFill>
                  <a:schemeClr val="tx2"/>
                </a:solidFill>
                <a:latin typeface="+mj-lt"/>
              </a:defRPr>
            </a:lvl4pPr>
            <a:lvl5pPr marL="0" indent="0" algn="ctr">
              <a:lnSpc>
                <a:spcPct val="90000"/>
              </a:lnSpc>
              <a:spcBef>
                <a:spcPts val="0"/>
              </a:spcBef>
              <a:buFontTx/>
              <a:buNone/>
              <a:defRPr sz="5400">
                <a:solidFill>
                  <a:schemeClr val="tx2"/>
                </a:solidFill>
                <a:latin typeface="+mj-lt"/>
              </a:defRPr>
            </a:lvl5pPr>
            <a:lvl6pPr marL="0" indent="0" algn="ctr">
              <a:lnSpc>
                <a:spcPct val="90000"/>
              </a:lnSpc>
              <a:spcBef>
                <a:spcPts val="0"/>
              </a:spcBef>
              <a:buFontTx/>
              <a:buNone/>
              <a:defRPr sz="5400">
                <a:solidFill>
                  <a:schemeClr val="tx2"/>
                </a:solidFill>
                <a:latin typeface="+mj-lt"/>
              </a:defRPr>
            </a:lvl6pPr>
            <a:lvl7pPr marL="0" algn="ctr">
              <a:lnSpc>
                <a:spcPct val="90000"/>
              </a:lnSpc>
              <a:spcBef>
                <a:spcPts val="0"/>
              </a:spcBef>
              <a:buFontTx/>
              <a:buNone/>
              <a:defRPr sz="5400">
                <a:solidFill>
                  <a:schemeClr val="tx2"/>
                </a:solidFill>
                <a:latin typeface="+mj-lt"/>
              </a:defRPr>
            </a:lvl7pPr>
            <a:lvl8pPr marL="0" algn="ctr">
              <a:lnSpc>
                <a:spcPct val="90000"/>
              </a:lnSpc>
              <a:spcBef>
                <a:spcPts val="0"/>
              </a:spcBef>
              <a:buFontTx/>
              <a:buNone/>
              <a:defRPr sz="5400">
                <a:solidFill>
                  <a:schemeClr val="tx2"/>
                </a:solidFill>
                <a:latin typeface="+mj-lt"/>
              </a:defRPr>
            </a:lvl8pPr>
            <a:lvl9pPr marL="0" algn="ctr">
              <a:lnSpc>
                <a:spcPct val="90000"/>
              </a:lnSpc>
              <a:spcBef>
                <a:spcPts val="0"/>
              </a:spcBef>
              <a:buFontTx/>
              <a:buNone/>
              <a:defRPr sz="5400">
                <a:solidFill>
                  <a:schemeClr val="tx2"/>
                </a:solidFill>
                <a:latin typeface="+mj-lt"/>
              </a:defRPr>
            </a:lvl9pPr>
          </a:lstStyle>
          <a:p>
            <a:pPr lvl="0"/>
            <a:r>
              <a:rPr lang="en-GB" dirty="0"/>
              <a:t>##</a:t>
            </a:r>
          </a:p>
        </p:txBody>
      </p:sp>
      <p:sp>
        <p:nvSpPr>
          <p:cNvPr id="3" name="Subtitle 1">
            <a:extLst>
              <a:ext uri="{FF2B5EF4-FFF2-40B4-BE49-F238E27FC236}">
                <a16:creationId xmlns:a16="http://schemas.microsoft.com/office/drawing/2014/main" id="{4CDF00B7-50B6-483C-8BC3-BB00B892A8FA}"/>
              </a:ext>
            </a:extLst>
          </p:cNvPr>
          <p:cNvSpPr>
            <a:spLocks noGrp="1"/>
          </p:cNvSpPr>
          <p:nvPr>
            <p:ph type="body" idx="1"/>
          </p:nvPr>
        </p:nvSpPr>
        <p:spPr>
          <a:xfrm>
            <a:off x="719139" y="4031138"/>
            <a:ext cx="5286374" cy="1500187"/>
          </a:xfrm>
        </p:spPr>
        <p:txBody>
          <a:bodyPr/>
          <a:lstStyle>
            <a:lvl1pPr marL="0" indent="0">
              <a:lnSpc>
                <a:spcPct val="90000"/>
              </a:lnSpc>
              <a:spcBef>
                <a:spcPts val="600"/>
              </a:spcBef>
              <a:buNone/>
              <a:defRPr sz="1800">
                <a:solidFill>
                  <a:schemeClr val="tx1"/>
                </a:solidFill>
                <a:latin typeface="+mn-lt"/>
              </a:defRPr>
            </a:lvl1pPr>
            <a:lvl2pPr marL="0" indent="0">
              <a:lnSpc>
                <a:spcPct val="90000"/>
              </a:lnSpc>
              <a:spcBef>
                <a:spcPts val="600"/>
              </a:spcBef>
              <a:buNone/>
              <a:defRPr sz="1800">
                <a:solidFill>
                  <a:schemeClr val="tx2"/>
                </a:solidFill>
                <a:latin typeface="+mn-lt"/>
              </a:defRPr>
            </a:lvl2pPr>
            <a:lvl3pPr marL="0" indent="0">
              <a:lnSpc>
                <a:spcPct val="90000"/>
              </a:lnSpc>
              <a:spcBef>
                <a:spcPts val="600"/>
              </a:spcBef>
              <a:buNone/>
              <a:defRPr sz="1800">
                <a:solidFill>
                  <a:schemeClr val="bg1"/>
                </a:solidFill>
                <a:latin typeface="+mn-lt"/>
              </a:defRPr>
            </a:lvl3pPr>
            <a:lvl4pPr marL="0" indent="0">
              <a:lnSpc>
                <a:spcPct val="90000"/>
              </a:lnSpc>
              <a:spcBef>
                <a:spcPts val="600"/>
              </a:spcBef>
              <a:buNone/>
              <a:defRPr sz="1600">
                <a:solidFill>
                  <a:schemeClr val="tx1"/>
                </a:solidFill>
                <a:latin typeface="+mn-lt"/>
              </a:defRPr>
            </a:lvl4pPr>
            <a:lvl5pPr marL="0" indent="0">
              <a:lnSpc>
                <a:spcPct val="90000"/>
              </a:lnSpc>
              <a:spcBef>
                <a:spcPts val="600"/>
              </a:spcBef>
              <a:buNone/>
              <a:defRPr sz="1600">
                <a:solidFill>
                  <a:schemeClr val="tx2"/>
                </a:solidFill>
                <a:latin typeface="+mn-lt"/>
              </a:defRPr>
            </a:lvl5pPr>
            <a:lvl6pPr marL="0" indent="0">
              <a:lnSpc>
                <a:spcPct val="90000"/>
              </a:lnSpc>
              <a:spcBef>
                <a:spcPts val="600"/>
              </a:spcBef>
              <a:buNone/>
              <a:defRPr sz="1600">
                <a:solidFill>
                  <a:schemeClr val="bg1"/>
                </a:solidFill>
                <a:latin typeface="+mn-lt"/>
              </a:defRPr>
            </a:lvl6pPr>
            <a:lvl7pPr marL="0" indent="0">
              <a:lnSpc>
                <a:spcPct val="90000"/>
              </a:lnSpc>
              <a:spcBef>
                <a:spcPts val="600"/>
              </a:spcBef>
              <a:buNone/>
              <a:defRPr sz="1400">
                <a:solidFill>
                  <a:schemeClr val="tx1"/>
                </a:solidFill>
                <a:latin typeface="+mn-lt"/>
              </a:defRPr>
            </a:lvl7pPr>
            <a:lvl8pPr marL="0" indent="0">
              <a:lnSpc>
                <a:spcPct val="90000"/>
              </a:lnSpc>
              <a:spcBef>
                <a:spcPts val="600"/>
              </a:spcBef>
              <a:buNone/>
              <a:defRPr sz="1400">
                <a:solidFill>
                  <a:schemeClr val="tx2"/>
                </a:solidFill>
                <a:latin typeface="+mn-lt"/>
              </a:defRPr>
            </a:lvl8pPr>
            <a:lvl9pPr marL="0" indent="0">
              <a:lnSpc>
                <a:spcPct val="90000"/>
              </a:lnSpc>
              <a:spcBef>
                <a:spcPts val="600"/>
              </a:spcBef>
              <a:buNone/>
              <a:defRPr sz="1400">
                <a:solidFill>
                  <a:schemeClr val="bg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7C15B895-13B1-4E62-A307-74EAE804FD2C}"/>
              </a:ext>
            </a:extLst>
          </p:cNvPr>
          <p:cNvSpPr>
            <a:spLocks noGrp="1"/>
          </p:cNvSpPr>
          <p:nvPr>
            <p:ph type="title"/>
          </p:nvPr>
        </p:nvSpPr>
        <p:spPr>
          <a:xfrm>
            <a:off x="719138" y="2339138"/>
            <a:ext cx="5286375" cy="1512000"/>
          </a:xfrm>
        </p:spPr>
        <p:txBody>
          <a:bodyPr anchor="b"/>
          <a:lstStyle>
            <a:lvl1pPr>
              <a:defRPr sz="4400">
                <a:solidFill>
                  <a:schemeClr val="tx2"/>
                </a:solidFill>
              </a:defRPr>
            </a:lvl1pPr>
            <a:lvl2pPr>
              <a:defRPr sz="4400">
                <a:solidFill>
                  <a:schemeClr val="tx1"/>
                </a:solidFill>
              </a:defRPr>
            </a:lvl2pPr>
            <a:lvl3pPr>
              <a:defRPr sz="4400">
                <a:solidFill>
                  <a:schemeClr val="bg1"/>
                </a:solidFill>
              </a:defRPr>
            </a:lvl3pPr>
            <a:lvl4pPr>
              <a:defRPr sz="4000">
                <a:solidFill>
                  <a:schemeClr val="tx2"/>
                </a:solidFill>
              </a:defRPr>
            </a:lvl4pPr>
            <a:lvl5pPr>
              <a:defRPr sz="4000"/>
            </a:lvl5pPr>
            <a:lvl6pPr>
              <a:defRPr sz="4000">
                <a:solidFill>
                  <a:schemeClr val="bg1"/>
                </a:solidFill>
              </a:defRPr>
            </a:lvl6pPr>
            <a:lvl7pPr>
              <a:defRPr sz="3600">
                <a:solidFill>
                  <a:schemeClr val="tx2"/>
                </a:solidFill>
              </a:defRPr>
            </a:lvl7pPr>
            <a:lvl8pPr>
              <a:defRPr sz="3600">
                <a:solidFill>
                  <a:schemeClr val="tx1"/>
                </a:solidFill>
              </a:defRPr>
            </a:lvl8pPr>
            <a:lvl9pPr>
              <a:defRPr sz="3600" i="0">
                <a:solidFill>
                  <a:schemeClr val="bg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151422343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Section Header 4">
    <p:bg>
      <p:bgPr>
        <a:solidFill>
          <a:schemeClr val="accent2"/>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6DEAB736-E5C7-4F8A-BC12-AD7CF2D2FA68}"/>
              </a:ext>
            </a:extLst>
          </p:cNvPr>
          <p:cNvGrpSpPr/>
          <p:nvPr userDrawn="1"/>
        </p:nvGrpSpPr>
        <p:grpSpPr>
          <a:xfrm>
            <a:off x="2475589" y="1650880"/>
            <a:ext cx="9717299" cy="5207761"/>
            <a:chOff x="2475589" y="1650880"/>
            <a:chExt cx="9717299" cy="5207761"/>
          </a:xfrm>
        </p:grpSpPr>
        <p:sp>
          <p:nvSpPr>
            <p:cNvPr id="9" name="Freeform: Shape 8">
              <a:extLst>
                <a:ext uri="{FF2B5EF4-FFF2-40B4-BE49-F238E27FC236}">
                  <a16:creationId xmlns:a16="http://schemas.microsoft.com/office/drawing/2014/main" id="{DF2E4789-30CF-4562-AC1B-EA9FDF4414BC}"/>
                </a:ext>
              </a:extLst>
            </p:cNvPr>
            <p:cNvSpPr/>
            <p:nvPr/>
          </p:nvSpPr>
          <p:spPr>
            <a:xfrm>
              <a:off x="8234448" y="1650880"/>
              <a:ext cx="3958440" cy="1200309"/>
            </a:xfrm>
            <a:custGeom>
              <a:avLst/>
              <a:gdLst>
                <a:gd name="connsiteX0" fmla="*/ 1853218 w 3958440"/>
                <a:gd name="connsiteY0" fmla="*/ 122840 h 1200309"/>
                <a:gd name="connsiteX1" fmla="*/ 47617 w 3958440"/>
                <a:gd name="connsiteY1" fmla="*/ 964802 h 1200309"/>
                <a:gd name="connsiteX2" fmla="*/ 31225 w 3958440"/>
                <a:gd name="connsiteY2" fmla="*/ 1152691 h 1200309"/>
                <a:gd name="connsiteX3" fmla="*/ 212732 w 3958440"/>
                <a:gd name="connsiteY3" fmla="*/ 1174117 h 1200309"/>
                <a:gd name="connsiteX4" fmla="*/ 1909866 w 3958440"/>
                <a:gd name="connsiteY4" fmla="*/ 383341 h 1200309"/>
                <a:gd name="connsiteX5" fmla="*/ 3958441 w 3958440"/>
                <a:gd name="connsiteY5" fmla="*/ 373180 h 1200309"/>
                <a:gd name="connsiteX6" fmla="*/ 3958441 w 3958440"/>
                <a:gd name="connsiteY6" fmla="*/ 101883 h 1200309"/>
                <a:gd name="connsiteX7" fmla="*/ 3820760 w 3958440"/>
                <a:gd name="connsiteY7" fmla="*/ 74829 h 1200309"/>
                <a:gd name="connsiteX8" fmla="*/ 1853218 w 3958440"/>
                <a:gd name="connsiteY8" fmla="*/ 122840 h 12003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58440" h="1200309">
                  <a:moveTo>
                    <a:pt x="1853218" y="122840"/>
                  </a:moveTo>
                  <a:cubicBezTo>
                    <a:pt x="1175229" y="270555"/>
                    <a:pt x="567731" y="553918"/>
                    <a:pt x="47617" y="964802"/>
                  </a:cubicBezTo>
                  <a:cubicBezTo>
                    <a:pt x="-8794" y="1012159"/>
                    <a:pt x="-16133" y="1096280"/>
                    <a:pt x="31225" y="1152691"/>
                  </a:cubicBezTo>
                  <a:cubicBezTo>
                    <a:pt x="76553" y="1206685"/>
                    <a:pt x="156077" y="1216073"/>
                    <a:pt x="212732" y="1174117"/>
                  </a:cubicBezTo>
                  <a:cubicBezTo>
                    <a:pt x="700840" y="788509"/>
                    <a:pt x="1271758" y="522419"/>
                    <a:pt x="1909866" y="383341"/>
                  </a:cubicBezTo>
                  <a:cubicBezTo>
                    <a:pt x="2616687" y="229276"/>
                    <a:pt x="3301916" y="226354"/>
                    <a:pt x="3958441" y="373180"/>
                  </a:cubicBezTo>
                  <a:lnTo>
                    <a:pt x="3958441" y="101883"/>
                  </a:lnTo>
                  <a:cubicBezTo>
                    <a:pt x="3912716" y="92230"/>
                    <a:pt x="3866865" y="83085"/>
                    <a:pt x="3820760" y="74829"/>
                  </a:cubicBezTo>
                  <a:cubicBezTo>
                    <a:pt x="3184049" y="-38973"/>
                    <a:pt x="2522317" y="-22970"/>
                    <a:pt x="1853218" y="122840"/>
                  </a:cubicBezTo>
                  <a:close/>
                </a:path>
              </a:pathLst>
            </a:custGeom>
            <a:solidFill>
              <a:srgbClr val="005C82"/>
            </a:solidFill>
            <a:ln w="12700"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CDA31254-47BB-4C08-A50F-3432F5F43124}"/>
                </a:ext>
              </a:extLst>
            </p:cNvPr>
            <p:cNvSpPr/>
            <p:nvPr/>
          </p:nvSpPr>
          <p:spPr>
            <a:xfrm>
              <a:off x="2475589" y="2588626"/>
              <a:ext cx="6015363" cy="4270015"/>
            </a:xfrm>
            <a:custGeom>
              <a:avLst/>
              <a:gdLst>
                <a:gd name="connsiteX0" fmla="*/ 1493152 w 6015363"/>
                <a:gd name="connsiteY0" fmla="*/ 3047907 h 4270015"/>
                <a:gd name="connsiteX1" fmla="*/ 3898250 w 6015363"/>
                <a:gd name="connsiteY1" fmla="*/ 3728183 h 4270015"/>
                <a:gd name="connsiteX2" fmla="*/ 4086697 w 6015363"/>
                <a:gd name="connsiteY2" fmla="*/ 3735832 h 4270015"/>
                <a:gd name="connsiteX3" fmla="*/ 4128903 w 6015363"/>
                <a:gd name="connsiteY3" fmla="*/ 3651976 h 4270015"/>
                <a:gd name="connsiteX4" fmla="*/ 4444782 w 6015363"/>
                <a:gd name="connsiteY4" fmla="*/ 2424152 h 4270015"/>
                <a:gd name="connsiteX5" fmla="*/ 5956858 w 6015363"/>
                <a:gd name="connsiteY5" fmla="*/ 243738 h 4270015"/>
                <a:gd name="connsiteX6" fmla="*/ 5992350 w 6015363"/>
                <a:gd name="connsiteY6" fmla="*/ 58505 h 4270015"/>
                <a:gd name="connsiteX7" fmla="*/ 5807117 w 6015363"/>
                <a:gd name="connsiteY7" fmla="*/ 23013 h 4270015"/>
                <a:gd name="connsiteX8" fmla="*/ 5791743 w 6015363"/>
                <a:gd name="connsiteY8" fmla="*/ 35185 h 4270015"/>
                <a:gd name="connsiteX9" fmla="*/ 4194695 w 6015363"/>
                <a:gd name="connsiteY9" fmla="*/ 2331433 h 4270015"/>
                <a:gd name="connsiteX10" fmla="*/ 3905870 w 6015363"/>
                <a:gd name="connsiteY10" fmla="*/ 3357944 h 4270015"/>
                <a:gd name="connsiteX11" fmla="*/ 2741933 w 6015363"/>
                <a:gd name="connsiteY11" fmla="*/ 2711453 h 4270015"/>
                <a:gd name="connsiteX12" fmla="*/ 1397766 w 6015363"/>
                <a:gd name="connsiteY12" fmla="*/ 2798837 h 4270015"/>
                <a:gd name="connsiteX13" fmla="*/ 334549 w 6015363"/>
                <a:gd name="connsiteY13" fmla="*/ 3611713 h 4270015"/>
                <a:gd name="connsiteX14" fmla="*/ 0 w 6015363"/>
                <a:gd name="connsiteY14" fmla="*/ 4270016 h 4270015"/>
                <a:gd name="connsiteX15" fmla="*/ 283109 w 6015363"/>
                <a:gd name="connsiteY15" fmla="*/ 4270016 h 4270015"/>
                <a:gd name="connsiteX16" fmla="*/ 1493152 w 6015363"/>
                <a:gd name="connsiteY16" fmla="*/ 3047907 h 4270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015363" h="4270015">
                  <a:moveTo>
                    <a:pt x="1493152" y="3047907"/>
                  </a:moveTo>
                  <a:cubicBezTo>
                    <a:pt x="2328509" y="2728092"/>
                    <a:pt x="3205145" y="2976019"/>
                    <a:pt x="3898250" y="3728183"/>
                  </a:cubicBezTo>
                  <a:cubicBezTo>
                    <a:pt x="3948176" y="3782334"/>
                    <a:pt x="4032547" y="3785758"/>
                    <a:pt x="4086697" y="3735832"/>
                  </a:cubicBezTo>
                  <a:cubicBezTo>
                    <a:pt x="4110464" y="3713919"/>
                    <a:pt x="4125463" y="3684120"/>
                    <a:pt x="4128903" y="3651976"/>
                  </a:cubicBezTo>
                  <a:cubicBezTo>
                    <a:pt x="4128903" y="3646642"/>
                    <a:pt x="4189234" y="3112175"/>
                    <a:pt x="4444782" y="2424152"/>
                  </a:cubicBezTo>
                  <a:cubicBezTo>
                    <a:pt x="4680007" y="1790998"/>
                    <a:pt x="5133313" y="898612"/>
                    <a:pt x="5956858" y="243738"/>
                  </a:cubicBezTo>
                  <a:cubicBezTo>
                    <a:pt x="6017810" y="202388"/>
                    <a:pt x="6033701" y="119457"/>
                    <a:pt x="5992350" y="58505"/>
                  </a:cubicBezTo>
                  <a:cubicBezTo>
                    <a:pt x="5951000" y="-2447"/>
                    <a:pt x="5868069" y="-18337"/>
                    <a:pt x="5807117" y="23013"/>
                  </a:cubicBezTo>
                  <a:cubicBezTo>
                    <a:pt x="5801701" y="26687"/>
                    <a:pt x="5796562" y="30756"/>
                    <a:pt x="5791743" y="35185"/>
                  </a:cubicBezTo>
                  <a:cubicBezTo>
                    <a:pt x="4919298" y="728035"/>
                    <a:pt x="4441734" y="1666272"/>
                    <a:pt x="4194695" y="2331433"/>
                  </a:cubicBezTo>
                  <a:cubicBezTo>
                    <a:pt x="4070316" y="2665066"/>
                    <a:pt x="3973713" y="3008403"/>
                    <a:pt x="3905870" y="3357944"/>
                  </a:cubicBezTo>
                  <a:cubicBezTo>
                    <a:pt x="3553285" y="3030507"/>
                    <a:pt x="3162724" y="2813444"/>
                    <a:pt x="2741933" y="2711453"/>
                  </a:cubicBezTo>
                  <a:cubicBezTo>
                    <a:pt x="2295429" y="2603066"/>
                    <a:pt x="1826479" y="2633553"/>
                    <a:pt x="1397766" y="2798837"/>
                  </a:cubicBezTo>
                  <a:cubicBezTo>
                    <a:pt x="972378" y="2961580"/>
                    <a:pt x="603137" y="3243881"/>
                    <a:pt x="334549" y="3611713"/>
                  </a:cubicBezTo>
                  <a:cubicBezTo>
                    <a:pt x="187824" y="3811401"/>
                    <a:pt x="74810" y="4033781"/>
                    <a:pt x="0" y="4270016"/>
                  </a:cubicBezTo>
                  <a:lnTo>
                    <a:pt x="283109" y="4270016"/>
                  </a:lnTo>
                  <a:cubicBezTo>
                    <a:pt x="482645" y="3723865"/>
                    <a:pt x="921471" y="3266622"/>
                    <a:pt x="1493152" y="3047907"/>
                  </a:cubicBezTo>
                  <a:close/>
                </a:path>
              </a:pathLst>
            </a:custGeom>
            <a:solidFill>
              <a:srgbClr val="85ABE3"/>
            </a:solidFill>
            <a:ln w="12700" cap="flat">
              <a:noFill/>
              <a:prstDash val="solid"/>
              <a:miter/>
            </a:ln>
          </p:spPr>
          <p:txBody>
            <a:bodyPr rtlCol="0" anchor="ctr"/>
            <a:lstStyle/>
            <a:p>
              <a:endParaRPr lang="en-GB"/>
            </a:p>
          </p:txBody>
        </p:sp>
      </p:grpSp>
      <p:sp>
        <p:nvSpPr>
          <p:cNvPr id="5" name="Picture Placeholder 4">
            <a:extLst>
              <a:ext uri="{FF2B5EF4-FFF2-40B4-BE49-F238E27FC236}">
                <a16:creationId xmlns:a16="http://schemas.microsoft.com/office/drawing/2014/main" id="{1D0CB51F-FB93-44E1-8529-723507996C9D}"/>
              </a:ext>
            </a:extLst>
          </p:cNvPr>
          <p:cNvSpPr>
            <a:spLocks noGrp="1"/>
          </p:cNvSpPr>
          <p:nvPr>
            <p:ph type="pic" sz="quarter" idx="11"/>
          </p:nvPr>
        </p:nvSpPr>
        <p:spPr>
          <a:xfrm>
            <a:off x="8007349" y="719137"/>
            <a:ext cx="3463925" cy="5418137"/>
          </a:xfrm>
        </p:spPr>
        <p:txBody>
          <a:bodyPr/>
          <a:lstStyle/>
          <a:p>
            <a:r>
              <a:rPr lang="en-US"/>
              <a:t>Click icon to add picture</a:t>
            </a:r>
            <a:endParaRPr lang="en-GB" dirty="0"/>
          </a:p>
        </p:txBody>
      </p:sp>
      <p:sp>
        <p:nvSpPr>
          <p:cNvPr id="11" name="Section Number 1">
            <a:extLst>
              <a:ext uri="{FF2B5EF4-FFF2-40B4-BE49-F238E27FC236}">
                <a16:creationId xmlns:a16="http://schemas.microsoft.com/office/drawing/2014/main" id="{814A3C02-7035-49AB-B7ED-455C3FD72429}"/>
              </a:ext>
            </a:extLst>
          </p:cNvPr>
          <p:cNvSpPr>
            <a:spLocks noGrp="1" noChangeAspect="1"/>
          </p:cNvSpPr>
          <p:nvPr>
            <p:ph type="body" sz="quarter" idx="10" hasCustomPrompt="1"/>
          </p:nvPr>
        </p:nvSpPr>
        <p:spPr>
          <a:xfrm>
            <a:off x="719138" y="719138"/>
            <a:ext cx="1368000" cy="1368000"/>
          </a:xfrm>
          <a:prstGeom prst="ellipse">
            <a:avLst/>
          </a:prstGeom>
          <a:solidFill>
            <a:schemeClr val="bg1"/>
          </a:solidFill>
        </p:spPr>
        <p:txBody>
          <a:bodyPr anchor="ctr" anchorCtr="1"/>
          <a:lstStyle>
            <a:lvl1pPr marL="0" algn="ctr">
              <a:lnSpc>
                <a:spcPct val="90000"/>
              </a:lnSpc>
              <a:spcBef>
                <a:spcPts val="0"/>
              </a:spcBef>
              <a:buFontTx/>
              <a:buNone/>
              <a:defRPr sz="5400">
                <a:solidFill>
                  <a:schemeClr val="tx2"/>
                </a:solidFill>
                <a:latin typeface="+mj-lt"/>
              </a:defRPr>
            </a:lvl1pPr>
            <a:lvl2pPr marL="0" indent="0" algn="ctr">
              <a:lnSpc>
                <a:spcPct val="90000"/>
              </a:lnSpc>
              <a:spcBef>
                <a:spcPts val="0"/>
              </a:spcBef>
              <a:buFontTx/>
              <a:buNone/>
              <a:defRPr sz="5400">
                <a:solidFill>
                  <a:schemeClr val="tx2"/>
                </a:solidFill>
                <a:latin typeface="+mj-lt"/>
              </a:defRPr>
            </a:lvl2pPr>
            <a:lvl3pPr marL="0" indent="0" algn="ctr">
              <a:lnSpc>
                <a:spcPct val="90000"/>
              </a:lnSpc>
              <a:spcBef>
                <a:spcPts val="0"/>
              </a:spcBef>
              <a:buFontTx/>
              <a:buNone/>
              <a:defRPr sz="5400">
                <a:solidFill>
                  <a:schemeClr val="tx2"/>
                </a:solidFill>
                <a:latin typeface="+mj-lt"/>
              </a:defRPr>
            </a:lvl3pPr>
            <a:lvl4pPr marL="0" indent="0" algn="ctr">
              <a:lnSpc>
                <a:spcPct val="90000"/>
              </a:lnSpc>
              <a:spcBef>
                <a:spcPts val="0"/>
              </a:spcBef>
              <a:buFontTx/>
              <a:buNone/>
              <a:defRPr sz="5400">
                <a:solidFill>
                  <a:schemeClr val="tx2"/>
                </a:solidFill>
                <a:latin typeface="+mj-lt"/>
              </a:defRPr>
            </a:lvl4pPr>
            <a:lvl5pPr marL="0" indent="0" algn="ctr">
              <a:lnSpc>
                <a:spcPct val="90000"/>
              </a:lnSpc>
              <a:spcBef>
                <a:spcPts val="0"/>
              </a:spcBef>
              <a:buFontTx/>
              <a:buNone/>
              <a:defRPr sz="5400">
                <a:solidFill>
                  <a:schemeClr val="tx2"/>
                </a:solidFill>
                <a:latin typeface="+mj-lt"/>
              </a:defRPr>
            </a:lvl5pPr>
            <a:lvl6pPr marL="0" indent="0" algn="ctr">
              <a:lnSpc>
                <a:spcPct val="90000"/>
              </a:lnSpc>
              <a:spcBef>
                <a:spcPts val="0"/>
              </a:spcBef>
              <a:buFontTx/>
              <a:buNone/>
              <a:defRPr sz="5400">
                <a:solidFill>
                  <a:schemeClr val="tx2"/>
                </a:solidFill>
                <a:latin typeface="+mj-lt"/>
              </a:defRPr>
            </a:lvl6pPr>
            <a:lvl7pPr marL="0" algn="ctr">
              <a:lnSpc>
                <a:spcPct val="90000"/>
              </a:lnSpc>
              <a:spcBef>
                <a:spcPts val="0"/>
              </a:spcBef>
              <a:buFontTx/>
              <a:buNone/>
              <a:defRPr sz="5400">
                <a:solidFill>
                  <a:schemeClr val="tx2"/>
                </a:solidFill>
                <a:latin typeface="+mj-lt"/>
              </a:defRPr>
            </a:lvl7pPr>
            <a:lvl8pPr marL="0" algn="ctr">
              <a:lnSpc>
                <a:spcPct val="90000"/>
              </a:lnSpc>
              <a:spcBef>
                <a:spcPts val="0"/>
              </a:spcBef>
              <a:buFontTx/>
              <a:buNone/>
              <a:defRPr sz="5400">
                <a:solidFill>
                  <a:schemeClr val="tx2"/>
                </a:solidFill>
                <a:latin typeface="+mj-lt"/>
              </a:defRPr>
            </a:lvl8pPr>
            <a:lvl9pPr marL="0" algn="ctr">
              <a:lnSpc>
                <a:spcPct val="90000"/>
              </a:lnSpc>
              <a:spcBef>
                <a:spcPts val="0"/>
              </a:spcBef>
              <a:buFontTx/>
              <a:buNone/>
              <a:defRPr sz="5400">
                <a:solidFill>
                  <a:schemeClr val="tx2"/>
                </a:solidFill>
                <a:latin typeface="+mj-lt"/>
              </a:defRPr>
            </a:lvl9pPr>
          </a:lstStyle>
          <a:p>
            <a:pPr lvl="0"/>
            <a:r>
              <a:rPr lang="en-GB" dirty="0"/>
              <a:t>##</a:t>
            </a:r>
          </a:p>
        </p:txBody>
      </p:sp>
      <p:sp>
        <p:nvSpPr>
          <p:cNvPr id="3" name="Subtitle 1">
            <a:extLst>
              <a:ext uri="{FF2B5EF4-FFF2-40B4-BE49-F238E27FC236}">
                <a16:creationId xmlns:a16="http://schemas.microsoft.com/office/drawing/2014/main" id="{4CDF00B7-50B6-483C-8BC3-BB00B892A8FA}"/>
              </a:ext>
            </a:extLst>
          </p:cNvPr>
          <p:cNvSpPr>
            <a:spLocks noGrp="1"/>
          </p:cNvSpPr>
          <p:nvPr>
            <p:ph type="body" idx="1"/>
          </p:nvPr>
        </p:nvSpPr>
        <p:spPr>
          <a:xfrm>
            <a:off x="719139" y="4031138"/>
            <a:ext cx="5286374" cy="1500187"/>
          </a:xfrm>
        </p:spPr>
        <p:txBody>
          <a:bodyPr/>
          <a:lstStyle>
            <a:lvl1pPr marL="0" indent="0">
              <a:lnSpc>
                <a:spcPct val="90000"/>
              </a:lnSpc>
              <a:spcBef>
                <a:spcPts val="600"/>
              </a:spcBef>
              <a:buNone/>
              <a:defRPr sz="1800">
                <a:solidFill>
                  <a:schemeClr val="tx1"/>
                </a:solidFill>
                <a:latin typeface="+mn-lt"/>
              </a:defRPr>
            </a:lvl1pPr>
            <a:lvl2pPr marL="0" indent="0">
              <a:lnSpc>
                <a:spcPct val="90000"/>
              </a:lnSpc>
              <a:spcBef>
                <a:spcPts val="600"/>
              </a:spcBef>
              <a:buNone/>
              <a:defRPr sz="1800">
                <a:solidFill>
                  <a:schemeClr val="tx2"/>
                </a:solidFill>
                <a:latin typeface="+mn-lt"/>
              </a:defRPr>
            </a:lvl2pPr>
            <a:lvl3pPr marL="0" indent="0">
              <a:lnSpc>
                <a:spcPct val="90000"/>
              </a:lnSpc>
              <a:spcBef>
                <a:spcPts val="600"/>
              </a:spcBef>
              <a:buNone/>
              <a:defRPr sz="1800">
                <a:solidFill>
                  <a:schemeClr val="bg1"/>
                </a:solidFill>
                <a:latin typeface="+mn-lt"/>
              </a:defRPr>
            </a:lvl3pPr>
            <a:lvl4pPr marL="0" indent="0">
              <a:lnSpc>
                <a:spcPct val="90000"/>
              </a:lnSpc>
              <a:spcBef>
                <a:spcPts val="600"/>
              </a:spcBef>
              <a:buNone/>
              <a:defRPr sz="1600">
                <a:solidFill>
                  <a:schemeClr val="tx1"/>
                </a:solidFill>
                <a:latin typeface="+mn-lt"/>
              </a:defRPr>
            </a:lvl4pPr>
            <a:lvl5pPr marL="0" indent="0">
              <a:lnSpc>
                <a:spcPct val="90000"/>
              </a:lnSpc>
              <a:spcBef>
                <a:spcPts val="600"/>
              </a:spcBef>
              <a:buNone/>
              <a:defRPr sz="1600">
                <a:solidFill>
                  <a:schemeClr val="tx2"/>
                </a:solidFill>
                <a:latin typeface="+mn-lt"/>
              </a:defRPr>
            </a:lvl5pPr>
            <a:lvl6pPr marL="0" indent="0">
              <a:lnSpc>
                <a:spcPct val="90000"/>
              </a:lnSpc>
              <a:spcBef>
                <a:spcPts val="600"/>
              </a:spcBef>
              <a:buNone/>
              <a:defRPr sz="1600">
                <a:solidFill>
                  <a:schemeClr val="bg1"/>
                </a:solidFill>
                <a:latin typeface="+mn-lt"/>
              </a:defRPr>
            </a:lvl6pPr>
            <a:lvl7pPr marL="0" indent="0">
              <a:lnSpc>
                <a:spcPct val="90000"/>
              </a:lnSpc>
              <a:spcBef>
                <a:spcPts val="600"/>
              </a:spcBef>
              <a:buNone/>
              <a:defRPr sz="1400">
                <a:solidFill>
                  <a:schemeClr val="tx1"/>
                </a:solidFill>
                <a:latin typeface="+mn-lt"/>
              </a:defRPr>
            </a:lvl7pPr>
            <a:lvl8pPr marL="0" indent="0">
              <a:lnSpc>
                <a:spcPct val="90000"/>
              </a:lnSpc>
              <a:spcBef>
                <a:spcPts val="600"/>
              </a:spcBef>
              <a:buNone/>
              <a:defRPr sz="1400">
                <a:solidFill>
                  <a:schemeClr val="tx2"/>
                </a:solidFill>
                <a:latin typeface="+mn-lt"/>
              </a:defRPr>
            </a:lvl8pPr>
            <a:lvl9pPr marL="0" indent="0">
              <a:lnSpc>
                <a:spcPct val="90000"/>
              </a:lnSpc>
              <a:spcBef>
                <a:spcPts val="600"/>
              </a:spcBef>
              <a:buNone/>
              <a:defRPr sz="1400">
                <a:solidFill>
                  <a:schemeClr val="bg1"/>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Title 1">
            <a:extLst>
              <a:ext uri="{FF2B5EF4-FFF2-40B4-BE49-F238E27FC236}">
                <a16:creationId xmlns:a16="http://schemas.microsoft.com/office/drawing/2014/main" id="{7C15B895-13B1-4E62-A307-74EAE804FD2C}"/>
              </a:ext>
            </a:extLst>
          </p:cNvPr>
          <p:cNvSpPr>
            <a:spLocks noGrp="1"/>
          </p:cNvSpPr>
          <p:nvPr>
            <p:ph type="title"/>
          </p:nvPr>
        </p:nvSpPr>
        <p:spPr>
          <a:xfrm>
            <a:off x="719138" y="2339138"/>
            <a:ext cx="5286375" cy="1512000"/>
          </a:xfrm>
        </p:spPr>
        <p:txBody>
          <a:bodyPr anchor="b"/>
          <a:lstStyle>
            <a:lvl1pPr>
              <a:defRPr sz="4400">
                <a:solidFill>
                  <a:schemeClr val="tx2"/>
                </a:solidFill>
              </a:defRPr>
            </a:lvl1pPr>
            <a:lvl2pPr>
              <a:defRPr sz="4400">
                <a:solidFill>
                  <a:schemeClr val="tx1"/>
                </a:solidFill>
              </a:defRPr>
            </a:lvl2pPr>
            <a:lvl3pPr>
              <a:defRPr sz="4400">
                <a:solidFill>
                  <a:schemeClr val="bg1"/>
                </a:solidFill>
              </a:defRPr>
            </a:lvl3pPr>
            <a:lvl4pPr>
              <a:defRPr sz="4000">
                <a:solidFill>
                  <a:schemeClr val="tx2"/>
                </a:solidFill>
              </a:defRPr>
            </a:lvl4pPr>
            <a:lvl5pPr>
              <a:defRPr sz="4000"/>
            </a:lvl5pPr>
            <a:lvl6pPr>
              <a:defRPr sz="4000">
                <a:solidFill>
                  <a:schemeClr val="bg1"/>
                </a:solidFill>
              </a:defRPr>
            </a:lvl6pPr>
            <a:lvl7pPr>
              <a:defRPr sz="3600">
                <a:solidFill>
                  <a:schemeClr val="tx2"/>
                </a:solidFill>
              </a:defRPr>
            </a:lvl7pPr>
            <a:lvl8pPr>
              <a:defRPr sz="3600">
                <a:solidFill>
                  <a:schemeClr val="tx1"/>
                </a:solidFill>
              </a:defRPr>
            </a:lvl8pPr>
            <a:lvl9pPr>
              <a:defRPr sz="3600" i="0">
                <a:solidFill>
                  <a:schemeClr val="bg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391859399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Full Page Image and Quote Left">
    <p:bg>
      <p:bgPr>
        <a:solidFill>
          <a:schemeClr val="accent2"/>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91BA36D-9ACB-415D-AE80-9AE0A3D0B8C7}"/>
              </a:ext>
            </a:extLst>
          </p:cNvPr>
          <p:cNvSpPr>
            <a:spLocks noGrp="1"/>
          </p:cNvSpPr>
          <p:nvPr>
            <p:ph type="pic" sz="quarter" idx="10"/>
          </p:nvPr>
        </p:nvSpPr>
        <p:spPr>
          <a:xfrm>
            <a:off x="0" y="0"/>
            <a:ext cx="12192000" cy="6858000"/>
          </a:xfrm>
        </p:spPr>
        <p:txBody>
          <a:bodyPr/>
          <a:lstStyle/>
          <a:p>
            <a:r>
              <a:rPr lang="en-US"/>
              <a:t>Click icon to add picture</a:t>
            </a:r>
            <a:endParaRPr lang="en-GB" dirty="0"/>
          </a:p>
        </p:txBody>
      </p:sp>
      <p:sp>
        <p:nvSpPr>
          <p:cNvPr id="26" name="Text Placeholder 1">
            <a:extLst>
              <a:ext uri="{FF2B5EF4-FFF2-40B4-BE49-F238E27FC236}">
                <a16:creationId xmlns:a16="http://schemas.microsoft.com/office/drawing/2014/main" id="{EF86E853-2DAA-4563-A8E4-4FD02470765E}"/>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Quote Icon / Statistic">
            <a:extLst>
              <a:ext uri="{FF2B5EF4-FFF2-40B4-BE49-F238E27FC236}">
                <a16:creationId xmlns:a16="http://schemas.microsoft.com/office/drawing/2014/main" id="{0A708DFA-732A-4146-B4DA-F773CB057914}"/>
              </a:ext>
            </a:extLst>
          </p:cNvPr>
          <p:cNvSpPr>
            <a:spLocks noGrp="1" noChangeAspect="1"/>
          </p:cNvSpPr>
          <p:nvPr>
            <p:ph type="body" sz="quarter" idx="23" hasCustomPrompt="1"/>
          </p:nvPr>
        </p:nvSpPr>
        <p:spPr>
          <a:xfrm>
            <a:off x="719138" y="1248535"/>
            <a:ext cx="911225" cy="911225"/>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spTree>
    <p:extLst>
      <p:ext uri="{BB962C8B-B14F-4D97-AF65-F5344CB8AC3E}">
        <p14:creationId xmlns:p14="http://schemas.microsoft.com/office/powerpoint/2010/main" val="302641089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Full Page Image and Statistic Left">
    <p:bg>
      <p:bgPr>
        <a:solidFill>
          <a:schemeClr val="accent2"/>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91BA36D-9ACB-415D-AE80-9AE0A3D0B8C7}"/>
              </a:ext>
            </a:extLst>
          </p:cNvPr>
          <p:cNvSpPr>
            <a:spLocks noGrp="1"/>
          </p:cNvSpPr>
          <p:nvPr>
            <p:ph type="pic" sz="quarter" idx="10"/>
          </p:nvPr>
        </p:nvSpPr>
        <p:spPr>
          <a:xfrm>
            <a:off x="0" y="0"/>
            <a:ext cx="12192000" cy="6858000"/>
          </a:xfrm>
        </p:spPr>
        <p:txBody>
          <a:bodyPr/>
          <a:lstStyle/>
          <a:p>
            <a:r>
              <a:rPr lang="en-US"/>
              <a:t>Click icon to add picture</a:t>
            </a:r>
            <a:endParaRPr lang="en-GB" dirty="0"/>
          </a:p>
        </p:txBody>
      </p:sp>
      <p:sp>
        <p:nvSpPr>
          <p:cNvPr id="26" name="Text Placeholder 1">
            <a:extLst>
              <a:ext uri="{FF2B5EF4-FFF2-40B4-BE49-F238E27FC236}">
                <a16:creationId xmlns:a16="http://schemas.microsoft.com/office/drawing/2014/main" id="{EF86E853-2DAA-4563-A8E4-4FD02470765E}"/>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Quote Icon / Statistic">
            <a:extLst>
              <a:ext uri="{FF2B5EF4-FFF2-40B4-BE49-F238E27FC236}">
                <a16:creationId xmlns:a16="http://schemas.microsoft.com/office/drawing/2014/main" id="{0A708DFA-732A-4146-B4DA-F773CB057914}"/>
              </a:ext>
            </a:extLst>
          </p:cNvPr>
          <p:cNvSpPr>
            <a:spLocks noGrp="1" noChangeAspect="1"/>
          </p:cNvSpPr>
          <p:nvPr>
            <p:ph type="body" sz="quarter" idx="23" hasCustomPrompt="1"/>
          </p:nvPr>
        </p:nvSpPr>
        <p:spPr>
          <a:xfrm>
            <a:off x="719138" y="1096135"/>
            <a:ext cx="3005697" cy="1110112"/>
          </a:xfrm>
          <a:prstGeom prst="roundRect">
            <a:avLst>
              <a:gd name="adj" fmla="val 50000"/>
            </a:avLst>
          </a:prstGeom>
          <a:solidFill>
            <a:schemeClr val="accent3"/>
          </a:solidFill>
        </p:spPr>
        <p:txBody>
          <a:bodyPr wrap="none" lIns="108000" tIns="0" rIns="108000" bIns="0">
            <a:spAutoFit/>
          </a:bodyPr>
          <a:lstStyle>
            <a:lvl1pPr marL="0" indent="0" algn="l">
              <a:lnSpc>
                <a:spcPct val="95000"/>
              </a:lnSpc>
              <a:spcBef>
                <a:spcPts val="0"/>
              </a:spcBef>
              <a:buFont typeface="Arial" panose="020B0604020202020204" pitchFamily="34" charset="0"/>
              <a:buNone/>
              <a:defRPr sz="5400">
                <a:solidFill>
                  <a:schemeClr val="bg1"/>
                </a:solidFill>
                <a:latin typeface="+mj-lt"/>
              </a:defRPr>
            </a:lvl1pPr>
            <a:lvl2pPr marL="0" indent="0" algn="l">
              <a:lnSpc>
                <a:spcPct val="95000"/>
              </a:lnSpc>
              <a:spcBef>
                <a:spcPts val="0"/>
              </a:spcBef>
              <a:buNone/>
              <a:defRPr sz="4800">
                <a:solidFill>
                  <a:schemeClr val="bg1"/>
                </a:solidFill>
                <a:latin typeface="+mj-lt"/>
              </a:defRPr>
            </a:lvl2pPr>
            <a:lvl3pPr marL="0" indent="0" algn="l">
              <a:lnSpc>
                <a:spcPct val="95000"/>
              </a:lnSpc>
              <a:spcBef>
                <a:spcPts val="0"/>
              </a:spcBef>
              <a:buNone/>
              <a:defRPr sz="4400">
                <a:solidFill>
                  <a:schemeClr val="bg1"/>
                </a:solidFill>
                <a:latin typeface="+mj-lt"/>
              </a:defRPr>
            </a:lvl3pPr>
            <a:lvl4pPr marL="0" indent="0" algn="l">
              <a:lnSpc>
                <a:spcPct val="95000"/>
              </a:lnSpc>
              <a:spcBef>
                <a:spcPts val="0"/>
              </a:spcBef>
              <a:buNone/>
              <a:defRPr sz="4000">
                <a:solidFill>
                  <a:schemeClr val="bg1"/>
                </a:solidFill>
                <a:latin typeface="+mj-lt"/>
              </a:defRPr>
            </a:lvl4pPr>
            <a:lvl5pPr marL="0" indent="0" algn="l">
              <a:lnSpc>
                <a:spcPct val="95000"/>
              </a:lnSpc>
              <a:spcBef>
                <a:spcPts val="0"/>
              </a:spcBef>
              <a:buFont typeface="Arial" panose="020B0604020202020204" pitchFamily="34" charset="0"/>
              <a:buNone/>
              <a:defRPr sz="3600">
                <a:solidFill>
                  <a:schemeClr val="bg1"/>
                </a:solidFill>
                <a:latin typeface="+mj-lt"/>
              </a:defRPr>
            </a:lvl5pPr>
            <a:lvl6pPr marL="0" indent="0" algn="l">
              <a:lnSpc>
                <a:spcPct val="95000"/>
              </a:lnSpc>
              <a:spcBef>
                <a:spcPts val="0"/>
              </a:spcBef>
              <a:buFont typeface="Arial" panose="020B0604020202020204" pitchFamily="34" charset="0"/>
              <a:buNone/>
              <a:defRPr sz="3200">
                <a:solidFill>
                  <a:schemeClr val="bg1"/>
                </a:solidFill>
                <a:latin typeface="+mj-lt"/>
              </a:defRPr>
            </a:lvl6pPr>
            <a:lvl7pPr marL="0" indent="0" algn="l">
              <a:lnSpc>
                <a:spcPct val="95000"/>
              </a:lnSpc>
              <a:spcBef>
                <a:spcPts val="0"/>
              </a:spcBef>
              <a:buFont typeface="Arial" panose="020B0604020202020204" pitchFamily="34" charset="0"/>
              <a:buNone/>
              <a:defRPr sz="6600">
                <a:solidFill>
                  <a:schemeClr val="bg1"/>
                </a:solidFill>
                <a:latin typeface="+mj-lt"/>
              </a:defRPr>
            </a:lvl7pPr>
            <a:lvl8pPr marL="0" indent="0" algn="l">
              <a:lnSpc>
                <a:spcPct val="95000"/>
              </a:lnSpc>
              <a:spcBef>
                <a:spcPts val="0"/>
              </a:spcBef>
              <a:buFont typeface="Arial" panose="020B0604020202020204" pitchFamily="34" charset="0"/>
              <a:buNone/>
              <a:defRPr sz="7200">
                <a:solidFill>
                  <a:schemeClr val="bg1"/>
                </a:solidFill>
                <a:latin typeface="+mj-lt"/>
              </a:defRPr>
            </a:lvl8pPr>
            <a:lvl9pPr marL="0" indent="0" algn="l">
              <a:lnSpc>
                <a:spcPct val="95000"/>
              </a:lnSpc>
              <a:spcBef>
                <a:spcPts val="0"/>
              </a:spcBef>
              <a:buFont typeface="Arial" panose="020B0604020202020204" pitchFamily="34" charset="0"/>
              <a:buNone/>
              <a:defRPr sz="8800">
                <a:solidFill>
                  <a:schemeClr val="bg1"/>
                </a:solidFill>
                <a:latin typeface="+mj-lt"/>
              </a:defRPr>
            </a:lvl9pPr>
          </a:lstStyle>
          <a:p>
            <a:pPr lvl="0"/>
            <a:r>
              <a:rPr lang="en-GB" dirty="0"/>
              <a:t>Statistic</a:t>
            </a:r>
          </a:p>
        </p:txBody>
      </p:sp>
    </p:spTree>
    <p:extLst>
      <p:ext uri="{BB962C8B-B14F-4D97-AF65-F5344CB8AC3E}">
        <p14:creationId xmlns:p14="http://schemas.microsoft.com/office/powerpoint/2010/main" val="334865280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Full Page Image and Quote Right">
    <p:bg>
      <p:bgPr>
        <a:solidFill>
          <a:schemeClr val="accent1"/>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91BA36D-9ACB-415D-AE80-9AE0A3D0B8C7}"/>
              </a:ext>
            </a:extLst>
          </p:cNvPr>
          <p:cNvSpPr>
            <a:spLocks noGrp="1"/>
          </p:cNvSpPr>
          <p:nvPr>
            <p:ph type="pic" sz="quarter" idx="10"/>
          </p:nvPr>
        </p:nvSpPr>
        <p:spPr>
          <a:xfrm>
            <a:off x="0" y="0"/>
            <a:ext cx="12192000" cy="6858000"/>
          </a:xfrm>
        </p:spPr>
        <p:txBody>
          <a:bodyPr/>
          <a:lstStyle/>
          <a:p>
            <a:r>
              <a:rPr lang="en-US"/>
              <a:t>Click icon to add picture</a:t>
            </a:r>
            <a:endParaRPr lang="en-GB" dirty="0"/>
          </a:p>
        </p:txBody>
      </p:sp>
      <p:sp>
        <p:nvSpPr>
          <p:cNvPr id="8" name="Text Placeholder 1">
            <a:extLst>
              <a:ext uri="{FF2B5EF4-FFF2-40B4-BE49-F238E27FC236}">
                <a16:creationId xmlns:a16="http://schemas.microsoft.com/office/drawing/2014/main" id="{7AAF25B9-D5C1-4B45-B947-F46BBB2734D0}"/>
              </a:ext>
            </a:extLst>
          </p:cNvPr>
          <p:cNvSpPr>
            <a:spLocks noGrp="1"/>
          </p:cNvSpPr>
          <p:nvPr>
            <p:ph type="body" sz="quarter" idx="11"/>
          </p:nvPr>
        </p:nvSpPr>
        <p:spPr>
          <a:xfrm>
            <a:off x="6184900"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Quote Icon">
            <a:extLst>
              <a:ext uri="{FF2B5EF4-FFF2-40B4-BE49-F238E27FC236}">
                <a16:creationId xmlns:a16="http://schemas.microsoft.com/office/drawing/2014/main" id="{AE908A02-8ECE-4103-A82B-C66FB3871F13}"/>
              </a:ext>
            </a:extLst>
          </p:cNvPr>
          <p:cNvSpPr>
            <a:spLocks noGrp="1" noChangeAspect="1"/>
          </p:cNvSpPr>
          <p:nvPr>
            <p:ph type="body" sz="quarter" idx="23" hasCustomPrompt="1"/>
          </p:nvPr>
        </p:nvSpPr>
        <p:spPr>
          <a:xfrm>
            <a:off x="6184900" y="1248535"/>
            <a:ext cx="911225" cy="911225"/>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spTree>
    <p:extLst>
      <p:ext uri="{BB962C8B-B14F-4D97-AF65-F5344CB8AC3E}">
        <p14:creationId xmlns:p14="http://schemas.microsoft.com/office/powerpoint/2010/main" val="10235590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11" name="Content Placeholder 4">
            <a:extLst>
              <a:ext uri="{FF2B5EF4-FFF2-40B4-BE49-F238E27FC236}">
                <a16:creationId xmlns:a16="http://schemas.microsoft.com/office/drawing/2014/main" id="{3412C500-9DEE-4B4E-9124-5BC82CD83A06}"/>
              </a:ext>
            </a:extLst>
          </p:cNvPr>
          <p:cNvSpPr>
            <a:spLocks noGrp="1"/>
          </p:cNvSpPr>
          <p:nvPr>
            <p:ph idx="15"/>
          </p:nvPr>
        </p:nvSpPr>
        <p:spPr>
          <a:xfrm>
            <a:off x="8920163" y="2128838"/>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Content Placeholder 3">
            <a:extLst>
              <a:ext uri="{FF2B5EF4-FFF2-40B4-BE49-F238E27FC236}">
                <a16:creationId xmlns:a16="http://schemas.microsoft.com/office/drawing/2014/main" id="{4AFBE9CC-2E62-44F7-9676-1DB02B6D2CA6}"/>
              </a:ext>
            </a:extLst>
          </p:cNvPr>
          <p:cNvSpPr>
            <a:spLocks noGrp="1"/>
          </p:cNvSpPr>
          <p:nvPr>
            <p:ph idx="14"/>
          </p:nvPr>
        </p:nvSpPr>
        <p:spPr>
          <a:xfrm>
            <a:off x="6186489" y="2128838"/>
            <a:ext cx="2551111"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a:extLst>
              <a:ext uri="{FF2B5EF4-FFF2-40B4-BE49-F238E27FC236}">
                <a16:creationId xmlns:a16="http://schemas.microsoft.com/office/drawing/2014/main" id="{28B95683-4728-454F-9D21-B5AEAD2747AC}"/>
              </a:ext>
            </a:extLst>
          </p:cNvPr>
          <p:cNvSpPr>
            <a:spLocks noGrp="1"/>
          </p:cNvSpPr>
          <p:nvPr>
            <p:ph idx="13"/>
          </p:nvPr>
        </p:nvSpPr>
        <p:spPr>
          <a:xfrm>
            <a:off x="3452814" y="2128838"/>
            <a:ext cx="2552699"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Content Placeholder 1">
            <a:extLst>
              <a:ext uri="{FF2B5EF4-FFF2-40B4-BE49-F238E27FC236}">
                <a16:creationId xmlns:a16="http://schemas.microsoft.com/office/drawing/2014/main" id="{85F61ABC-3816-4AC1-A544-0A0D261A35E6}"/>
              </a:ext>
            </a:extLst>
          </p:cNvPr>
          <p:cNvSpPr>
            <a:spLocks noGrp="1"/>
          </p:cNvSpPr>
          <p:nvPr>
            <p:ph idx="1"/>
          </p:nvPr>
        </p:nvSpPr>
        <p:spPr>
          <a:xfrm>
            <a:off x="719139" y="2128838"/>
            <a:ext cx="2552700" cy="4006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Subtitle 1">
            <a:extLst>
              <a:ext uri="{FF2B5EF4-FFF2-40B4-BE49-F238E27FC236}">
                <a16:creationId xmlns:a16="http://schemas.microsoft.com/office/drawing/2014/main" id="{7432DB80-7D36-4DB6-8299-BCD87128A882}"/>
              </a:ext>
            </a:extLst>
          </p:cNvPr>
          <p:cNvSpPr>
            <a:spLocks noGrp="1"/>
          </p:cNvSpPr>
          <p:nvPr>
            <p:ph type="subTitle" idx="12"/>
          </p:nvPr>
        </p:nvSpPr>
        <p:spPr>
          <a:xfrm>
            <a:off x="719138" y="1266739"/>
            <a:ext cx="10752136" cy="756000"/>
          </a:xfrm>
        </p:spPr>
        <p:txBody>
          <a:bodyPr>
            <a:noAutofit/>
          </a:bodyPr>
          <a:lstStyle>
            <a:lvl1pPr marL="0" indent="0" algn="l">
              <a:lnSpc>
                <a:spcPct val="100000"/>
              </a:lnSpc>
              <a:spcBef>
                <a:spcPts val="0"/>
              </a:spcBef>
              <a:buNone/>
              <a:defRPr sz="2400" i="1">
                <a:solidFill>
                  <a:schemeClr val="tx2"/>
                </a:solidFill>
                <a:latin typeface="+mj-lt"/>
              </a:defRPr>
            </a:lvl1pPr>
            <a:lvl2pPr marL="0" indent="0" algn="l">
              <a:lnSpc>
                <a:spcPct val="100000"/>
              </a:lnSpc>
              <a:spcBef>
                <a:spcPts val="0"/>
              </a:spcBef>
              <a:buNone/>
              <a:defRPr sz="2400" i="1">
                <a:solidFill>
                  <a:schemeClr val="tx1"/>
                </a:solidFill>
                <a:latin typeface="+mj-lt"/>
              </a:defRPr>
            </a:lvl2pPr>
            <a:lvl3pPr marL="0" indent="0" algn="l">
              <a:lnSpc>
                <a:spcPct val="100000"/>
              </a:lnSpc>
              <a:spcBef>
                <a:spcPts val="0"/>
              </a:spcBef>
              <a:buNone/>
              <a:defRPr sz="2400" i="1">
                <a:solidFill>
                  <a:schemeClr val="bg1"/>
                </a:solidFill>
                <a:latin typeface="+mj-lt"/>
              </a:defRPr>
            </a:lvl3pPr>
            <a:lvl4pPr marL="0" indent="0" algn="l">
              <a:lnSpc>
                <a:spcPct val="100000"/>
              </a:lnSpc>
              <a:spcBef>
                <a:spcPts val="0"/>
              </a:spcBef>
              <a:buNone/>
              <a:defRPr sz="2000" i="1">
                <a:solidFill>
                  <a:srgbClr val="005C83"/>
                </a:solidFill>
                <a:latin typeface="+mj-lt"/>
              </a:defRPr>
            </a:lvl4pPr>
            <a:lvl5pPr marL="0" indent="0" algn="l">
              <a:lnSpc>
                <a:spcPct val="100000"/>
              </a:lnSpc>
              <a:spcBef>
                <a:spcPts val="0"/>
              </a:spcBef>
              <a:buNone/>
              <a:defRPr sz="2000" i="1">
                <a:solidFill>
                  <a:schemeClr val="tx1"/>
                </a:solidFill>
                <a:latin typeface="+mj-lt"/>
              </a:defRPr>
            </a:lvl5pPr>
            <a:lvl6pPr marL="0" indent="0" algn="l">
              <a:lnSpc>
                <a:spcPct val="100000"/>
              </a:lnSpc>
              <a:spcBef>
                <a:spcPts val="0"/>
              </a:spcBef>
              <a:buNone/>
              <a:defRPr sz="2000" i="1">
                <a:solidFill>
                  <a:schemeClr val="bg1"/>
                </a:solidFill>
                <a:latin typeface="+mj-lt"/>
              </a:defRPr>
            </a:lvl6pPr>
            <a:lvl7pPr marL="0" indent="0" algn="l">
              <a:lnSpc>
                <a:spcPct val="100000"/>
              </a:lnSpc>
              <a:spcBef>
                <a:spcPts val="0"/>
              </a:spcBef>
              <a:buNone/>
              <a:defRPr sz="1800" i="1">
                <a:solidFill>
                  <a:schemeClr val="tx2"/>
                </a:solidFill>
                <a:latin typeface="+mj-lt"/>
              </a:defRPr>
            </a:lvl7pPr>
            <a:lvl8pPr marL="0" indent="0" algn="l">
              <a:lnSpc>
                <a:spcPct val="100000"/>
              </a:lnSpc>
              <a:spcBef>
                <a:spcPts val="0"/>
              </a:spcBef>
              <a:buNone/>
              <a:defRPr sz="1800" i="1">
                <a:solidFill>
                  <a:schemeClr val="tx1"/>
                </a:solidFill>
                <a:latin typeface="+mj-lt"/>
              </a:defRPr>
            </a:lvl8pPr>
            <a:lvl9pPr marL="0" indent="0" algn="l">
              <a:lnSpc>
                <a:spcPct val="100000"/>
              </a:lnSpc>
              <a:spcBef>
                <a:spcPts val="0"/>
              </a:spcBef>
              <a:buNone/>
              <a:defRPr sz="1800" i="1">
                <a:solidFill>
                  <a:schemeClr val="bg1"/>
                </a:solidFill>
                <a:latin typeface="+mj-lt"/>
              </a:defRPr>
            </a:lvl9pPr>
          </a:lstStyle>
          <a:p>
            <a:pPr lvl="0"/>
            <a:r>
              <a:rPr lang="en-US"/>
              <a:t>Click to edit Master subtitle sty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10752138" cy="720000"/>
          </a:xfrm>
        </p:spPr>
        <p:txBody>
          <a:bodyPr/>
          <a:lstStyle/>
          <a:p>
            <a:pPr lvl="0"/>
            <a:r>
              <a:rPr lang="en-US"/>
              <a:t>Click to edit Master title style</a:t>
            </a:r>
            <a:endParaRPr lang="en-GB" dirty="0"/>
          </a:p>
        </p:txBody>
      </p:sp>
    </p:spTree>
    <p:extLst>
      <p:ext uri="{BB962C8B-B14F-4D97-AF65-F5344CB8AC3E}">
        <p14:creationId xmlns:p14="http://schemas.microsoft.com/office/powerpoint/2010/main" val="1758928262"/>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Full Page Image and Statistic Right">
    <p:bg>
      <p:bgPr>
        <a:solidFill>
          <a:schemeClr val="accent1"/>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91BA36D-9ACB-415D-AE80-9AE0A3D0B8C7}"/>
              </a:ext>
            </a:extLst>
          </p:cNvPr>
          <p:cNvSpPr>
            <a:spLocks noGrp="1"/>
          </p:cNvSpPr>
          <p:nvPr>
            <p:ph type="pic" sz="quarter" idx="10"/>
          </p:nvPr>
        </p:nvSpPr>
        <p:spPr>
          <a:xfrm>
            <a:off x="0" y="0"/>
            <a:ext cx="12192000" cy="6858000"/>
          </a:xfrm>
        </p:spPr>
        <p:txBody>
          <a:bodyPr/>
          <a:lstStyle/>
          <a:p>
            <a:r>
              <a:rPr lang="en-US"/>
              <a:t>Click icon to add picture</a:t>
            </a:r>
            <a:endParaRPr lang="en-GB" dirty="0"/>
          </a:p>
        </p:txBody>
      </p:sp>
      <p:sp>
        <p:nvSpPr>
          <p:cNvPr id="8" name="Text Placeholder 1">
            <a:extLst>
              <a:ext uri="{FF2B5EF4-FFF2-40B4-BE49-F238E27FC236}">
                <a16:creationId xmlns:a16="http://schemas.microsoft.com/office/drawing/2014/main" id="{7AAF25B9-D5C1-4B45-B947-F46BBB2734D0}"/>
              </a:ext>
            </a:extLst>
          </p:cNvPr>
          <p:cNvSpPr>
            <a:spLocks noGrp="1"/>
          </p:cNvSpPr>
          <p:nvPr>
            <p:ph type="body" sz="quarter" idx="11"/>
          </p:nvPr>
        </p:nvSpPr>
        <p:spPr>
          <a:xfrm>
            <a:off x="6184900"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Quote Icon / Statistic">
            <a:extLst>
              <a:ext uri="{FF2B5EF4-FFF2-40B4-BE49-F238E27FC236}">
                <a16:creationId xmlns:a16="http://schemas.microsoft.com/office/drawing/2014/main" id="{32ED2ED7-DFF0-490A-B1BF-4CFE506929CE}"/>
              </a:ext>
            </a:extLst>
          </p:cNvPr>
          <p:cNvSpPr>
            <a:spLocks noGrp="1" noChangeAspect="1"/>
          </p:cNvSpPr>
          <p:nvPr>
            <p:ph type="body" sz="quarter" idx="24" hasCustomPrompt="1"/>
          </p:nvPr>
        </p:nvSpPr>
        <p:spPr>
          <a:xfrm>
            <a:off x="6184900" y="1096135"/>
            <a:ext cx="3005697" cy="1110112"/>
          </a:xfrm>
          <a:prstGeom prst="roundRect">
            <a:avLst>
              <a:gd name="adj" fmla="val 50000"/>
            </a:avLst>
          </a:prstGeom>
          <a:solidFill>
            <a:schemeClr val="accent2"/>
          </a:solidFill>
        </p:spPr>
        <p:txBody>
          <a:bodyPr wrap="none" lIns="108000" tIns="0" rIns="108000" bIns="0">
            <a:spAutoFit/>
          </a:bodyPr>
          <a:lstStyle>
            <a:lvl1pPr marL="0" indent="0" algn="l">
              <a:lnSpc>
                <a:spcPct val="95000"/>
              </a:lnSpc>
              <a:spcBef>
                <a:spcPts val="0"/>
              </a:spcBef>
              <a:buFont typeface="Arial" panose="020B0604020202020204" pitchFamily="34" charset="0"/>
              <a:buNone/>
              <a:defRPr sz="5400">
                <a:solidFill>
                  <a:schemeClr val="bg1"/>
                </a:solidFill>
                <a:latin typeface="+mj-lt"/>
              </a:defRPr>
            </a:lvl1pPr>
            <a:lvl2pPr marL="0" indent="0" algn="l">
              <a:lnSpc>
                <a:spcPct val="95000"/>
              </a:lnSpc>
              <a:spcBef>
                <a:spcPts val="0"/>
              </a:spcBef>
              <a:buNone/>
              <a:defRPr sz="4800">
                <a:solidFill>
                  <a:schemeClr val="bg1"/>
                </a:solidFill>
                <a:latin typeface="+mj-lt"/>
              </a:defRPr>
            </a:lvl2pPr>
            <a:lvl3pPr marL="0" indent="0" algn="l">
              <a:lnSpc>
                <a:spcPct val="95000"/>
              </a:lnSpc>
              <a:spcBef>
                <a:spcPts val="0"/>
              </a:spcBef>
              <a:buNone/>
              <a:defRPr sz="4400">
                <a:solidFill>
                  <a:schemeClr val="bg1"/>
                </a:solidFill>
                <a:latin typeface="+mj-lt"/>
              </a:defRPr>
            </a:lvl3pPr>
            <a:lvl4pPr marL="0" indent="0" algn="l">
              <a:lnSpc>
                <a:spcPct val="95000"/>
              </a:lnSpc>
              <a:spcBef>
                <a:spcPts val="0"/>
              </a:spcBef>
              <a:buNone/>
              <a:defRPr sz="4000">
                <a:solidFill>
                  <a:schemeClr val="bg1"/>
                </a:solidFill>
                <a:latin typeface="+mj-lt"/>
              </a:defRPr>
            </a:lvl4pPr>
            <a:lvl5pPr marL="0" indent="0" algn="l">
              <a:lnSpc>
                <a:spcPct val="95000"/>
              </a:lnSpc>
              <a:spcBef>
                <a:spcPts val="0"/>
              </a:spcBef>
              <a:buFont typeface="Arial" panose="020B0604020202020204" pitchFamily="34" charset="0"/>
              <a:buNone/>
              <a:defRPr sz="3600">
                <a:solidFill>
                  <a:schemeClr val="bg1"/>
                </a:solidFill>
                <a:latin typeface="+mj-lt"/>
              </a:defRPr>
            </a:lvl5pPr>
            <a:lvl6pPr marL="0" indent="0" algn="l">
              <a:lnSpc>
                <a:spcPct val="95000"/>
              </a:lnSpc>
              <a:spcBef>
                <a:spcPts val="0"/>
              </a:spcBef>
              <a:buFont typeface="Arial" panose="020B0604020202020204" pitchFamily="34" charset="0"/>
              <a:buNone/>
              <a:defRPr sz="3200">
                <a:solidFill>
                  <a:schemeClr val="bg1"/>
                </a:solidFill>
                <a:latin typeface="+mj-lt"/>
              </a:defRPr>
            </a:lvl6pPr>
            <a:lvl7pPr marL="0" indent="0" algn="l">
              <a:lnSpc>
                <a:spcPct val="95000"/>
              </a:lnSpc>
              <a:spcBef>
                <a:spcPts val="0"/>
              </a:spcBef>
              <a:buFont typeface="Arial" panose="020B0604020202020204" pitchFamily="34" charset="0"/>
              <a:buNone/>
              <a:defRPr sz="6600">
                <a:solidFill>
                  <a:schemeClr val="bg1"/>
                </a:solidFill>
                <a:latin typeface="+mj-lt"/>
              </a:defRPr>
            </a:lvl7pPr>
            <a:lvl8pPr marL="0" indent="0" algn="l">
              <a:lnSpc>
                <a:spcPct val="95000"/>
              </a:lnSpc>
              <a:spcBef>
                <a:spcPts val="0"/>
              </a:spcBef>
              <a:buFont typeface="Arial" panose="020B0604020202020204" pitchFamily="34" charset="0"/>
              <a:buNone/>
              <a:defRPr sz="7200">
                <a:solidFill>
                  <a:schemeClr val="bg1"/>
                </a:solidFill>
                <a:latin typeface="+mj-lt"/>
              </a:defRPr>
            </a:lvl8pPr>
            <a:lvl9pPr marL="0" indent="0" algn="l">
              <a:lnSpc>
                <a:spcPct val="95000"/>
              </a:lnSpc>
              <a:spcBef>
                <a:spcPts val="0"/>
              </a:spcBef>
              <a:buFont typeface="Arial" panose="020B0604020202020204" pitchFamily="34" charset="0"/>
              <a:buNone/>
              <a:defRPr sz="8800">
                <a:solidFill>
                  <a:schemeClr val="bg1"/>
                </a:solidFill>
                <a:latin typeface="+mj-lt"/>
              </a:defRPr>
            </a:lvl9pPr>
          </a:lstStyle>
          <a:p>
            <a:pPr lvl="0"/>
            <a:r>
              <a:rPr lang="en-GB" dirty="0"/>
              <a:t>Statistic</a:t>
            </a:r>
          </a:p>
        </p:txBody>
      </p:sp>
    </p:spTree>
    <p:extLst>
      <p:ext uri="{BB962C8B-B14F-4D97-AF65-F5344CB8AC3E}">
        <p14:creationId xmlns:p14="http://schemas.microsoft.com/office/powerpoint/2010/main" val="121690883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Quote Left 1">
    <p:bg>
      <p:bgPr>
        <a:solidFill>
          <a:schemeClr val="accent3"/>
        </a:solidFill>
        <a:effectLst/>
      </p:bgPr>
    </p:bg>
    <p:spTree>
      <p:nvGrpSpPr>
        <p:cNvPr id="1" name=""/>
        <p:cNvGrpSpPr/>
        <p:nvPr/>
      </p:nvGrpSpPr>
      <p:grpSpPr>
        <a:xfrm>
          <a:off x="0" y="0"/>
          <a:ext cx="0" cy="0"/>
          <a:chOff x="0" y="0"/>
          <a:chExt cx="0" cy="0"/>
        </a:xfrm>
      </p:grpSpPr>
      <p:sp>
        <p:nvSpPr>
          <p:cNvPr id="8" name="Text Placeholder 1">
            <a:extLst>
              <a:ext uri="{FF2B5EF4-FFF2-40B4-BE49-F238E27FC236}">
                <a16:creationId xmlns:a16="http://schemas.microsoft.com/office/drawing/2014/main" id="{7AAF25B9-D5C1-4B45-B947-F46BBB2734D0}"/>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DB0DF5AF-785B-410F-8E37-F16261A2AD7F}"/>
              </a:ext>
            </a:extLst>
          </p:cNvPr>
          <p:cNvSpPr>
            <a:spLocks noGrp="1"/>
          </p:cNvSpPr>
          <p:nvPr>
            <p:ph type="dt" sz="half" idx="12"/>
          </p:nvPr>
        </p:nvSpPr>
        <p:spPr/>
        <p:txBody>
          <a:bodyPr/>
          <a:lstStyle/>
          <a:p>
            <a:r>
              <a:rPr lang="en-US" noProof="0"/>
              <a:t>dd Month 2021</a:t>
            </a:r>
            <a:endParaRPr lang="en-GB" noProof="0" dirty="0"/>
          </a:p>
        </p:txBody>
      </p:sp>
      <p:sp>
        <p:nvSpPr>
          <p:cNvPr id="3" name="Footer Placeholder 2">
            <a:extLst>
              <a:ext uri="{FF2B5EF4-FFF2-40B4-BE49-F238E27FC236}">
                <a16:creationId xmlns:a16="http://schemas.microsoft.com/office/drawing/2014/main" id="{D398C86D-0C6D-4C90-91FF-A419483EF3B8}"/>
              </a:ext>
            </a:extLst>
          </p:cNvPr>
          <p:cNvSpPr>
            <a:spLocks noGrp="1"/>
          </p:cNvSpPr>
          <p:nvPr>
            <p:ph type="ftr" sz="quarter" idx="13"/>
          </p:nvPr>
        </p:nvSpPr>
        <p:spPr/>
        <p:txBody>
          <a:bodyPr/>
          <a:lstStyle/>
          <a:p>
            <a:r>
              <a:rPr lang="en-GB" noProof="0"/>
              <a:t>Update Footer to add the Document title</a:t>
            </a:r>
            <a:endParaRPr lang="en-GB" noProof="0" dirty="0"/>
          </a:p>
        </p:txBody>
      </p:sp>
      <p:sp>
        <p:nvSpPr>
          <p:cNvPr id="24" name="Quote Icon">
            <a:extLst>
              <a:ext uri="{FF2B5EF4-FFF2-40B4-BE49-F238E27FC236}">
                <a16:creationId xmlns:a16="http://schemas.microsoft.com/office/drawing/2014/main" id="{66346173-DA66-4D9F-9D8B-CA03323AD95F}"/>
              </a:ext>
            </a:extLst>
          </p:cNvPr>
          <p:cNvSpPr>
            <a:spLocks noGrp="1" noChangeAspect="1"/>
          </p:cNvSpPr>
          <p:nvPr>
            <p:ph type="body" sz="quarter" idx="23" hasCustomPrompt="1"/>
          </p:nvPr>
        </p:nvSpPr>
        <p:spPr>
          <a:xfrm>
            <a:off x="719138" y="1248535"/>
            <a:ext cx="911225" cy="911225"/>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grpSp>
        <p:nvGrpSpPr>
          <p:cNvPr id="16" name="Group 15">
            <a:extLst>
              <a:ext uri="{FF2B5EF4-FFF2-40B4-BE49-F238E27FC236}">
                <a16:creationId xmlns:a16="http://schemas.microsoft.com/office/drawing/2014/main" id="{74580E24-C8C1-44DD-9DAF-8C9F2AB5AEE9}"/>
              </a:ext>
            </a:extLst>
          </p:cNvPr>
          <p:cNvGrpSpPr/>
          <p:nvPr userDrawn="1"/>
        </p:nvGrpSpPr>
        <p:grpSpPr>
          <a:xfrm>
            <a:off x="7547448" y="0"/>
            <a:ext cx="4612546" cy="6857999"/>
            <a:chOff x="7547448" y="0"/>
            <a:chExt cx="4612546" cy="6857999"/>
          </a:xfrm>
        </p:grpSpPr>
        <p:sp>
          <p:nvSpPr>
            <p:cNvPr id="15" name="Freeform: Shape 14">
              <a:extLst>
                <a:ext uri="{FF2B5EF4-FFF2-40B4-BE49-F238E27FC236}">
                  <a16:creationId xmlns:a16="http://schemas.microsoft.com/office/drawing/2014/main" id="{DC30B9A7-E7FE-4E69-BB7A-2A29A20473C1}"/>
                </a:ext>
              </a:extLst>
            </p:cNvPr>
            <p:cNvSpPr/>
            <p:nvPr/>
          </p:nvSpPr>
          <p:spPr>
            <a:xfrm>
              <a:off x="11055703" y="4874145"/>
              <a:ext cx="1104291" cy="1983854"/>
            </a:xfrm>
            <a:custGeom>
              <a:avLst/>
              <a:gdLst>
                <a:gd name="connsiteX0" fmla="*/ 235485 w 1104291"/>
                <a:gd name="connsiteY0" fmla="*/ 47612 h 1983854"/>
                <a:gd name="connsiteX1" fmla="*/ 47614 w 1104291"/>
                <a:gd name="connsiteY1" fmla="*/ 31222 h 1983854"/>
                <a:gd name="connsiteX2" fmla="*/ 26189 w 1104291"/>
                <a:gd name="connsiteY2" fmla="*/ 212712 h 1983854"/>
                <a:gd name="connsiteX3" fmla="*/ 816891 w 1104291"/>
                <a:gd name="connsiteY3" fmla="*/ 1909940 h 1983854"/>
                <a:gd name="connsiteX4" fmla="*/ 832131 w 1104291"/>
                <a:gd name="connsiteY4" fmla="*/ 1983854 h 1983854"/>
                <a:gd name="connsiteX5" fmla="*/ 1104292 w 1104291"/>
                <a:gd name="connsiteY5" fmla="*/ 1983854 h 1983854"/>
                <a:gd name="connsiteX6" fmla="*/ 1077368 w 1104291"/>
                <a:gd name="connsiteY6" fmla="*/ 1853171 h 1983854"/>
                <a:gd name="connsiteX7" fmla="*/ 235485 w 1104291"/>
                <a:gd name="connsiteY7" fmla="*/ 47612 h 1983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4291" h="1983854">
                  <a:moveTo>
                    <a:pt x="235485" y="47612"/>
                  </a:moveTo>
                  <a:cubicBezTo>
                    <a:pt x="188132" y="-8793"/>
                    <a:pt x="104019" y="-16131"/>
                    <a:pt x="47614" y="31222"/>
                  </a:cubicBezTo>
                  <a:cubicBezTo>
                    <a:pt x="-6375" y="76547"/>
                    <a:pt x="-15761" y="156062"/>
                    <a:pt x="26189" y="212712"/>
                  </a:cubicBezTo>
                  <a:cubicBezTo>
                    <a:pt x="412396" y="701154"/>
                    <a:pt x="677826" y="1272654"/>
                    <a:pt x="816891" y="1909940"/>
                  </a:cubicBezTo>
                  <a:cubicBezTo>
                    <a:pt x="822225" y="1934578"/>
                    <a:pt x="827178" y="1959216"/>
                    <a:pt x="832131" y="1983854"/>
                  </a:cubicBezTo>
                  <a:lnTo>
                    <a:pt x="1104292" y="1983854"/>
                  </a:lnTo>
                  <a:cubicBezTo>
                    <a:pt x="1095826" y="1940335"/>
                    <a:pt x="1086851" y="1896774"/>
                    <a:pt x="1077368" y="1853171"/>
                  </a:cubicBezTo>
                  <a:cubicBezTo>
                    <a:pt x="929667" y="1175245"/>
                    <a:pt x="646330" y="567804"/>
                    <a:pt x="235485" y="47612"/>
                  </a:cubicBezTo>
                  <a:close/>
                </a:path>
              </a:pathLst>
            </a:custGeom>
            <a:solidFill>
              <a:srgbClr val="005C82"/>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6330B80F-5F39-4055-89EE-8B57F2F12126}"/>
                </a:ext>
              </a:extLst>
            </p:cNvPr>
            <p:cNvSpPr/>
            <p:nvPr/>
          </p:nvSpPr>
          <p:spPr>
            <a:xfrm>
              <a:off x="7547448" y="0"/>
              <a:ext cx="3764842" cy="5122882"/>
            </a:xfrm>
            <a:custGeom>
              <a:avLst/>
              <a:gdLst>
                <a:gd name="connsiteX0" fmla="*/ 42960 w 3764842"/>
                <a:gd name="connsiteY0" fmla="*/ 3013837 h 5122882"/>
                <a:gd name="connsiteX1" fmla="*/ 35311 w 3764842"/>
                <a:gd name="connsiteY1" fmla="*/ 3202267 h 5122882"/>
                <a:gd name="connsiteX2" fmla="*/ 119160 w 3764842"/>
                <a:gd name="connsiteY2" fmla="*/ 3244469 h 5122882"/>
                <a:gd name="connsiteX3" fmla="*/ 1354108 w 3764842"/>
                <a:gd name="connsiteY3" fmla="*/ 3562858 h 5122882"/>
                <a:gd name="connsiteX4" fmla="*/ 3527078 w 3764842"/>
                <a:gd name="connsiteY4" fmla="*/ 5072507 h 5122882"/>
                <a:gd name="connsiteX5" fmla="*/ 3714467 w 3764842"/>
                <a:gd name="connsiteY5" fmla="*/ 5093907 h 5122882"/>
                <a:gd name="connsiteX6" fmla="*/ 3735866 w 3764842"/>
                <a:gd name="connsiteY6" fmla="*/ 4906518 h 5122882"/>
                <a:gd name="connsiteX7" fmla="*/ 1439579 w 3764842"/>
                <a:gd name="connsiteY7" fmla="*/ 3310255 h 5122882"/>
                <a:gd name="connsiteX8" fmla="*/ 413165 w 3764842"/>
                <a:gd name="connsiteY8" fmla="*/ 3021457 h 5122882"/>
                <a:gd name="connsiteX9" fmla="*/ 1059595 w 3764842"/>
                <a:gd name="connsiteY9" fmla="*/ 1857502 h 5122882"/>
                <a:gd name="connsiteX10" fmla="*/ 972219 w 3764842"/>
                <a:gd name="connsiteY10" fmla="*/ 513461 h 5122882"/>
                <a:gd name="connsiteX11" fmla="*/ 698914 w 3764842"/>
                <a:gd name="connsiteY11" fmla="*/ 0 h 5122882"/>
                <a:gd name="connsiteX12" fmla="*/ 361222 w 3764842"/>
                <a:gd name="connsiteY12" fmla="*/ 0 h 5122882"/>
                <a:gd name="connsiteX13" fmla="*/ 723172 w 3764842"/>
                <a:gd name="connsiteY13" fmla="*/ 608838 h 5122882"/>
                <a:gd name="connsiteX14" fmla="*/ 42960 w 3764842"/>
                <a:gd name="connsiteY14" fmla="*/ 3013837 h 512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64842" h="5122882">
                  <a:moveTo>
                    <a:pt x="42960" y="3013837"/>
                  </a:moveTo>
                  <a:cubicBezTo>
                    <a:pt x="-11186" y="3063759"/>
                    <a:pt x="-14610" y="3148122"/>
                    <a:pt x="35311" y="3202267"/>
                  </a:cubicBezTo>
                  <a:cubicBezTo>
                    <a:pt x="57223" y="3226032"/>
                    <a:pt x="87019" y="3241029"/>
                    <a:pt x="119160" y="3244469"/>
                  </a:cubicBezTo>
                  <a:cubicBezTo>
                    <a:pt x="124621" y="3244469"/>
                    <a:pt x="665260" y="3306064"/>
                    <a:pt x="1354108" y="3562858"/>
                  </a:cubicBezTo>
                  <a:cubicBezTo>
                    <a:pt x="1985171" y="3798189"/>
                    <a:pt x="2874298" y="4250944"/>
                    <a:pt x="3527078" y="5072507"/>
                  </a:cubicBezTo>
                  <a:cubicBezTo>
                    <a:pt x="3572915" y="5130163"/>
                    <a:pt x="3656811" y="5139744"/>
                    <a:pt x="3714467" y="5093907"/>
                  </a:cubicBezTo>
                  <a:cubicBezTo>
                    <a:pt x="3772122" y="5048070"/>
                    <a:pt x="3781703" y="4964174"/>
                    <a:pt x="3735866" y="4906518"/>
                  </a:cubicBezTo>
                  <a:cubicBezTo>
                    <a:pt x="3042827" y="4034663"/>
                    <a:pt x="2104551" y="3557270"/>
                    <a:pt x="1439579" y="3310255"/>
                  </a:cubicBezTo>
                  <a:cubicBezTo>
                    <a:pt x="1105998" y="3185827"/>
                    <a:pt x="762687" y="3089231"/>
                    <a:pt x="413165" y="3021457"/>
                  </a:cubicBezTo>
                  <a:cubicBezTo>
                    <a:pt x="740571" y="2668905"/>
                    <a:pt x="957614" y="2278380"/>
                    <a:pt x="1059595" y="1857502"/>
                  </a:cubicBezTo>
                  <a:cubicBezTo>
                    <a:pt x="1167963" y="1411039"/>
                    <a:pt x="1137479" y="942135"/>
                    <a:pt x="972219" y="513461"/>
                  </a:cubicBezTo>
                  <a:cubicBezTo>
                    <a:pt x="902607" y="331707"/>
                    <a:pt x="810810" y="159248"/>
                    <a:pt x="698914" y="0"/>
                  </a:cubicBezTo>
                  <a:lnTo>
                    <a:pt x="361222" y="0"/>
                  </a:lnTo>
                  <a:cubicBezTo>
                    <a:pt x="515636" y="180872"/>
                    <a:pt x="638044" y="386775"/>
                    <a:pt x="723172" y="608838"/>
                  </a:cubicBezTo>
                  <a:cubicBezTo>
                    <a:pt x="1042958" y="1444244"/>
                    <a:pt x="795054" y="2320798"/>
                    <a:pt x="42960" y="3013837"/>
                  </a:cubicBezTo>
                  <a:close/>
                </a:path>
              </a:pathLst>
            </a:custGeom>
            <a:solidFill>
              <a:schemeClr val="accent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360472052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Quote Statistic Left 1">
    <p:bg>
      <p:bgPr>
        <a:solidFill>
          <a:schemeClr val="accent3"/>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AAF25B9-D5C1-4B45-B947-F46BBB2734D0}"/>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DB0DF5AF-785B-410F-8E37-F16261A2AD7F}"/>
              </a:ext>
            </a:extLst>
          </p:cNvPr>
          <p:cNvSpPr>
            <a:spLocks noGrp="1"/>
          </p:cNvSpPr>
          <p:nvPr>
            <p:ph type="dt" sz="half" idx="12"/>
          </p:nvPr>
        </p:nvSpPr>
        <p:spPr/>
        <p:txBody>
          <a:bodyPr/>
          <a:lstStyle/>
          <a:p>
            <a:r>
              <a:rPr lang="en-US" noProof="0"/>
              <a:t>dd Month 2021</a:t>
            </a:r>
            <a:endParaRPr lang="en-GB" noProof="0" dirty="0"/>
          </a:p>
        </p:txBody>
      </p:sp>
      <p:sp>
        <p:nvSpPr>
          <p:cNvPr id="3" name="Footer Placeholder 2">
            <a:extLst>
              <a:ext uri="{FF2B5EF4-FFF2-40B4-BE49-F238E27FC236}">
                <a16:creationId xmlns:a16="http://schemas.microsoft.com/office/drawing/2014/main" id="{D398C86D-0C6D-4C90-91FF-A419483EF3B8}"/>
              </a:ext>
            </a:extLst>
          </p:cNvPr>
          <p:cNvSpPr>
            <a:spLocks noGrp="1"/>
          </p:cNvSpPr>
          <p:nvPr>
            <p:ph type="ftr" sz="quarter" idx="13"/>
          </p:nvPr>
        </p:nvSpPr>
        <p:spPr/>
        <p:txBody>
          <a:bodyPr/>
          <a:lstStyle/>
          <a:p>
            <a:r>
              <a:rPr lang="en-GB" noProof="0"/>
              <a:t>Update Footer to add the Document title</a:t>
            </a:r>
            <a:endParaRPr lang="en-GB" noProof="0" dirty="0"/>
          </a:p>
        </p:txBody>
      </p:sp>
      <p:sp>
        <p:nvSpPr>
          <p:cNvPr id="11" name="Quote Icon / Statistic">
            <a:extLst>
              <a:ext uri="{FF2B5EF4-FFF2-40B4-BE49-F238E27FC236}">
                <a16:creationId xmlns:a16="http://schemas.microsoft.com/office/drawing/2014/main" id="{17551C48-C61C-47BF-A013-FC9EF9B355CD}"/>
              </a:ext>
            </a:extLst>
          </p:cNvPr>
          <p:cNvSpPr>
            <a:spLocks noGrp="1" noChangeAspect="1"/>
          </p:cNvSpPr>
          <p:nvPr>
            <p:ph type="body" sz="quarter" idx="23" hasCustomPrompt="1"/>
          </p:nvPr>
        </p:nvSpPr>
        <p:spPr>
          <a:xfrm>
            <a:off x="719138" y="1096135"/>
            <a:ext cx="3005697" cy="1110112"/>
          </a:xfrm>
          <a:prstGeom prst="roundRect">
            <a:avLst>
              <a:gd name="adj" fmla="val 50000"/>
            </a:avLst>
          </a:prstGeom>
          <a:solidFill>
            <a:schemeClr val="accent2"/>
          </a:solidFill>
        </p:spPr>
        <p:txBody>
          <a:bodyPr wrap="none" lIns="108000" tIns="0" rIns="108000" bIns="0">
            <a:spAutoFit/>
          </a:bodyPr>
          <a:lstStyle>
            <a:lvl1pPr marL="0" indent="0" algn="l">
              <a:lnSpc>
                <a:spcPct val="95000"/>
              </a:lnSpc>
              <a:spcBef>
                <a:spcPts val="0"/>
              </a:spcBef>
              <a:buFont typeface="Arial" panose="020B0604020202020204" pitchFamily="34" charset="0"/>
              <a:buNone/>
              <a:defRPr sz="5400">
                <a:solidFill>
                  <a:schemeClr val="bg1"/>
                </a:solidFill>
                <a:latin typeface="+mj-lt"/>
              </a:defRPr>
            </a:lvl1pPr>
            <a:lvl2pPr marL="0" indent="0" algn="l">
              <a:lnSpc>
                <a:spcPct val="95000"/>
              </a:lnSpc>
              <a:spcBef>
                <a:spcPts val="0"/>
              </a:spcBef>
              <a:buNone/>
              <a:defRPr sz="4800">
                <a:solidFill>
                  <a:schemeClr val="bg1"/>
                </a:solidFill>
                <a:latin typeface="+mj-lt"/>
              </a:defRPr>
            </a:lvl2pPr>
            <a:lvl3pPr marL="0" indent="0" algn="l">
              <a:lnSpc>
                <a:spcPct val="95000"/>
              </a:lnSpc>
              <a:spcBef>
                <a:spcPts val="0"/>
              </a:spcBef>
              <a:buNone/>
              <a:defRPr sz="4400">
                <a:solidFill>
                  <a:schemeClr val="bg1"/>
                </a:solidFill>
                <a:latin typeface="+mj-lt"/>
              </a:defRPr>
            </a:lvl3pPr>
            <a:lvl4pPr marL="0" indent="0" algn="l">
              <a:lnSpc>
                <a:spcPct val="95000"/>
              </a:lnSpc>
              <a:spcBef>
                <a:spcPts val="0"/>
              </a:spcBef>
              <a:buNone/>
              <a:defRPr sz="4000">
                <a:solidFill>
                  <a:schemeClr val="bg1"/>
                </a:solidFill>
                <a:latin typeface="+mj-lt"/>
              </a:defRPr>
            </a:lvl4pPr>
            <a:lvl5pPr marL="0" indent="0" algn="l">
              <a:lnSpc>
                <a:spcPct val="95000"/>
              </a:lnSpc>
              <a:spcBef>
                <a:spcPts val="0"/>
              </a:spcBef>
              <a:buFont typeface="Arial" panose="020B0604020202020204" pitchFamily="34" charset="0"/>
              <a:buNone/>
              <a:defRPr sz="3600">
                <a:solidFill>
                  <a:schemeClr val="bg1"/>
                </a:solidFill>
                <a:latin typeface="+mj-lt"/>
              </a:defRPr>
            </a:lvl5pPr>
            <a:lvl6pPr marL="0" indent="0" algn="l">
              <a:lnSpc>
                <a:spcPct val="95000"/>
              </a:lnSpc>
              <a:spcBef>
                <a:spcPts val="0"/>
              </a:spcBef>
              <a:buFont typeface="Arial" panose="020B0604020202020204" pitchFamily="34" charset="0"/>
              <a:buNone/>
              <a:defRPr sz="3200">
                <a:solidFill>
                  <a:schemeClr val="bg1"/>
                </a:solidFill>
                <a:latin typeface="+mj-lt"/>
              </a:defRPr>
            </a:lvl6pPr>
            <a:lvl7pPr marL="0" indent="0" algn="l">
              <a:lnSpc>
                <a:spcPct val="95000"/>
              </a:lnSpc>
              <a:spcBef>
                <a:spcPts val="0"/>
              </a:spcBef>
              <a:buFont typeface="Arial" panose="020B0604020202020204" pitchFamily="34" charset="0"/>
              <a:buNone/>
              <a:defRPr sz="6600">
                <a:solidFill>
                  <a:schemeClr val="bg1"/>
                </a:solidFill>
                <a:latin typeface="+mj-lt"/>
              </a:defRPr>
            </a:lvl7pPr>
            <a:lvl8pPr marL="0" indent="0" algn="l">
              <a:lnSpc>
                <a:spcPct val="95000"/>
              </a:lnSpc>
              <a:spcBef>
                <a:spcPts val="0"/>
              </a:spcBef>
              <a:buFont typeface="Arial" panose="020B0604020202020204" pitchFamily="34" charset="0"/>
              <a:buNone/>
              <a:defRPr sz="7200">
                <a:solidFill>
                  <a:schemeClr val="bg1"/>
                </a:solidFill>
                <a:latin typeface="+mj-lt"/>
              </a:defRPr>
            </a:lvl8pPr>
            <a:lvl9pPr marL="0" indent="0" algn="l">
              <a:lnSpc>
                <a:spcPct val="95000"/>
              </a:lnSpc>
              <a:spcBef>
                <a:spcPts val="0"/>
              </a:spcBef>
              <a:buFont typeface="Arial" panose="020B0604020202020204" pitchFamily="34" charset="0"/>
              <a:buNone/>
              <a:defRPr sz="8800">
                <a:solidFill>
                  <a:schemeClr val="bg1"/>
                </a:solidFill>
                <a:latin typeface="+mj-lt"/>
              </a:defRPr>
            </a:lvl9pPr>
          </a:lstStyle>
          <a:p>
            <a:pPr lvl="0"/>
            <a:r>
              <a:rPr lang="en-GB" dirty="0"/>
              <a:t>Statistic</a:t>
            </a:r>
          </a:p>
        </p:txBody>
      </p:sp>
      <p:grpSp>
        <p:nvGrpSpPr>
          <p:cNvPr id="12" name="Group 11">
            <a:extLst>
              <a:ext uri="{FF2B5EF4-FFF2-40B4-BE49-F238E27FC236}">
                <a16:creationId xmlns:a16="http://schemas.microsoft.com/office/drawing/2014/main" id="{A165A3F0-D5F1-4661-94DA-81733AD3F528}"/>
              </a:ext>
            </a:extLst>
          </p:cNvPr>
          <p:cNvGrpSpPr/>
          <p:nvPr userDrawn="1"/>
        </p:nvGrpSpPr>
        <p:grpSpPr>
          <a:xfrm>
            <a:off x="7547448" y="0"/>
            <a:ext cx="4612546" cy="6857999"/>
            <a:chOff x="7547448" y="0"/>
            <a:chExt cx="4612546" cy="6857999"/>
          </a:xfrm>
        </p:grpSpPr>
        <p:sp>
          <p:nvSpPr>
            <p:cNvPr id="13" name="Freeform: Shape 12">
              <a:extLst>
                <a:ext uri="{FF2B5EF4-FFF2-40B4-BE49-F238E27FC236}">
                  <a16:creationId xmlns:a16="http://schemas.microsoft.com/office/drawing/2014/main" id="{C8083FC4-7BEB-4F09-BB31-D538ADC67860}"/>
                </a:ext>
              </a:extLst>
            </p:cNvPr>
            <p:cNvSpPr/>
            <p:nvPr/>
          </p:nvSpPr>
          <p:spPr>
            <a:xfrm>
              <a:off x="11055703" y="4874145"/>
              <a:ext cx="1104291" cy="1983854"/>
            </a:xfrm>
            <a:custGeom>
              <a:avLst/>
              <a:gdLst>
                <a:gd name="connsiteX0" fmla="*/ 235485 w 1104291"/>
                <a:gd name="connsiteY0" fmla="*/ 47612 h 1983854"/>
                <a:gd name="connsiteX1" fmla="*/ 47614 w 1104291"/>
                <a:gd name="connsiteY1" fmla="*/ 31222 h 1983854"/>
                <a:gd name="connsiteX2" fmla="*/ 26189 w 1104291"/>
                <a:gd name="connsiteY2" fmla="*/ 212712 h 1983854"/>
                <a:gd name="connsiteX3" fmla="*/ 816891 w 1104291"/>
                <a:gd name="connsiteY3" fmla="*/ 1909940 h 1983854"/>
                <a:gd name="connsiteX4" fmla="*/ 832131 w 1104291"/>
                <a:gd name="connsiteY4" fmla="*/ 1983854 h 1983854"/>
                <a:gd name="connsiteX5" fmla="*/ 1104292 w 1104291"/>
                <a:gd name="connsiteY5" fmla="*/ 1983854 h 1983854"/>
                <a:gd name="connsiteX6" fmla="*/ 1077368 w 1104291"/>
                <a:gd name="connsiteY6" fmla="*/ 1853171 h 1983854"/>
                <a:gd name="connsiteX7" fmla="*/ 235485 w 1104291"/>
                <a:gd name="connsiteY7" fmla="*/ 47612 h 1983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4291" h="1983854">
                  <a:moveTo>
                    <a:pt x="235485" y="47612"/>
                  </a:moveTo>
                  <a:cubicBezTo>
                    <a:pt x="188132" y="-8793"/>
                    <a:pt x="104019" y="-16131"/>
                    <a:pt x="47614" y="31222"/>
                  </a:cubicBezTo>
                  <a:cubicBezTo>
                    <a:pt x="-6375" y="76547"/>
                    <a:pt x="-15761" y="156062"/>
                    <a:pt x="26189" y="212712"/>
                  </a:cubicBezTo>
                  <a:cubicBezTo>
                    <a:pt x="412396" y="701154"/>
                    <a:pt x="677826" y="1272654"/>
                    <a:pt x="816891" y="1909940"/>
                  </a:cubicBezTo>
                  <a:cubicBezTo>
                    <a:pt x="822225" y="1934578"/>
                    <a:pt x="827178" y="1959216"/>
                    <a:pt x="832131" y="1983854"/>
                  </a:cubicBezTo>
                  <a:lnTo>
                    <a:pt x="1104292" y="1983854"/>
                  </a:lnTo>
                  <a:cubicBezTo>
                    <a:pt x="1095826" y="1940335"/>
                    <a:pt x="1086851" y="1896774"/>
                    <a:pt x="1077368" y="1853171"/>
                  </a:cubicBezTo>
                  <a:cubicBezTo>
                    <a:pt x="929667" y="1175245"/>
                    <a:pt x="646330" y="567804"/>
                    <a:pt x="235485" y="47612"/>
                  </a:cubicBezTo>
                  <a:close/>
                </a:path>
              </a:pathLst>
            </a:custGeom>
            <a:solidFill>
              <a:srgbClr val="005C82"/>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43CDC7C8-1F1E-4C25-8520-49CC1BBB6E55}"/>
                </a:ext>
              </a:extLst>
            </p:cNvPr>
            <p:cNvSpPr/>
            <p:nvPr/>
          </p:nvSpPr>
          <p:spPr>
            <a:xfrm>
              <a:off x="7547448" y="0"/>
              <a:ext cx="3764842" cy="5122882"/>
            </a:xfrm>
            <a:custGeom>
              <a:avLst/>
              <a:gdLst>
                <a:gd name="connsiteX0" fmla="*/ 42960 w 3764842"/>
                <a:gd name="connsiteY0" fmla="*/ 3013837 h 5122882"/>
                <a:gd name="connsiteX1" fmla="*/ 35311 w 3764842"/>
                <a:gd name="connsiteY1" fmla="*/ 3202267 h 5122882"/>
                <a:gd name="connsiteX2" fmla="*/ 119160 w 3764842"/>
                <a:gd name="connsiteY2" fmla="*/ 3244469 h 5122882"/>
                <a:gd name="connsiteX3" fmla="*/ 1354108 w 3764842"/>
                <a:gd name="connsiteY3" fmla="*/ 3562858 h 5122882"/>
                <a:gd name="connsiteX4" fmla="*/ 3527078 w 3764842"/>
                <a:gd name="connsiteY4" fmla="*/ 5072507 h 5122882"/>
                <a:gd name="connsiteX5" fmla="*/ 3714467 w 3764842"/>
                <a:gd name="connsiteY5" fmla="*/ 5093907 h 5122882"/>
                <a:gd name="connsiteX6" fmla="*/ 3735866 w 3764842"/>
                <a:gd name="connsiteY6" fmla="*/ 4906518 h 5122882"/>
                <a:gd name="connsiteX7" fmla="*/ 1439579 w 3764842"/>
                <a:gd name="connsiteY7" fmla="*/ 3310255 h 5122882"/>
                <a:gd name="connsiteX8" fmla="*/ 413165 w 3764842"/>
                <a:gd name="connsiteY8" fmla="*/ 3021457 h 5122882"/>
                <a:gd name="connsiteX9" fmla="*/ 1059595 w 3764842"/>
                <a:gd name="connsiteY9" fmla="*/ 1857502 h 5122882"/>
                <a:gd name="connsiteX10" fmla="*/ 972219 w 3764842"/>
                <a:gd name="connsiteY10" fmla="*/ 513461 h 5122882"/>
                <a:gd name="connsiteX11" fmla="*/ 698914 w 3764842"/>
                <a:gd name="connsiteY11" fmla="*/ 0 h 5122882"/>
                <a:gd name="connsiteX12" fmla="*/ 361222 w 3764842"/>
                <a:gd name="connsiteY12" fmla="*/ 0 h 5122882"/>
                <a:gd name="connsiteX13" fmla="*/ 723172 w 3764842"/>
                <a:gd name="connsiteY13" fmla="*/ 608838 h 5122882"/>
                <a:gd name="connsiteX14" fmla="*/ 42960 w 3764842"/>
                <a:gd name="connsiteY14" fmla="*/ 3013837 h 512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64842" h="5122882">
                  <a:moveTo>
                    <a:pt x="42960" y="3013837"/>
                  </a:moveTo>
                  <a:cubicBezTo>
                    <a:pt x="-11186" y="3063759"/>
                    <a:pt x="-14610" y="3148122"/>
                    <a:pt x="35311" y="3202267"/>
                  </a:cubicBezTo>
                  <a:cubicBezTo>
                    <a:pt x="57223" y="3226032"/>
                    <a:pt x="87019" y="3241029"/>
                    <a:pt x="119160" y="3244469"/>
                  </a:cubicBezTo>
                  <a:cubicBezTo>
                    <a:pt x="124621" y="3244469"/>
                    <a:pt x="665260" y="3306064"/>
                    <a:pt x="1354108" y="3562858"/>
                  </a:cubicBezTo>
                  <a:cubicBezTo>
                    <a:pt x="1985171" y="3798189"/>
                    <a:pt x="2874298" y="4250944"/>
                    <a:pt x="3527078" y="5072507"/>
                  </a:cubicBezTo>
                  <a:cubicBezTo>
                    <a:pt x="3572915" y="5130163"/>
                    <a:pt x="3656811" y="5139744"/>
                    <a:pt x="3714467" y="5093907"/>
                  </a:cubicBezTo>
                  <a:cubicBezTo>
                    <a:pt x="3772122" y="5048070"/>
                    <a:pt x="3781703" y="4964174"/>
                    <a:pt x="3735866" y="4906518"/>
                  </a:cubicBezTo>
                  <a:cubicBezTo>
                    <a:pt x="3042827" y="4034663"/>
                    <a:pt x="2104551" y="3557270"/>
                    <a:pt x="1439579" y="3310255"/>
                  </a:cubicBezTo>
                  <a:cubicBezTo>
                    <a:pt x="1105998" y="3185827"/>
                    <a:pt x="762687" y="3089231"/>
                    <a:pt x="413165" y="3021457"/>
                  </a:cubicBezTo>
                  <a:cubicBezTo>
                    <a:pt x="740571" y="2668905"/>
                    <a:pt x="957614" y="2278380"/>
                    <a:pt x="1059595" y="1857502"/>
                  </a:cubicBezTo>
                  <a:cubicBezTo>
                    <a:pt x="1167963" y="1411039"/>
                    <a:pt x="1137479" y="942135"/>
                    <a:pt x="972219" y="513461"/>
                  </a:cubicBezTo>
                  <a:cubicBezTo>
                    <a:pt x="902607" y="331707"/>
                    <a:pt x="810810" y="159248"/>
                    <a:pt x="698914" y="0"/>
                  </a:cubicBezTo>
                  <a:lnTo>
                    <a:pt x="361222" y="0"/>
                  </a:lnTo>
                  <a:cubicBezTo>
                    <a:pt x="515636" y="180872"/>
                    <a:pt x="638044" y="386775"/>
                    <a:pt x="723172" y="608838"/>
                  </a:cubicBezTo>
                  <a:cubicBezTo>
                    <a:pt x="1042958" y="1444244"/>
                    <a:pt x="795054" y="2320798"/>
                    <a:pt x="42960" y="3013837"/>
                  </a:cubicBezTo>
                  <a:close/>
                </a:path>
              </a:pathLst>
            </a:custGeom>
            <a:solidFill>
              <a:schemeClr val="accent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79650561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Quote Left 2">
    <p:bg>
      <p:bgPr>
        <a:solidFill>
          <a:schemeClr val="accent5"/>
        </a:solidFill>
        <a:effectLst/>
      </p:bgPr>
    </p:bg>
    <p:spTree>
      <p:nvGrpSpPr>
        <p:cNvPr id="1" name=""/>
        <p:cNvGrpSpPr/>
        <p:nvPr/>
      </p:nvGrpSpPr>
      <p:grpSpPr>
        <a:xfrm>
          <a:off x="0" y="0"/>
          <a:ext cx="0" cy="0"/>
          <a:chOff x="0" y="0"/>
          <a:chExt cx="0" cy="0"/>
        </a:xfrm>
      </p:grpSpPr>
      <p:sp>
        <p:nvSpPr>
          <p:cNvPr id="8" name="Text Placeholder 1">
            <a:extLst>
              <a:ext uri="{FF2B5EF4-FFF2-40B4-BE49-F238E27FC236}">
                <a16:creationId xmlns:a16="http://schemas.microsoft.com/office/drawing/2014/main" id="{7AAF25B9-D5C1-4B45-B947-F46BBB2734D0}"/>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DB0DF5AF-785B-410F-8E37-F16261A2AD7F}"/>
              </a:ext>
            </a:extLst>
          </p:cNvPr>
          <p:cNvSpPr>
            <a:spLocks noGrp="1"/>
          </p:cNvSpPr>
          <p:nvPr>
            <p:ph type="dt" sz="half" idx="12"/>
          </p:nvPr>
        </p:nvSpPr>
        <p:spPr/>
        <p:txBody>
          <a:bodyPr/>
          <a:lstStyle/>
          <a:p>
            <a:r>
              <a:rPr lang="en-US" noProof="0"/>
              <a:t>dd Month 2021</a:t>
            </a:r>
            <a:endParaRPr lang="en-GB" noProof="0" dirty="0"/>
          </a:p>
        </p:txBody>
      </p:sp>
      <p:sp>
        <p:nvSpPr>
          <p:cNvPr id="3" name="Footer Placeholder 2">
            <a:extLst>
              <a:ext uri="{FF2B5EF4-FFF2-40B4-BE49-F238E27FC236}">
                <a16:creationId xmlns:a16="http://schemas.microsoft.com/office/drawing/2014/main" id="{D398C86D-0C6D-4C90-91FF-A419483EF3B8}"/>
              </a:ext>
            </a:extLst>
          </p:cNvPr>
          <p:cNvSpPr>
            <a:spLocks noGrp="1"/>
          </p:cNvSpPr>
          <p:nvPr>
            <p:ph type="ftr" sz="quarter" idx="13"/>
          </p:nvPr>
        </p:nvSpPr>
        <p:spPr/>
        <p:txBody>
          <a:bodyPr/>
          <a:lstStyle/>
          <a:p>
            <a:r>
              <a:rPr lang="en-GB" noProof="0"/>
              <a:t>Update Footer to add the Document title</a:t>
            </a:r>
            <a:endParaRPr lang="en-GB" noProof="0" dirty="0"/>
          </a:p>
        </p:txBody>
      </p:sp>
      <p:sp>
        <p:nvSpPr>
          <p:cNvPr id="17" name="Quote Icon">
            <a:extLst>
              <a:ext uri="{FF2B5EF4-FFF2-40B4-BE49-F238E27FC236}">
                <a16:creationId xmlns:a16="http://schemas.microsoft.com/office/drawing/2014/main" id="{4AC0413B-EA74-4917-8C17-0F00279AD384}"/>
              </a:ext>
            </a:extLst>
          </p:cNvPr>
          <p:cNvSpPr>
            <a:spLocks noGrp="1" noChangeAspect="1"/>
          </p:cNvSpPr>
          <p:nvPr>
            <p:ph type="body" sz="quarter" idx="23" hasCustomPrompt="1"/>
          </p:nvPr>
        </p:nvSpPr>
        <p:spPr>
          <a:xfrm>
            <a:off x="719138" y="1248535"/>
            <a:ext cx="911225" cy="911225"/>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grpSp>
        <p:nvGrpSpPr>
          <p:cNvPr id="16" name="Group 15">
            <a:extLst>
              <a:ext uri="{FF2B5EF4-FFF2-40B4-BE49-F238E27FC236}">
                <a16:creationId xmlns:a16="http://schemas.microsoft.com/office/drawing/2014/main" id="{F1F66A29-ED93-4687-9E8C-29DF508B4ECC}"/>
              </a:ext>
            </a:extLst>
          </p:cNvPr>
          <p:cNvGrpSpPr/>
          <p:nvPr userDrawn="1"/>
        </p:nvGrpSpPr>
        <p:grpSpPr>
          <a:xfrm>
            <a:off x="7042973" y="0"/>
            <a:ext cx="2774698" cy="6857999"/>
            <a:chOff x="7042973" y="0"/>
            <a:chExt cx="2774698" cy="6857999"/>
          </a:xfrm>
        </p:grpSpPr>
        <p:sp>
          <p:nvSpPr>
            <p:cNvPr id="15" name="Freeform: Shape 14">
              <a:extLst>
                <a:ext uri="{FF2B5EF4-FFF2-40B4-BE49-F238E27FC236}">
                  <a16:creationId xmlns:a16="http://schemas.microsoft.com/office/drawing/2014/main" id="{CA8CC906-BC20-46AD-BB60-C5A23A3250EF}"/>
                </a:ext>
              </a:extLst>
            </p:cNvPr>
            <p:cNvSpPr/>
            <p:nvPr/>
          </p:nvSpPr>
          <p:spPr>
            <a:xfrm>
              <a:off x="8232873" y="0"/>
              <a:ext cx="1584798" cy="3989070"/>
            </a:xfrm>
            <a:custGeom>
              <a:avLst/>
              <a:gdLst>
                <a:gd name="connsiteX0" fmla="*/ 326927 w 1584798"/>
                <a:gd name="connsiteY0" fmla="*/ 2041525 h 3989070"/>
                <a:gd name="connsiteX1" fmla="*/ 1184177 w 1584798"/>
                <a:gd name="connsiteY1" fmla="*/ 3653536 h 3989070"/>
                <a:gd name="connsiteX2" fmla="*/ 688877 w 1584798"/>
                <a:gd name="connsiteY2" fmla="*/ 3725799 h 3989070"/>
                <a:gd name="connsiteX3" fmla="*/ 589001 w 1584798"/>
                <a:gd name="connsiteY3" fmla="*/ 3885766 h 3989070"/>
                <a:gd name="connsiteX4" fmla="*/ 718976 w 1584798"/>
                <a:gd name="connsiteY4" fmla="*/ 3989070 h 3989070"/>
                <a:gd name="connsiteX5" fmla="*/ 749329 w 1584798"/>
                <a:gd name="connsiteY5" fmla="*/ 3985641 h 3989070"/>
                <a:gd name="connsiteX6" fmla="*/ 1449607 w 1584798"/>
                <a:gd name="connsiteY6" fmla="*/ 3912997 h 3989070"/>
                <a:gd name="connsiteX7" fmla="*/ 1451131 w 1584798"/>
                <a:gd name="connsiteY7" fmla="*/ 3912997 h 3989070"/>
                <a:gd name="connsiteX8" fmla="*/ 1584798 w 1584798"/>
                <a:gd name="connsiteY8" fmla="*/ 3779965 h 3989070"/>
                <a:gd name="connsiteX9" fmla="*/ 1552731 w 1584798"/>
                <a:gd name="connsiteY9" fmla="*/ 3692906 h 3989070"/>
                <a:gd name="connsiteX10" fmla="*/ 574831 w 1584798"/>
                <a:gd name="connsiteY10" fmla="*/ 1942465 h 3989070"/>
                <a:gd name="connsiteX11" fmla="*/ 272063 w 1584798"/>
                <a:gd name="connsiteY11" fmla="*/ 0 h 3989070"/>
                <a:gd name="connsiteX12" fmla="*/ 7903 w 1584798"/>
                <a:gd name="connsiteY12" fmla="*/ 0 h 3989070"/>
                <a:gd name="connsiteX13" fmla="*/ 1553 w 1584798"/>
                <a:gd name="connsiteY13" fmla="*/ 148463 h 3989070"/>
                <a:gd name="connsiteX14" fmla="*/ 326927 w 1584798"/>
                <a:gd name="connsiteY14" fmla="*/ 2041525 h 3989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84798" h="3989070">
                  <a:moveTo>
                    <a:pt x="326927" y="2041525"/>
                  </a:moveTo>
                  <a:cubicBezTo>
                    <a:pt x="537001" y="2615810"/>
                    <a:pt x="825483" y="3158285"/>
                    <a:pt x="1184177" y="3653536"/>
                  </a:cubicBezTo>
                  <a:cubicBezTo>
                    <a:pt x="1017388" y="3664129"/>
                    <a:pt x="851740" y="3688296"/>
                    <a:pt x="688877" y="3725799"/>
                  </a:cubicBezTo>
                  <a:cubicBezTo>
                    <a:pt x="617123" y="3742393"/>
                    <a:pt x="572408" y="3814013"/>
                    <a:pt x="589001" y="3885766"/>
                  </a:cubicBezTo>
                  <a:cubicBezTo>
                    <a:pt x="602992" y="3946261"/>
                    <a:pt x="656884" y="3989095"/>
                    <a:pt x="718976" y="3989070"/>
                  </a:cubicBezTo>
                  <a:cubicBezTo>
                    <a:pt x="729189" y="3989052"/>
                    <a:pt x="739369" y="3987902"/>
                    <a:pt x="749329" y="3985641"/>
                  </a:cubicBezTo>
                  <a:cubicBezTo>
                    <a:pt x="979011" y="3933517"/>
                    <a:pt x="1214116" y="3909128"/>
                    <a:pt x="1449607" y="3912997"/>
                  </a:cubicBezTo>
                  <a:lnTo>
                    <a:pt x="1451131" y="3912997"/>
                  </a:lnTo>
                  <a:cubicBezTo>
                    <a:pt x="1524778" y="3913172"/>
                    <a:pt x="1584623" y="3853612"/>
                    <a:pt x="1584798" y="3779965"/>
                  </a:cubicBezTo>
                  <a:cubicBezTo>
                    <a:pt x="1584874" y="3748042"/>
                    <a:pt x="1573496" y="3717152"/>
                    <a:pt x="1552731" y="3692906"/>
                  </a:cubicBezTo>
                  <a:cubicBezTo>
                    <a:pt x="1546762" y="3685921"/>
                    <a:pt x="951640" y="2984246"/>
                    <a:pt x="574831" y="1942465"/>
                  </a:cubicBezTo>
                  <a:cubicBezTo>
                    <a:pt x="333404" y="1273556"/>
                    <a:pt x="232566" y="624713"/>
                    <a:pt x="272063" y="0"/>
                  </a:cubicBezTo>
                  <a:lnTo>
                    <a:pt x="7903" y="0"/>
                  </a:lnTo>
                  <a:cubicBezTo>
                    <a:pt x="4939" y="49445"/>
                    <a:pt x="2822" y="98933"/>
                    <a:pt x="1553" y="148463"/>
                  </a:cubicBezTo>
                  <a:cubicBezTo>
                    <a:pt x="-14576" y="764794"/>
                    <a:pt x="95025" y="1401699"/>
                    <a:pt x="326927" y="2041525"/>
                  </a:cubicBezTo>
                  <a:close/>
                </a:path>
              </a:pathLst>
            </a:custGeom>
            <a:solidFill>
              <a:srgbClr val="FFFFFF"/>
            </a:solidFill>
            <a:ln w="12700"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63E154F5-6119-49F9-8212-0598FE4464EE}"/>
                </a:ext>
              </a:extLst>
            </p:cNvPr>
            <p:cNvSpPr/>
            <p:nvPr/>
          </p:nvSpPr>
          <p:spPr>
            <a:xfrm>
              <a:off x="7042973" y="3722299"/>
              <a:ext cx="2042296" cy="3135700"/>
            </a:xfrm>
            <a:custGeom>
              <a:avLst/>
              <a:gdLst>
                <a:gd name="connsiteX0" fmla="*/ 345633 w 2042296"/>
                <a:gd name="connsiteY0" fmla="*/ 1755972 h 3135700"/>
                <a:gd name="connsiteX1" fmla="*/ 1939102 w 2042296"/>
                <a:gd name="connsiteY1" fmla="*/ 263341 h 3135700"/>
                <a:gd name="connsiteX2" fmla="*/ 2038797 w 2042296"/>
                <a:gd name="connsiteY2" fmla="*/ 103194 h 3135700"/>
                <a:gd name="connsiteX3" fmla="*/ 1878650 w 2042296"/>
                <a:gd name="connsiteY3" fmla="*/ 3499 h 3135700"/>
                <a:gd name="connsiteX4" fmla="*/ 699836 w 2042296"/>
                <a:gd name="connsiteY4" fmla="*/ 638499 h 3135700"/>
                <a:gd name="connsiteX5" fmla="*/ 88585 w 2042296"/>
                <a:gd name="connsiteY5" fmla="*/ 1685615 h 3135700"/>
                <a:gd name="connsiteX6" fmla="*/ 137606 w 2042296"/>
                <a:gd name="connsiteY6" fmla="*/ 3135701 h 3135700"/>
                <a:gd name="connsiteX7" fmla="*/ 422849 w 2042296"/>
                <a:gd name="connsiteY7" fmla="*/ 3135701 h 3135700"/>
                <a:gd name="connsiteX8" fmla="*/ 345632 w 2042296"/>
                <a:gd name="connsiteY8" fmla="*/ 1755972 h 313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42296" h="3135700">
                  <a:moveTo>
                    <a:pt x="345633" y="1755972"/>
                  </a:moveTo>
                  <a:cubicBezTo>
                    <a:pt x="555691" y="993972"/>
                    <a:pt x="1136589" y="450285"/>
                    <a:pt x="1939102" y="263341"/>
                  </a:cubicBezTo>
                  <a:cubicBezTo>
                    <a:pt x="2010856" y="246648"/>
                    <a:pt x="2055490" y="174948"/>
                    <a:pt x="2038797" y="103194"/>
                  </a:cubicBezTo>
                  <a:cubicBezTo>
                    <a:pt x="2022103" y="31441"/>
                    <a:pt x="1950403" y="-13194"/>
                    <a:pt x="1878650" y="3499"/>
                  </a:cubicBezTo>
                  <a:cubicBezTo>
                    <a:pt x="1413830" y="111830"/>
                    <a:pt x="1017209" y="325317"/>
                    <a:pt x="699836" y="638499"/>
                  </a:cubicBezTo>
                  <a:cubicBezTo>
                    <a:pt x="407812" y="927915"/>
                    <a:pt x="197014" y="1289025"/>
                    <a:pt x="88585" y="1685615"/>
                  </a:cubicBezTo>
                  <a:cubicBezTo>
                    <a:pt x="-44422" y="2162536"/>
                    <a:pt x="-27305" y="2668851"/>
                    <a:pt x="137606" y="3135701"/>
                  </a:cubicBezTo>
                  <a:lnTo>
                    <a:pt x="422849" y="3135701"/>
                  </a:lnTo>
                  <a:cubicBezTo>
                    <a:pt x="245142" y="2697007"/>
                    <a:pt x="217986" y="2211755"/>
                    <a:pt x="345632" y="1755972"/>
                  </a:cubicBezTo>
                  <a:close/>
                </a:path>
              </a:pathLst>
            </a:custGeom>
            <a:solidFill>
              <a:srgbClr val="005C8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94752161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Quote Statistic Left 2">
    <p:bg>
      <p:bgPr>
        <a:solidFill>
          <a:schemeClr val="accent5"/>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AAF25B9-D5C1-4B45-B947-F46BBB2734D0}"/>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DB0DF5AF-785B-410F-8E37-F16261A2AD7F}"/>
              </a:ext>
            </a:extLst>
          </p:cNvPr>
          <p:cNvSpPr>
            <a:spLocks noGrp="1"/>
          </p:cNvSpPr>
          <p:nvPr>
            <p:ph type="dt" sz="half" idx="12"/>
          </p:nvPr>
        </p:nvSpPr>
        <p:spPr/>
        <p:txBody>
          <a:bodyPr/>
          <a:lstStyle/>
          <a:p>
            <a:r>
              <a:rPr lang="en-US" noProof="0"/>
              <a:t>dd Month 2021</a:t>
            </a:r>
            <a:endParaRPr lang="en-GB" noProof="0" dirty="0"/>
          </a:p>
        </p:txBody>
      </p:sp>
      <p:sp>
        <p:nvSpPr>
          <p:cNvPr id="3" name="Footer Placeholder 2">
            <a:extLst>
              <a:ext uri="{FF2B5EF4-FFF2-40B4-BE49-F238E27FC236}">
                <a16:creationId xmlns:a16="http://schemas.microsoft.com/office/drawing/2014/main" id="{D398C86D-0C6D-4C90-91FF-A419483EF3B8}"/>
              </a:ext>
            </a:extLst>
          </p:cNvPr>
          <p:cNvSpPr>
            <a:spLocks noGrp="1"/>
          </p:cNvSpPr>
          <p:nvPr>
            <p:ph type="ftr" sz="quarter" idx="13"/>
          </p:nvPr>
        </p:nvSpPr>
        <p:spPr/>
        <p:txBody>
          <a:bodyPr/>
          <a:lstStyle/>
          <a:p>
            <a:r>
              <a:rPr lang="en-GB" noProof="0"/>
              <a:t>Update Footer to add the Document title</a:t>
            </a:r>
            <a:endParaRPr lang="en-GB" noProof="0" dirty="0"/>
          </a:p>
        </p:txBody>
      </p:sp>
      <p:sp>
        <p:nvSpPr>
          <p:cNvPr id="14" name="Quote Icon / Statistic">
            <a:extLst>
              <a:ext uri="{FF2B5EF4-FFF2-40B4-BE49-F238E27FC236}">
                <a16:creationId xmlns:a16="http://schemas.microsoft.com/office/drawing/2014/main" id="{F933B12E-A112-4D42-93D5-2D38F7861927}"/>
              </a:ext>
            </a:extLst>
          </p:cNvPr>
          <p:cNvSpPr>
            <a:spLocks noGrp="1" noChangeAspect="1"/>
          </p:cNvSpPr>
          <p:nvPr>
            <p:ph type="body" sz="quarter" idx="23" hasCustomPrompt="1"/>
          </p:nvPr>
        </p:nvSpPr>
        <p:spPr>
          <a:xfrm>
            <a:off x="719138" y="1096135"/>
            <a:ext cx="3005697" cy="1110112"/>
          </a:xfrm>
          <a:prstGeom prst="roundRect">
            <a:avLst>
              <a:gd name="adj" fmla="val 50000"/>
            </a:avLst>
          </a:prstGeom>
          <a:solidFill>
            <a:schemeClr val="tx2"/>
          </a:solidFill>
        </p:spPr>
        <p:txBody>
          <a:bodyPr wrap="none" lIns="108000" tIns="0" rIns="108000" bIns="0">
            <a:spAutoFit/>
          </a:bodyPr>
          <a:lstStyle>
            <a:lvl1pPr marL="0" indent="0" algn="l">
              <a:lnSpc>
                <a:spcPct val="95000"/>
              </a:lnSpc>
              <a:spcBef>
                <a:spcPts val="0"/>
              </a:spcBef>
              <a:buFont typeface="Arial" panose="020B0604020202020204" pitchFamily="34" charset="0"/>
              <a:buNone/>
              <a:defRPr sz="5400">
                <a:solidFill>
                  <a:schemeClr val="bg1"/>
                </a:solidFill>
                <a:latin typeface="+mj-lt"/>
              </a:defRPr>
            </a:lvl1pPr>
            <a:lvl2pPr marL="0" indent="0" algn="l">
              <a:lnSpc>
                <a:spcPct val="95000"/>
              </a:lnSpc>
              <a:spcBef>
                <a:spcPts val="0"/>
              </a:spcBef>
              <a:buNone/>
              <a:defRPr sz="4800">
                <a:solidFill>
                  <a:schemeClr val="bg1"/>
                </a:solidFill>
                <a:latin typeface="+mj-lt"/>
              </a:defRPr>
            </a:lvl2pPr>
            <a:lvl3pPr marL="0" indent="0" algn="l">
              <a:lnSpc>
                <a:spcPct val="95000"/>
              </a:lnSpc>
              <a:spcBef>
                <a:spcPts val="0"/>
              </a:spcBef>
              <a:buNone/>
              <a:defRPr sz="4400">
                <a:solidFill>
                  <a:schemeClr val="bg1"/>
                </a:solidFill>
                <a:latin typeface="+mj-lt"/>
              </a:defRPr>
            </a:lvl3pPr>
            <a:lvl4pPr marL="0" indent="0" algn="l">
              <a:lnSpc>
                <a:spcPct val="95000"/>
              </a:lnSpc>
              <a:spcBef>
                <a:spcPts val="0"/>
              </a:spcBef>
              <a:buNone/>
              <a:defRPr sz="4000">
                <a:solidFill>
                  <a:schemeClr val="bg1"/>
                </a:solidFill>
                <a:latin typeface="+mj-lt"/>
              </a:defRPr>
            </a:lvl4pPr>
            <a:lvl5pPr marL="0" indent="0" algn="l">
              <a:lnSpc>
                <a:spcPct val="95000"/>
              </a:lnSpc>
              <a:spcBef>
                <a:spcPts val="0"/>
              </a:spcBef>
              <a:buFont typeface="Arial" panose="020B0604020202020204" pitchFamily="34" charset="0"/>
              <a:buNone/>
              <a:defRPr sz="3600">
                <a:solidFill>
                  <a:schemeClr val="bg1"/>
                </a:solidFill>
                <a:latin typeface="+mj-lt"/>
              </a:defRPr>
            </a:lvl5pPr>
            <a:lvl6pPr marL="0" indent="0" algn="l">
              <a:lnSpc>
                <a:spcPct val="95000"/>
              </a:lnSpc>
              <a:spcBef>
                <a:spcPts val="0"/>
              </a:spcBef>
              <a:buFont typeface="Arial" panose="020B0604020202020204" pitchFamily="34" charset="0"/>
              <a:buNone/>
              <a:defRPr sz="3200">
                <a:solidFill>
                  <a:schemeClr val="bg1"/>
                </a:solidFill>
                <a:latin typeface="+mj-lt"/>
              </a:defRPr>
            </a:lvl6pPr>
            <a:lvl7pPr marL="0" indent="0" algn="l">
              <a:lnSpc>
                <a:spcPct val="95000"/>
              </a:lnSpc>
              <a:spcBef>
                <a:spcPts val="0"/>
              </a:spcBef>
              <a:buFont typeface="Arial" panose="020B0604020202020204" pitchFamily="34" charset="0"/>
              <a:buNone/>
              <a:defRPr sz="6600">
                <a:solidFill>
                  <a:schemeClr val="bg1"/>
                </a:solidFill>
                <a:latin typeface="+mj-lt"/>
              </a:defRPr>
            </a:lvl7pPr>
            <a:lvl8pPr marL="0" indent="0" algn="l">
              <a:lnSpc>
                <a:spcPct val="95000"/>
              </a:lnSpc>
              <a:spcBef>
                <a:spcPts val="0"/>
              </a:spcBef>
              <a:buFont typeface="Arial" panose="020B0604020202020204" pitchFamily="34" charset="0"/>
              <a:buNone/>
              <a:defRPr sz="7200">
                <a:solidFill>
                  <a:schemeClr val="bg1"/>
                </a:solidFill>
                <a:latin typeface="+mj-lt"/>
              </a:defRPr>
            </a:lvl8pPr>
            <a:lvl9pPr marL="0" indent="0" algn="l">
              <a:lnSpc>
                <a:spcPct val="95000"/>
              </a:lnSpc>
              <a:spcBef>
                <a:spcPts val="0"/>
              </a:spcBef>
              <a:buFont typeface="Arial" panose="020B0604020202020204" pitchFamily="34" charset="0"/>
              <a:buNone/>
              <a:defRPr sz="8800">
                <a:solidFill>
                  <a:schemeClr val="bg1"/>
                </a:solidFill>
                <a:latin typeface="+mj-lt"/>
              </a:defRPr>
            </a:lvl9pPr>
          </a:lstStyle>
          <a:p>
            <a:pPr lvl="0"/>
            <a:r>
              <a:rPr lang="en-GB" dirty="0"/>
              <a:t>Statistic</a:t>
            </a:r>
          </a:p>
        </p:txBody>
      </p:sp>
      <p:grpSp>
        <p:nvGrpSpPr>
          <p:cNvPr id="15" name="Group 14">
            <a:extLst>
              <a:ext uri="{FF2B5EF4-FFF2-40B4-BE49-F238E27FC236}">
                <a16:creationId xmlns:a16="http://schemas.microsoft.com/office/drawing/2014/main" id="{2F50FD1A-8E23-4EE9-9FA6-0FDE4E1D85ED}"/>
              </a:ext>
            </a:extLst>
          </p:cNvPr>
          <p:cNvGrpSpPr/>
          <p:nvPr userDrawn="1"/>
        </p:nvGrpSpPr>
        <p:grpSpPr>
          <a:xfrm>
            <a:off x="7042973" y="0"/>
            <a:ext cx="2774698" cy="6857999"/>
            <a:chOff x="7042973" y="0"/>
            <a:chExt cx="2774698" cy="6857999"/>
          </a:xfrm>
        </p:grpSpPr>
        <p:sp>
          <p:nvSpPr>
            <p:cNvPr id="16" name="Freeform: Shape 15">
              <a:extLst>
                <a:ext uri="{FF2B5EF4-FFF2-40B4-BE49-F238E27FC236}">
                  <a16:creationId xmlns:a16="http://schemas.microsoft.com/office/drawing/2014/main" id="{4E6D31F4-C91C-43CC-85F5-A530E3101F3A}"/>
                </a:ext>
              </a:extLst>
            </p:cNvPr>
            <p:cNvSpPr/>
            <p:nvPr/>
          </p:nvSpPr>
          <p:spPr>
            <a:xfrm>
              <a:off x="8232873" y="0"/>
              <a:ext cx="1584798" cy="3989070"/>
            </a:xfrm>
            <a:custGeom>
              <a:avLst/>
              <a:gdLst>
                <a:gd name="connsiteX0" fmla="*/ 326927 w 1584798"/>
                <a:gd name="connsiteY0" fmla="*/ 2041525 h 3989070"/>
                <a:gd name="connsiteX1" fmla="*/ 1184177 w 1584798"/>
                <a:gd name="connsiteY1" fmla="*/ 3653536 h 3989070"/>
                <a:gd name="connsiteX2" fmla="*/ 688877 w 1584798"/>
                <a:gd name="connsiteY2" fmla="*/ 3725799 h 3989070"/>
                <a:gd name="connsiteX3" fmla="*/ 589001 w 1584798"/>
                <a:gd name="connsiteY3" fmla="*/ 3885766 h 3989070"/>
                <a:gd name="connsiteX4" fmla="*/ 718976 w 1584798"/>
                <a:gd name="connsiteY4" fmla="*/ 3989070 h 3989070"/>
                <a:gd name="connsiteX5" fmla="*/ 749329 w 1584798"/>
                <a:gd name="connsiteY5" fmla="*/ 3985641 h 3989070"/>
                <a:gd name="connsiteX6" fmla="*/ 1449607 w 1584798"/>
                <a:gd name="connsiteY6" fmla="*/ 3912997 h 3989070"/>
                <a:gd name="connsiteX7" fmla="*/ 1451131 w 1584798"/>
                <a:gd name="connsiteY7" fmla="*/ 3912997 h 3989070"/>
                <a:gd name="connsiteX8" fmla="*/ 1584798 w 1584798"/>
                <a:gd name="connsiteY8" fmla="*/ 3779965 h 3989070"/>
                <a:gd name="connsiteX9" fmla="*/ 1552731 w 1584798"/>
                <a:gd name="connsiteY9" fmla="*/ 3692906 h 3989070"/>
                <a:gd name="connsiteX10" fmla="*/ 574831 w 1584798"/>
                <a:gd name="connsiteY10" fmla="*/ 1942465 h 3989070"/>
                <a:gd name="connsiteX11" fmla="*/ 272063 w 1584798"/>
                <a:gd name="connsiteY11" fmla="*/ 0 h 3989070"/>
                <a:gd name="connsiteX12" fmla="*/ 7903 w 1584798"/>
                <a:gd name="connsiteY12" fmla="*/ 0 h 3989070"/>
                <a:gd name="connsiteX13" fmla="*/ 1553 w 1584798"/>
                <a:gd name="connsiteY13" fmla="*/ 148463 h 3989070"/>
                <a:gd name="connsiteX14" fmla="*/ 326927 w 1584798"/>
                <a:gd name="connsiteY14" fmla="*/ 2041525 h 39890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84798" h="3989070">
                  <a:moveTo>
                    <a:pt x="326927" y="2041525"/>
                  </a:moveTo>
                  <a:cubicBezTo>
                    <a:pt x="537001" y="2615810"/>
                    <a:pt x="825483" y="3158285"/>
                    <a:pt x="1184177" y="3653536"/>
                  </a:cubicBezTo>
                  <a:cubicBezTo>
                    <a:pt x="1017388" y="3664129"/>
                    <a:pt x="851740" y="3688296"/>
                    <a:pt x="688877" y="3725799"/>
                  </a:cubicBezTo>
                  <a:cubicBezTo>
                    <a:pt x="617123" y="3742393"/>
                    <a:pt x="572408" y="3814013"/>
                    <a:pt x="589001" y="3885766"/>
                  </a:cubicBezTo>
                  <a:cubicBezTo>
                    <a:pt x="602992" y="3946261"/>
                    <a:pt x="656884" y="3989095"/>
                    <a:pt x="718976" y="3989070"/>
                  </a:cubicBezTo>
                  <a:cubicBezTo>
                    <a:pt x="729189" y="3989052"/>
                    <a:pt x="739369" y="3987902"/>
                    <a:pt x="749329" y="3985641"/>
                  </a:cubicBezTo>
                  <a:cubicBezTo>
                    <a:pt x="979011" y="3933517"/>
                    <a:pt x="1214116" y="3909128"/>
                    <a:pt x="1449607" y="3912997"/>
                  </a:cubicBezTo>
                  <a:lnTo>
                    <a:pt x="1451131" y="3912997"/>
                  </a:lnTo>
                  <a:cubicBezTo>
                    <a:pt x="1524778" y="3913172"/>
                    <a:pt x="1584623" y="3853612"/>
                    <a:pt x="1584798" y="3779965"/>
                  </a:cubicBezTo>
                  <a:cubicBezTo>
                    <a:pt x="1584874" y="3748042"/>
                    <a:pt x="1573496" y="3717152"/>
                    <a:pt x="1552731" y="3692906"/>
                  </a:cubicBezTo>
                  <a:cubicBezTo>
                    <a:pt x="1546762" y="3685921"/>
                    <a:pt x="951640" y="2984246"/>
                    <a:pt x="574831" y="1942465"/>
                  </a:cubicBezTo>
                  <a:cubicBezTo>
                    <a:pt x="333404" y="1273556"/>
                    <a:pt x="232566" y="624713"/>
                    <a:pt x="272063" y="0"/>
                  </a:cubicBezTo>
                  <a:lnTo>
                    <a:pt x="7903" y="0"/>
                  </a:lnTo>
                  <a:cubicBezTo>
                    <a:pt x="4939" y="49445"/>
                    <a:pt x="2822" y="98933"/>
                    <a:pt x="1553" y="148463"/>
                  </a:cubicBezTo>
                  <a:cubicBezTo>
                    <a:pt x="-14576" y="764794"/>
                    <a:pt x="95025" y="1401699"/>
                    <a:pt x="326927" y="2041525"/>
                  </a:cubicBezTo>
                  <a:close/>
                </a:path>
              </a:pathLst>
            </a:custGeom>
            <a:solidFill>
              <a:srgbClr val="FFFFFF"/>
            </a:solidFill>
            <a:ln w="12700"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C4F38E0F-7CD5-4BBA-95D9-8369C9118A80}"/>
                </a:ext>
              </a:extLst>
            </p:cNvPr>
            <p:cNvSpPr/>
            <p:nvPr/>
          </p:nvSpPr>
          <p:spPr>
            <a:xfrm>
              <a:off x="7042973" y="3722299"/>
              <a:ext cx="2042296" cy="3135700"/>
            </a:xfrm>
            <a:custGeom>
              <a:avLst/>
              <a:gdLst>
                <a:gd name="connsiteX0" fmla="*/ 345633 w 2042296"/>
                <a:gd name="connsiteY0" fmla="*/ 1755972 h 3135700"/>
                <a:gd name="connsiteX1" fmla="*/ 1939102 w 2042296"/>
                <a:gd name="connsiteY1" fmla="*/ 263341 h 3135700"/>
                <a:gd name="connsiteX2" fmla="*/ 2038797 w 2042296"/>
                <a:gd name="connsiteY2" fmla="*/ 103194 h 3135700"/>
                <a:gd name="connsiteX3" fmla="*/ 1878650 w 2042296"/>
                <a:gd name="connsiteY3" fmla="*/ 3499 h 3135700"/>
                <a:gd name="connsiteX4" fmla="*/ 699836 w 2042296"/>
                <a:gd name="connsiteY4" fmla="*/ 638499 h 3135700"/>
                <a:gd name="connsiteX5" fmla="*/ 88585 w 2042296"/>
                <a:gd name="connsiteY5" fmla="*/ 1685615 h 3135700"/>
                <a:gd name="connsiteX6" fmla="*/ 137606 w 2042296"/>
                <a:gd name="connsiteY6" fmla="*/ 3135701 h 3135700"/>
                <a:gd name="connsiteX7" fmla="*/ 422849 w 2042296"/>
                <a:gd name="connsiteY7" fmla="*/ 3135701 h 3135700"/>
                <a:gd name="connsiteX8" fmla="*/ 345632 w 2042296"/>
                <a:gd name="connsiteY8" fmla="*/ 1755972 h 3135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42296" h="3135700">
                  <a:moveTo>
                    <a:pt x="345633" y="1755972"/>
                  </a:moveTo>
                  <a:cubicBezTo>
                    <a:pt x="555691" y="993972"/>
                    <a:pt x="1136589" y="450285"/>
                    <a:pt x="1939102" y="263341"/>
                  </a:cubicBezTo>
                  <a:cubicBezTo>
                    <a:pt x="2010856" y="246648"/>
                    <a:pt x="2055490" y="174948"/>
                    <a:pt x="2038797" y="103194"/>
                  </a:cubicBezTo>
                  <a:cubicBezTo>
                    <a:pt x="2022103" y="31441"/>
                    <a:pt x="1950403" y="-13194"/>
                    <a:pt x="1878650" y="3499"/>
                  </a:cubicBezTo>
                  <a:cubicBezTo>
                    <a:pt x="1413830" y="111830"/>
                    <a:pt x="1017209" y="325317"/>
                    <a:pt x="699836" y="638499"/>
                  </a:cubicBezTo>
                  <a:cubicBezTo>
                    <a:pt x="407812" y="927915"/>
                    <a:pt x="197014" y="1289025"/>
                    <a:pt x="88585" y="1685615"/>
                  </a:cubicBezTo>
                  <a:cubicBezTo>
                    <a:pt x="-44422" y="2162536"/>
                    <a:pt x="-27305" y="2668851"/>
                    <a:pt x="137606" y="3135701"/>
                  </a:cubicBezTo>
                  <a:lnTo>
                    <a:pt x="422849" y="3135701"/>
                  </a:lnTo>
                  <a:cubicBezTo>
                    <a:pt x="245142" y="2697007"/>
                    <a:pt x="217986" y="2211755"/>
                    <a:pt x="345632" y="1755972"/>
                  </a:cubicBezTo>
                  <a:close/>
                </a:path>
              </a:pathLst>
            </a:custGeom>
            <a:solidFill>
              <a:srgbClr val="005C8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162332358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 Left 3">
    <p:bg>
      <p:bgPr>
        <a:solidFill>
          <a:schemeClr val="accent6"/>
        </a:solidFill>
        <a:effectLst/>
      </p:bgPr>
    </p:bg>
    <p:spTree>
      <p:nvGrpSpPr>
        <p:cNvPr id="1" name=""/>
        <p:cNvGrpSpPr/>
        <p:nvPr/>
      </p:nvGrpSpPr>
      <p:grpSpPr>
        <a:xfrm>
          <a:off x="0" y="0"/>
          <a:ext cx="0" cy="0"/>
          <a:chOff x="0" y="0"/>
          <a:chExt cx="0" cy="0"/>
        </a:xfrm>
      </p:grpSpPr>
      <p:sp>
        <p:nvSpPr>
          <p:cNvPr id="8" name="Text Placeholder 1">
            <a:extLst>
              <a:ext uri="{FF2B5EF4-FFF2-40B4-BE49-F238E27FC236}">
                <a16:creationId xmlns:a16="http://schemas.microsoft.com/office/drawing/2014/main" id="{7AAF25B9-D5C1-4B45-B947-F46BBB2734D0}"/>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DB0DF5AF-785B-410F-8E37-F16261A2AD7F}"/>
              </a:ext>
            </a:extLst>
          </p:cNvPr>
          <p:cNvSpPr>
            <a:spLocks noGrp="1"/>
          </p:cNvSpPr>
          <p:nvPr>
            <p:ph type="dt" sz="half" idx="12"/>
          </p:nvPr>
        </p:nvSpPr>
        <p:spPr/>
        <p:txBody>
          <a:bodyPr/>
          <a:lstStyle/>
          <a:p>
            <a:r>
              <a:rPr lang="en-US" noProof="0"/>
              <a:t>dd Month 2021</a:t>
            </a:r>
            <a:endParaRPr lang="en-GB" noProof="0" dirty="0"/>
          </a:p>
        </p:txBody>
      </p:sp>
      <p:sp>
        <p:nvSpPr>
          <p:cNvPr id="3" name="Footer Placeholder 2">
            <a:extLst>
              <a:ext uri="{FF2B5EF4-FFF2-40B4-BE49-F238E27FC236}">
                <a16:creationId xmlns:a16="http://schemas.microsoft.com/office/drawing/2014/main" id="{D398C86D-0C6D-4C90-91FF-A419483EF3B8}"/>
              </a:ext>
            </a:extLst>
          </p:cNvPr>
          <p:cNvSpPr>
            <a:spLocks noGrp="1"/>
          </p:cNvSpPr>
          <p:nvPr>
            <p:ph type="ftr" sz="quarter" idx="13"/>
          </p:nvPr>
        </p:nvSpPr>
        <p:spPr/>
        <p:txBody>
          <a:bodyPr/>
          <a:lstStyle/>
          <a:p>
            <a:r>
              <a:rPr lang="en-GB" noProof="0"/>
              <a:t>Update Footer to add the Document title</a:t>
            </a:r>
            <a:endParaRPr lang="en-GB" noProof="0" dirty="0"/>
          </a:p>
        </p:txBody>
      </p:sp>
      <p:sp>
        <p:nvSpPr>
          <p:cNvPr id="18" name="Quote Icon">
            <a:extLst>
              <a:ext uri="{FF2B5EF4-FFF2-40B4-BE49-F238E27FC236}">
                <a16:creationId xmlns:a16="http://schemas.microsoft.com/office/drawing/2014/main" id="{ED1ABE6B-EC7D-43C9-97DF-9A881CF6739C}"/>
              </a:ext>
            </a:extLst>
          </p:cNvPr>
          <p:cNvSpPr>
            <a:spLocks noGrp="1" noChangeAspect="1"/>
          </p:cNvSpPr>
          <p:nvPr>
            <p:ph type="body" sz="quarter" idx="23" hasCustomPrompt="1"/>
          </p:nvPr>
        </p:nvSpPr>
        <p:spPr>
          <a:xfrm>
            <a:off x="719138" y="1248535"/>
            <a:ext cx="911225" cy="911225"/>
          </a:xfrm>
          <a:blipFill>
            <a:blip r:embed="rId2">
              <a:extLst>
                <a:ext uri="{96DAC541-7B7A-43D3-8B79-37D633B846F1}">
                  <asvg:svgBlip xmlns:asvg="http://schemas.microsoft.com/office/drawing/2016/SVG/main" r:embed="rId3"/>
                </a:ext>
              </a:extLst>
            </a:blip>
            <a:stretch>
              <a:fillRect/>
            </a:stretch>
          </a:blipFill>
        </p:spPr>
        <p:txBody>
          <a:bodyPr/>
          <a:lstStyle>
            <a:lvl1pPr>
              <a:defRPr/>
            </a:lvl1pPr>
          </a:lstStyle>
          <a:p>
            <a:pPr lvl="0"/>
            <a:r>
              <a:rPr lang="en-US" dirty="0"/>
              <a:t> </a:t>
            </a:r>
            <a:endParaRPr lang="en-GB" dirty="0"/>
          </a:p>
        </p:txBody>
      </p:sp>
      <p:grpSp>
        <p:nvGrpSpPr>
          <p:cNvPr id="17" name="Group 16">
            <a:extLst>
              <a:ext uri="{FF2B5EF4-FFF2-40B4-BE49-F238E27FC236}">
                <a16:creationId xmlns:a16="http://schemas.microsoft.com/office/drawing/2014/main" id="{29BB6CF9-9291-4113-A7AC-4C75F2D6CF55}"/>
              </a:ext>
            </a:extLst>
          </p:cNvPr>
          <p:cNvGrpSpPr/>
          <p:nvPr userDrawn="1"/>
        </p:nvGrpSpPr>
        <p:grpSpPr>
          <a:xfrm>
            <a:off x="7547448" y="0"/>
            <a:ext cx="4612546" cy="6857999"/>
            <a:chOff x="7547448" y="0"/>
            <a:chExt cx="4612546" cy="6857999"/>
          </a:xfrm>
        </p:grpSpPr>
        <p:sp>
          <p:nvSpPr>
            <p:cNvPr id="19" name="Freeform: Shape 18">
              <a:extLst>
                <a:ext uri="{FF2B5EF4-FFF2-40B4-BE49-F238E27FC236}">
                  <a16:creationId xmlns:a16="http://schemas.microsoft.com/office/drawing/2014/main" id="{4DB04BF7-DF39-4EBE-9D44-70C135CBB8DA}"/>
                </a:ext>
              </a:extLst>
            </p:cNvPr>
            <p:cNvSpPr/>
            <p:nvPr/>
          </p:nvSpPr>
          <p:spPr>
            <a:xfrm>
              <a:off x="11055703" y="4874145"/>
              <a:ext cx="1104291" cy="1983854"/>
            </a:xfrm>
            <a:custGeom>
              <a:avLst/>
              <a:gdLst>
                <a:gd name="connsiteX0" fmla="*/ 235485 w 1104291"/>
                <a:gd name="connsiteY0" fmla="*/ 47612 h 1983854"/>
                <a:gd name="connsiteX1" fmla="*/ 47614 w 1104291"/>
                <a:gd name="connsiteY1" fmla="*/ 31222 h 1983854"/>
                <a:gd name="connsiteX2" fmla="*/ 26189 w 1104291"/>
                <a:gd name="connsiteY2" fmla="*/ 212712 h 1983854"/>
                <a:gd name="connsiteX3" fmla="*/ 816891 w 1104291"/>
                <a:gd name="connsiteY3" fmla="*/ 1909940 h 1983854"/>
                <a:gd name="connsiteX4" fmla="*/ 832131 w 1104291"/>
                <a:gd name="connsiteY4" fmla="*/ 1983854 h 1983854"/>
                <a:gd name="connsiteX5" fmla="*/ 1104292 w 1104291"/>
                <a:gd name="connsiteY5" fmla="*/ 1983854 h 1983854"/>
                <a:gd name="connsiteX6" fmla="*/ 1077368 w 1104291"/>
                <a:gd name="connsiteY6" fmla="*/ 1853171 h 1983854"/>
                <a:gd name="connsiteX7" fmla="*/ 235485 w 1104291"/>
                <a:gd name="connsiteY7" fmla="*/ 47612 h 1983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4291" h="1983854">
                  <a:moveTo>
                    <a:pt x="235485" y="47612"/>
                  </a:moveTo>
                  <a:cubicBezTo>
                    <a:pt x="188132" y="-8793"/>
                    <a:pt x="104019" y="-16131"/>
                    <a:pt x="47614" y="31222"/>
                  </a:cubicBezTo>
                  <a:cubicBezTo>
                    <a:pt x="-6375" y="76547"/>
                    <a:pt x="-15761" y="156062"/>
                    <a:pt x="26189" y="212712"/>
                  </a:cubicBezTo>
                  <a:cubicBezTo>
                    <a:pt x="412396" y="701154"/>
                    <a:pt x="677826" y="1272654"/>
                    <a:pt x="816891" y="1909940"/>
                  </a:cubicBezTo>
                  <a:cubicBezTo>
                    <a:pt x="822225" y="1934578"/>
                    <a:pt x="827178" y="1959216"/>
                    <a:pt x="832131" y="1983854"/>
                  </a:cubicBezTo>
                  <a:lnTo>
                    <a:pt x="1104292" y="1983854"/>
                  </a:lnTo>
                  <a:cubicBezTo>
                    <a:pt x="1095826" y="1940335"/>
                    <a:pt x="1086851" y="1896774"/>
                    <a:pt x="1077368" y="1853171"/>
                  </a:cubicBezTo>
                  <a:cubicBezTo>
                    <a:pt x="929667" y="1175245"/>
                    <a:pt x="646330" y="567804"/>
                    <a:pt x="235485" y="47612"/>
                  </a:cubicBezTo>
                  <a:close/>
                </a:path>
              </a:pathLst>
            </a:custGeom>
            <a:solidFill>
              <a:srgbClr val="005C82"/>
            </a:solidFill>
            <a:ln w="12700"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05BFFD33-2B54-4619-9C49-49884BA7763F}"/>
                </a:ext>
              </a:extLst>
            </p:cNvPr>
            <p:cNvSpPr/>
            <p:nvPr/>
          </p:nvSpPr>
          <p:spPr>
            <a:xfrm>
              <a:off x="7547448" y="0"/>
              <a:ext cx="3764842" cy="5122882"/>
            </a:xfrm>
            <a:custGeom>
              <a:avLst/>
              <a:gdLst>
                <a:gd name="connsiteX0" fmla="*/ 42960 w 3764842"/>
                <a:gd name="connsiteY0" fmla="*/ 3013837 h 5122882"/>
                <a:gd name="connsiteX1" fmla="*/ 35311 w 3764842"/>
                <a:gd name="connsiteY1" fmla="*/ 3202267 h 5122882"/>
                <a:gd name="connsiteX2" fmla="*/ 119160 w 3764842"/>
                <a:gd name="connsiteY2" fmla="*/ 3244469 h 5122882"/>
                <a:gd name="connsiteX3" fmla="*/ 1354108 w 3764842"/>
                <a:gd name="connsiteY3" fmla="*/ 3562858 h 5122882"/>
                <a:gd name="connsiteX4" fmla="*/ 3527078 w 3764842"/>
                <a:gd name="connsiteY4" fmla="*/ 5072507 h 5122882"/>
                <a:gd name="connsiteX5" fmla="*/ 3714467 w 3764842"/>
                <a:gd name="connsiteY5" fmla="*/ 5093907 h 5122882"/>
                <a:gd name="connsiteX6" fmla="*/ 3735866 w 3764842"/>
                <a:gd name="connsiteY6" fmla="*/ 4906518 h 5122882"/>
                <a:gd name="connsiteX7" fmla="*/ 1439579 w 3764842"/>
                <a:gd name="connsiteY7" fmla="*/ 3310255 h 5122882"/>
                <a:gd name="connsiteX8" fmla="*/ 413165 w 3764842"/>
                <a:gd name="connsiteY8" fmla="*/ 3021457 h 5122882"/>
                <a:gd name="connsiteX9" fmla="*/ 1059595 w 3764842"/>
                <a:gd name="connsiteY9" fmla="*/ 1857502 h 5122882"/>
                <a:gd name="connsiteX10" fmla="*/ 972219 w 3764842"/>
                <a:gd name="connsiteY10" fmla="*/ 513461 h 5122882"/>
                <a:gd name="connsiteX11" fmla="*/ 698914 w 3764842"/>
                <a:gd name="connsiteY11" fmla="*/ 0 h 5122882"/>
                <a:gd name="connsiteX12" fmla="*/ 361222 w 3764842"/>
                <a:gd name="connsiteY12" fmla="*/ 0 h 5122882"/>
                <a:gd name="connsiteX13" fmla="*/ 723172 w 3764842"/>
                <a:gd name="connsiteY13" fmla="*/ 608838 h 5122882"/>
                <a:gd name="connsiteX14" fmla="*/ 42960 w 3764842"/>
                <a:gd name="connsiteY14" fmla="*/ 3013837 h 512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64842" h="5122882">
                  <a:moveTo>
                    <a:pt x="42960" y="3013837"/>
                  </a:moveTo>
                  <a:cubicBezTo>
                    <a:pt x="-11186" y="3063759"/>
                    <a:pt x="-14610" y="3148122"/>
                    <a:pt x="35311" y="3202267"/>
                  </a:cubicBezTo>
                  <a:cubicBezTo>
                    <a:pt x="57223" y="3226032"/>
                    <a:pt x="87019" y="3241029"/>
                    <a:pt x="119160" y="3244469"/>
                  </a:cubicBezTo>
                  <a:cubicBezTo>
                    <a:pt x="124621" y="3244469"/>
                    <a:pt x="665260" y="3306064"/>
                    <a:pt x="1354108" y="3562858"/>
                  </a:cubicBezTo>
                  <a:cubicBezTo>
                    <a:pt x="1985171" y="3798189"/>
                    <a:pt x="2874298" y="4250944"/>
                    <a:pt x="3527078" y="5072507"/>
                  </a:cubicBezTo>
                  <a:cubicBezTo>
                    <a:pt x="3572915" y="5130163"/>
                    <a:pt x="3656811" y="5139744"/>
                    <a:pt x="3714467" y="5093907"/>
                  </a:cubicBezTo>
                  <a:cubicBezTo>
                    <a:pt x="3772122" y="5048070"/>
                    <a:pt x="3781703" y="4964174"/>
                    <a:pt x="3735866" y="4906518"/>
                  </a:cubicBezTo>
                  <a:cubicBezTo>
                    <a:pt x="3042827" y="4034663"/>
                    <a:pt x="2104551" y="3557270"/>
                    <a:pt x="1439579" y="3310255"/>
                  </a:cubicBezTo>
                  <a:cubicBezTo>
                    <a:pt x="1105998" y="3185827"/>
                    <a:pt x="762687" y="3089231"/>
                    <a:pt x="413165" y="3021457"/>
                  </a:cubicBezTo>
                  <a:cubicBezTo>
                    <a:pt x="740571" y="2668905"/>
                    <a:pt x="957614" y="2278380"/>
                    <a:pt x="1059595" y="1857502"/>
                  </a:cubicBezTo>
                  <a:cubicBezTo>
                    <a:pt x="1167963" y="1411039"/>
                    <a:pt x="1137479" y="942135"/>
                    <a:pt x="972219" y="513461"/>
                  </a:cubicBezTo>
                  <a:cubicBezTo>
                    <a:pt x="902607" y="331707"/>
                    <a:pt x="810810" y="159248"/>
                    <a:pt x="698914" y="0"/>
                  </a:cubicBezTo>
                  <a:lnTo>
                    <a:pt x="361222" y="0"/>
                  </a:lnTo>
                  <a:cubicBezTo>
                    <a:pt x="515636" y="180872"/>
                    <a:pt x="638044" y="386775"/>
                    <a:pt x="723172" y="608838"/>
                  </a:cubicBezTo>
                  <a:cubicBezTo>
                    <a:pt x="1042958" y="1444244"/>
                    <a:pt x="795054" y="2320798"/>
                    <a:pt x="42960" y="3013837"/>
                  </a:cubicBezTo>
                  <a:close/>
                </a:path>
              </a:pathLst>
            </a:custGeom>
            <a:solidFill>
              <a:schemeClr val="accent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63124703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Quote Statistic Left 3">
    <p:bg>
      <p:bgPr>
        <a:solidFill>
          <a:schemeClr val="accent6"/>
        </a:solidFill>
        <a:effectLst/>
      </p:bgPr>
    </p:bg>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7AAF25B9-D5C1-4B45-B947-F46BBB2734D0}"/>
              </a:ext>
            </a:extLst>
          </p:cNvPr>
          <p:cNvSpPr>
            <a:spLocks noGrp="1"/>
          </p:cNvSpPr>
          <p:nvPr>
            <p:ph type="body" sz="quarter" idx="11"/>
          </p:nvPr>
        </p:nvSpPr>
        <p:spPr>
          <a:xfrm>
            <a:off x="719138" y="2519999"/>
            <a:ext cx="5286375" cy="3617275"/>
          </a:xfrm>
        </p:spPr>
        <p:txBody>
          <a:bodyPr>
            <a:normAutofit/>
          </a:bodyPr>
          <a:lstStyle>
            <a:lvl1pPr>
              <a:lnSpc>
                <a:spcPct val="95000"/>
              </a:lnSpc>
              <a:defRPr sz="3600">
                <a:latin typeface="+mj-lt"/>
              </a:defRPr>
            </a:lvl1pPr>
            <a:lvl2pPr marL="0" indent="0">
              <a:lnSpc>
                <a:spcPct val="95000"/>
              </a:lnSpc>
              <a:spcBef>
                <a:spcPts val="1800"/>
              </a:spcBef>
              <a:buNone/>
              <a:defRPr sz="1600" i="1">
                <a:latin typeface="+mj-lt"/>
              </a:defRPr>
            </a:lvl2pPr>
            <a:lvl3pPr marL="0" indent="0">
              <a:lnSpc>
                <a:spcPct val="95000"/>
              </a:lnSpc>
              <a:buNone/>
              <a:defRPr sz="1000">
                <a:latin typeface="+mn-lt"/>
              </a:defRPr>
            </a:lvl3pPr>
            <a:lvl4pPr marL="0" indent="0">
              <a:lnSpc>
                <a:spcPct val="95000"/>
              </a:lnSpc>
              <a:spcBef>
                <a:spcPts val="800"/>
              </a:spcBef>
              <a:buNone/>
              <a:defRPr sz="2800">
                <a:latin typeface="+mj-lt"/>
              </a:defRPr>
            </a:lvl4pPr>
            <a:lvl5pPr marL="0" indent="0">
              <a:lnSpc>
                <a:spcPct val="95000"/>
              </a:lnSpc>
              <a:spcBef>
                <a:spcPts val="800"/>
              </a:spcBef>
              <a:buFont typeface="Arial" panose="020B0604020202020204" pitchFamily="34" charset="0"/>
              <a:buNone/>
              <a:defRPr sz="2400">
                <a:latin typeface="+mj-lt"/>
              </a:defRPr>
            </a:lvl5pPr>
            <a:lvl6pPr marL="0" indent="0">
              <a:lnSpc>
                <a:spcPct val="95000"/>
              </a:lnSpc>
              <a:spcBef>
                <a:spcPts val="800"/>
              </a:spcBef>
              <a:buFont typeface="Arial" panose="020B0604020202020204" pitchFamily="34" charset="0"/>
              <a:buNone/>
              <a:defRPr sz="2000">
                <a:latin typeface="+mj-lt"/>
              </a:defRPr>
            </a:lvl6pPr>
            <a:lvl7pPr>
              <a:lnSpc>
                <a:spcPct val="95000"/>
              </a:lnSpc>
              <a:spcBef>
                <a:spcPts val="800"/>
              </a:spcBef>
              <a:defRPr/>
            </a:lvl7pPr>
            <a:lvl8pPr>
              <a:lnSpc>
                <a:spcPct val="95000"/>
              </a:lnSpc>
              <a:spcBef>
                <a:spcPts val="800"/>
              </a:spcBef>
              <a:defRPr lang="en-GB" sz="1800" dirty="0" smtClean="0">
                <a:solidFill>
                  <a:schemeClr val="tx1"/>
                </a:solidFill>
              </a:defRPr>
            </a:lvl8pPr>
            <a:lvl9pPr>
              <a:lnSpc>
                <a:spcPct val="95000"/>
              </a:lnSpc>
              <a:spcBef>
                <a:spcPts val="800"/>
              </a:spcBef>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Date Placeholder 1">
            <a:extLst>
              <a:ext uri="{FF2B5EF4-FFF2-40B4-BE49-F238E27FC236}">
                <a16:creationId xmlns:a16="http://schemas.microsoft.com/office/drawing/2014/main" id="{DB0DF5AF-785B-410F-8E37-F16261A2AD7F}"/>
              </a:ext>
            </a:extLst>
          </p:cNvPr>
          <p:cNvSpPr>
            <a:spLocks noGrp="1"/>
          </p:cNvSpPr>
          <p:nvPr>
            <p:ph type="dt" sz="half" idx="12"/>
          </p:nvPr>
        </p:nvSpPr>
        <p:spPr/>
        <p:txBody>
          <a:bodyPr/>
          <a:lstStyle/>
          <a:p>
            <a:r>
              <a:rPr lang="en-US" noProof="0"/>
              <a:t>dd Month 2021</a:t>
            </a:r>
            <a:endParaRPr lang="en-GB" noProof="0" dirty="0"/>
          </a:p>
        </p:txBody>
      </p:sp>
      <p:sp>
        <p:nvSpPr>
          <p:cNvPr id="3" name="Footer Placeholder 2">
            <a:extLst>
              <a:ext uri="{FF2B5EF4-FFF2-40B4-BE49-F238E27FC236}">
                <a16:creationId xmlns:a16="http://schemas.microsoft.com/office/drawing/2014/main" id="{D398C86D-0C6D-4C90-91FF-A419483EF3B8}"/>
              </a:ext>
            </a:extLst>
          </p:cNvPr>
          <p:cNvSpPr>
            <a:spLocks noGrp="1"/>
          </p:cNvSpPr>
          <p:nvPr>
            <p:ph type="ftr" sz="quarter" idx="13"/>
          </p:nvPr>
        </p:nvSpPr>
        <p:spPr/>
        <p:txBody>
          <a:bodyPr/>
          <a:lstStyle/>
          <a:p>
            <a:r>
              <a:rPr lang="en-GB" noProof="0"/>
              <a:t>Update Footer to add the Document title</a:t>
            </a:r>
            <a:endParaRPr lang="en-GB" noProof="0" dirty="0"/>
          </a:p>
        </p:txBody>
      </p:sp>
      <p:sp>
        <p:nvSpPr>
          <p:cNvPr id="11" name="Quote Icon / Statistic">
            <a:extLst>
              <a:ext uri="{FF2B5EF4-FFF2-40B4-BE49-F238E27FC236}">
                <a16:creationId xmlns:a16="http://schemas.microsoft.com/office/drawing/2014/main" id="{BA592EBC-D3FD-4F62-A485-627134BEB78E}"/>
              </a:ext>
            </a:extLst>
          </p:cNvPr>
          <p:cNvSpPr>
            <a:spLocks noGrp="1" noChangeAspect="1"/>
          </p:cNvSpPr>
          <p:nvPr>
            <p:ph type="body" sz="quarter" idx="23" hasCustomPrompt="1"/>
          </p:nvPr>
        </p:nvSpPr>
        <p:spPr>
          <a:xfrm>
            <a:off x="719138" y="1096135"/>
            <a:ext cx="3005697" cy="1110112"/>
          </a:xfrm>
          <a:prstGeom prst="roundRect">
            <a:avLst>
              <a:gd name="adj" fmla="val 50000"/>
            </a:avLst>
          </a:prstGeom>
          <a:solidFill>
            <a:schemeClr val="accent2"/>
          </a:solidFill>
        </p:spPr>
        <p:txBody>
          <a:bodyPr wrap="none" lIns="108000" tIns="0" rIns="108000" bIns="0">
            <a:spAutoFit/>
          </a:bodyPr>
          <a:lstStyle>
            <a:lvl1pPr marL="0" indent="0" algn="l">
              <a:lnSpc>
                <a:spcPct val="95000"/>
              </a:lnSpc>
              <a:spcBef>
                <a:spcPts val="0"/>
              </a:spcBef>
              <a:buFont typeface="Arial" panose="020B0604020202020204" pitchFamily="34" charset="0"/>
              <a:buNone/>
              <a:defRPr sz="5400">
                <a:solidFill>
                  <a:schemeClr val="bg1"/>
                </a:solidFill>
                <a:latin typeface="+mj-lt"/>
              </a:defRPr>
            </a:lvl1pPr>
            <a:lvl2pPr marL="0" indent="0" algn="l">
              <a:lnSpc>
                <a:spcPct val="95000"/>
              </a:lnSpc>
              <a:spcBef>
                <a:spcPts val="0"/>
              </a:spcBef>
              <a:buNone/>
              <a:defRPr sz="4800">
                <a:solidFill>
                  <a:schemeClr val="bg1"/>
                </a:solidFill>
                <a:latin typeface="+mj-lt"/>
              </a:defRPr>
            </a:lvl2pPr>
            <a:lvl3pPr marL="0" indent="0" algn="l">
              <a:lnSpc>
                <a:spcPct val="95000"/>
              </a:lnSpc>
              <a:spcBef>
                <a:spcPts val="0"/>
              </a:spcBef>
              <a:buNone/>
              <a:defRPr sz="4400">
                <a:solidFill>
                  <a:schemeClr val="bg1"/>
                </a:solidFill>
                <a:latin typeface="+mj-lt"/>
              </a:defRPr>
            </a:lvl3pPr>
            <a:lvl4pPr marL="0" indent="0" algn="l">
              <a:lnSpc>
                <a:spcPct val="95000"/>
              </a:lnSpc>
              <a:spcBef>
                <a:spcPts val="0"/>
              </a:spcBef>
              <a:buNone/>
              <a:defRPr sz="4000">
                <a:solidFill>
                  <a:schemeClr val="bg1"/>
                </a:solidFill>
                <a:latin typeface="+mj-lt"/>
              </a:defRPr>
            </a:lvl4pPr>
            <a:lvl5pPr marL="0" indent="0" algn="l">
              <a:lnSpc>
                <a:spcPct val="95000"/>
              </a:lnSpc>
              <a:spcBef>
                <a:spcPts val="0"/>
              </a:spcBef>
              <a:buFont typeface="Arial" panose="020B0604020202020204" pitchFamily="34" charset="0"/>
              <a:buNone/>
              <a:defRPr sz="3600">
                <a:solidFill>
                  <a:schemeClr val="bg1"/>
                </a:solidFill>
                <a:latin typeface="+mj-lt"/>
              </a:defRPr>
            </a:lvl5pPr>
            <a:lvl6pPr marL="0" indent="0" algn="l">
              <a:lnSpc>
                <a:spcPct val="95000"/>
              </a:lnSpc>
              <a:spcBef>
                <a:spcPts val="0"/>
              </a:spcBef>
              <a:buFont typeface="Arial" panose="020B0604020202020204" pitchFamily="34" charset="0"/>
              <a:buNone/>
              <a:defRPr sz="3200">
                <a:solidFill>
                  <a:schemeClr val="bg1"/>
                </a:solidFill>
                <a:latin typeface="+mj-lt"/>
              </a:defRPr>
            </a:lvl6pPr>
            <a:lvl7pPr marL="0" indent="0" algn="l">
              <a:lnSpc>
                <a:spcPct val="95000"/>
              </a:lnSpc>
              <a:spcBef>
                <a:spcPts val="0"/>
              </a:spcBef>
              <a:buFont typeface="Arial" panose="020B0604020202020204" pitchFamily="34" charset="0"/>
              <a:buNone/>
              <a:defRPr sz="6600">
                <a:solidFill>
                  <a:schemeClr val="bg1"/>
                </a:solidFill>
                <a:latin typeface="+mj-lt"/>
              </a:defRPr>
            </a:lvl7pPr>
            <a:lvl8pPr marL="0" indent="0" algn="l">
              <a:lnSpc>
                <a:spcPct val="95000"/>
              </a:lnSpc>
              <a:spcBef>
                <a:spcPts val="0"/>
              </a:spcBef>
              <a:buFont typeface="Arial" panose="020B0604020202020204" pitchFamily="34" charset="0"/>
              <a:buNone/>
              <a:defRPr sz="7200">
                <a:solidFill>
                  <a:schemeClr val="bg1"/>
                </a:solidFill>
                <a:latin typeface="+mj-lt"/>
              </a:defRPr>
            </a:lvl8pPr>
            <a:lvl9pPr marL="0" indent="0" algn="l">
              <a:lnSpc>
                <a:spcPct val="95000"/>
              </a:lnSpc>
              <a:spcBef>
                <a:spcPts val="0"/>
              </a:spcBef>
              <a:buFont typeface="Arial" panose="020B0604020202020204" pitchFamily="34" charset="0"/>
              <a:buNone/>
              <a:defRPr sz="8800">
                <a:solidFill>
                  <a:schemeClr val="bg1"/>
                </a:solidFill>
                <a:latin typeface="+mj-lt"/>
              </a:defRPr>
            </a:lvl9pPr>
          </a:lstStyle>
          <a:p>
            <a:pPr lvl="0"/>
            <a:r>
              <a:rPr lang="en-GB" dirty="0"/>
              <a:t>Statistic</a:t>
            </a:r>
          </a:p>
        </p:txBody>
      </p:sp>
      <p:grpSp>
        <p:nvGrpSpPr>
          <p:cNvPr id="12" name="Group 11">
            <a:extLst>
              <a:ext uri="{FF2B5EF4-FFF2-40B4-BE49-F238E27FC236}">
                <a16:creationId xmlns:a16="http://schemas.microsoft.com/office/drawing/2014/main" id="{B48C54C2-4F86-454E-82F5-80FF402FD3C9}"/>
              </a:ext>
            </a:extLst>
          </p:cNvPr>
          <p:cNvGrpSpPr/>
          <p:nvPr userDrawn="1"/>
        </p:nvGrpSpPr>
        <p:grpSpPr>
          <a:xfrm>
            <a:off x="7547448" y="0"/>
            <a:ext cx="4612546" cy="6857999"/>
            <a:chOff x="7547448" y="0"/>
            <a:chExt cx="4612546" cy="6857999"/>
          </a:xfrm>
        </p:grpSpPr>
        <p:sp>
          <p:nvSpPr>
            <p:cNvPr id="13" name="Freeform: Shape 12">
              <a:extLst>
                <a:ext uri="{FF2B5EF4-FFF2-40B4-BE49-F238E27FC236}">
                  <a16:creationId xmlns:a16="http://schemas.microsoft.com/office/drawing/2014/main" id="{DE469C0B-9D89-40AC-92A1-CE734F755744}"/>
                </a:ext>
              </a:extLst>
            </p:cNvPr>
            <p:cNvSpPr/>
            <p:nvPr/>
          </p:nvSpPr>
          <p:spPr>
            <a:xfrm>
              <a:off x="11055703" y="4874145"/>
              <a:ext cx="1104291" cy="1983854"/>
            </a:xfrm>
            <a:custGeom>
              <a:avLst/>
              <a:gdLst>
                <a:gd name="connsiteX0" fmla="*/ 235485 w 1104291"/>
                <a:gd name="connsiteY0" fmla="*/ 47612 h 1983854"/>
                <a:gd name="connsiteX1" fmla="*/ 47614 w 1104291"/>
                <a:gd name="connsiteY1" fmla="*/ 31222 h 1983854"/>
                <a:gd name="connsiteX2" fmla="*/ 26189 w 1104291"/>
                <a:gd name="connsiteY2" fmla="*/ 212712 h 1983854"/>
                <a:gd name="connsiteX3" fmla="*/ 816891 w 1104291"/>
                <a:gd name="connsiteY3" fmla="*/ 1909940 h 1983854"/>
                <a:gd name="connsiteX4" fmla="*/ 832131 w 1104291"/>
                <a:gd name="connsiteY4" fmla="*/ 1983854 h 1983854"/>
                <a:gd name="connsiteX5" fmla="*/ 1104292 w 1104291"/>
                <a:gd name="connsiteY5" fmla="*/ 1983854 h 1983854"/>
                <a:gd name="connsiteX6" fmla="*/ 1077368 w 1104291"/>
                <a:gd name="connsiteY6" fmla="*/ 1853171 h 1983854"/>
                <a:gd name="connsiteX7" fmla="*/ 235485 w 1104291"/>
                <a:gd name="connsiteY7" fmla="*/ 47612 h 19838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4291" h="1983854">
                  <a:moveTo>
                    <a:pt x="235485" y="47612"/>
                  </a:moveTo>
                  <a:cubicBezTo>
                    <a:pt x="188132" y="-8793"/>
                    <a:pt x="104019" y="-16131"/>
                    <a:pt x="47614" y="31222"/>
                  </a:cubicBezTo>
                  <a:cubicBezTo>
                    <a:pt x="-6375" y="76547"/>
                    <a:pt x="-15761" y="156062"/>
                    <a:pt x="26189" y="212712"/>
                  </a:cubicBezTo>
                  <a:cubicBezTo>
                    <a:pt x="412396" y="701154"/>
                    <a:pt x="677826" y="1272654"/>
                    <a:pt x="816891" y="1909940"/>
                  </a:cubicBezTo>
                  <a:cubicBezTo>
                    <a:pt x="822225" y="1934578"/>
                    <a:pt x="827178" y="1959216"/>
                    <a:pt x="832131" y="1983854"/>
                  </a:cubicBezTo>
                  <a:lnTo>
                    <a:pt x="1104292" y="1983854"/>
                  </a:lnTo>
                  <a:cubicBezTo>
                    <a:pt x="1095826" y="1940335"/>
                    <a:pt x="1086851" y="1896774"/>
                    <a:pt x="1077368" y="1853171"/>
                  </a:cubicBezTo>
                  <a:cubicBezTo>
                    <a:pt x="929667" y="1175245"/>
                    <a:pt x="646330" y="567804"/>
                    <a:pt x="235485" y="47612"/>
                  </a:cubicBezTo>
                  <a:close/>
                </a:path>
              </a:pathLst>
            </a:custGeom>
            <a:solidFill>
              <a:srgbClr val="005C82"/>
            </a:solidFill>
            <a:ln w="12700"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2C34488E-32D2-4934-A141-CD80F55CEE6E}"/>
                </a:ext>
              </a:extLst>
            </p:cNvPr>
            <p:cNvSpPr/>
            <p:nvPr/>
          </p:nvSpPr>
          <p:spPr>
            <a:xfrm>
              <a:off x="7547448" y="0"/>
              <a:ext cx="3764842" cy="5122882"/>
            </a:xfrm>
            <a:custGeom>
              <a:avLst/>
              <a:gdLst>
                <a:gd name="connsiteX0" fmla="*/ 42960 w 3764842"/>
                <a:gd name="connsiteY0" fmla="*/ 3013837 h 5122882"/>
                <a:gd name="connsiteX1" fmla="*/ 35311 w 3764842"/>
                <a:gd name="connsiteY1" fmla="*/ 3202267 h 5122882"/>
                <a:gd name="connsiteX2" fmla="*/ 119160 w 3764842"/>
                <a:gd name="connsiteY2" fmla="*/ 3244469 h 5122882"/>
                <a:gd name="connsiteX3" fmla="*/ 1354108 w 3764842"/>
                <a:gd name="connsiteY3" fmla="*/ 3562858 h 5122882"/>
                <a:gd name="connsiteX4" fmla="*/ 3527078 w 3764842"/>
                <a:gd name="connsiteY4" fmla="*/ 5072507 h 5122882"/>
                <a:gd name="connsiteX5" fmla="*/ 3714467 w 3764842"/>
                <a:gd name="connsiteY5" fmla="*/ 5093907 h 5122882"/>
                <a:gd name="connsiteX6" fmla="*/ 3735866 w 3764842"/>
                <a:gd name="connsiteY6" fmla="*/ 4906518 h 5122882"/>
                <a:gd name="connsiteX7" fmla="*/ 1439579 w 3764842"/>
                <a:gd name="connsiteY7" fmla="*/ 3310255 h 5122882"/>
                <a:gd name="connsiteX8" fmla="*/ 413165 w 3764842"/>
                <a:gd name="connsiteY8" fmla="*/ 3021457 h 5122882"/>
                <a:gd name="connsiteX9" fmla="*/ 1059595 w 3764842"/>
                <a:gd name="connsiteY9" fmla="*/ 1857502 h 5122882"/>
                <a:gd name="connsiteX10" fmla="*/ 972219 w 3764842"/>
                <a:gd name="connsiteY10" fmla="*/ 513461 h 5122882"/>
                <a:gd name="connsiteX11" fmla="*/ 698914 w 3764842"/>
                <a:gd name="connsiteY11" fmla="*/ 0 h 5122882"/>
                <a:gd name="connsiteX12" fmla="*/ 361222 w 3764842"/>
                <a:gd name="connsiteY12" fmla="*/ 0 h 5122882"/>
                <a:gd name="connsiteX13" fmla="*/ 723172 w 3764842"/>
                <a:gd name="connsiteY13" fmla="*/ 608838 h 5122882"/>
                <a:gd name="connsiteX14" fmla="*/ 42960 w 3764842"/>
                <a:gd name="connsiteY14" fmla="*/ 3013837 h 51228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764842" h="5122882">
                  <a:moveTo>
                    <a:pt x="42960" y="3013837"/>
                  </a:moveTo>
                  <a:cubicBezTo>
                    <a:pt x="-11186" y="3063759"/>
                    <a:pt x="-14610" y="3148122"/>
                    <a:pt x="35311" y="3202267"/>
                  </a:cubicBezTo>
                  <a:cubicBezTo>
                    <a:pt x="57223" y="3226032"/>
                    <a:pt x="87019" y="3241029"/>
                    <a:pt x="119160" y="3244469"/>
                  </a:cubicBezTo>
                  <a:cubicBezTo>
                    <a:pt x="124621" y="3244469"/>
                    <a:pt x="665260" y="3306064"/>
                    <a:pt x="1354108" y="3562858"/>
                  </a:cubicBezTo>
                  <a:cubicBezTo>
                    <a:pt x="1985171" y="3798189"/>
                    <a:pt x="2874298" y="4250944"/>
                    <a:pt x="3527078" y="5072507"/>
                  </a:cubicBezTo>
                  <a:cubicBezTo>
                    <a:pt x="3572915" y="5130163"/>
                    <a:pt x="3656811" y="5139744"/>
                    <a:pt x="3714467" y="5093907"/>
                  </a:cubicBezTo>
                  <a:cubicBezTo>
                    <a:pt x="3772122" y="5048070"/>
                    <a:pt x="3781703" y="4964174"/>
                    <a:pt x="3735866" y="4906518"/>
                  </a:cubicBezTo>
                  <a:cubicBezTo>
                    <a:pt x="3042827" y="4034663"/>
                    <a:pt x="2104551" y="3557270"/>
                    <a:pt x="1439579" y="3310255"/>
                  </a:cubicBezTo>
                  <a:cubicBezTo>
                    <a:pt x="1105998" y="3185827"/>
                    <a:pt x="762687" y="3089231"/>
                    <a:pt x="413165" y="3021457"/>
                  </a:cubicBezTo>
                  <a:cubicBezTo>
                    <a:pt x="740571" y="2668905"/>
                    <a:pt x="957614" y="2278380"/>
                    <a:pt x="1059595" y="1857502"/>
                  </a:cubicBezTo>
                  <a:cubicBezTo>
                    <a:pt x="1167963" y="1411039"/>
                    <a:pt x="1137479" y="942135"/>
                    <a:pt x="972219" y="513461"/>
                  </a:cubicBezTo>
                  <a:cubicBezTo>
                    <a:pt x="902607" y="331707"/>
                    <a:pt x="810810" y="159248"/>
                    <a:pt x="698914" y="0"/>
                  </a:cubicBezTo>
                  <a:lnTo>
                    <a:pt x="361222" y="0"/>
                  </a:lnTo>
                  <a:cubicBezTo>
                    <a:pt x="515636" y="180872"/>
                    <a:pt x="638044" y="386775"/>
                    <a:pt x="723172" y="608838"/>
                  </a:cubicBezTo>
                  <a:cubicBezTo>
                    <a:pt x="1042958" y="1444244"/>
                    <a:pt x="795054" y="2320798"/>
                    <a:pt x="42960" y="3013837"/>
                  </a:cubicBezTo>
                  <a:close/>
                </a:path>
              </a:pathLst>
            </a:custGeom>
            <a:solidFill>
              <a:schemeClr val="accent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198966806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Accolades">
    <p:spTree>
      <p:nvGrpSpPr>
        <p:cNvPr id="1" name=""/>
        <p:cNvGrpSpPr/>
        <p:nvPr/>
      </p:nvGrpSpPr>
      <p:grpSpPr>
        <a:xfrm>
          <a:off x="0" y="0"/>
          <a:ext cx="0" cy="0"/>
          <a:chOff x="0" y="0"/>
          <a:chExt cx="0" cy="0"/>
        </a:xfrm>
      </p:grpSpPr>
      <p:sp>
        <p:nvSpPr>
          <p:cNvPr id="16" name="Freeform: Shape 15">
            <a:extLst>
              <a:ext uri="{FF2B5EF4-FFF2-40B4-BE49-F238E27FC236}">
                <a16:creationId xmlns:a16="http://schemas.microsoft.com/office/drawing/2014/main" id="{BE949CFC-1E62-4DFE-9903-0273E5EB21CA}"/>
              </a:ext>
            </a:extLst>
          </p:cNvPr>
          <p:cNvSpPr/>
          <p:nvPr userDrawn="1"/>
        </p:nvSpPr>
        <p:spPr>
          <a:xfrm>
            <a:off x="8612632" y="0"/>
            <a:ext cx="3579368" cy="1883155"/>
          </a:xfrm>
          <a:custGeom>
            <a:avLst/>
            <a:gdLst>
              <a:gd name="connsiteX0" fmla="*/ 450088 w 3579368"/>
              <a:gd name="connsiteY0" fmla="*/ 499872 h 1883155"/>
              <a:gd name="connsiteX1" fmla="*/ 1723898 w 3579368"/>
              <a:gd name="connsiteY1" fmla="*/ 1398143 h 1883155"/>
              <a:gd name="connsiteX2" fmla="*/ 3579368 w 3579368"/>
              <a:gd name="connsiteY2" fmla="*/ 1883156 h 1883155"/>
              <a:gd name="connsiteX3" fmla="*/ 3579368 w 3579368"/>
              <a:gd name="connsiteY3" fmla="*/ 1615694 h 1883155"/>
              <a:gd name="connsiteX4" fmla="*/ 644017 w 3579368"/>
              <a:gd name="connsiteY4" fmla="*/ 316484 h 1883155"/>
              <a:gd name="connsiteX5" fmla="*/ 346075 w 3579368"/>
              <a:gd name="connsiteY5" fmla="*/ 0 h 1883155"/>
              <a:gd name="connsiteX6" fmla="*/ 0 w 3579368"/>
              <a:gd name="connsiteY6" fmla="*/ 0 h 1883155"/>
              <a:gd name="connsiteX7" fmla="*/ 450088 w 3579368"/>
              <a:gd name="connsiteY7" fmla="*/ 499872 h 1883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9368" h="1883155">
                <a:moveTo>
                  <a:pt x="450088" y="499872"/>
                </a:moveTo>
                <a:cubicBezTo>
                  <a:pt x="823820" y="865611"/>
                  <a:pt x="1253909" y="1168903"/>
                  <a:pt x="1723898" y="1398143"/>
                </a:cubicBezTo>
                <a:cubicBezTo>
                  <a:pt x="2291335" y="1673987"/>
                  <a:pt x="2915412" y="1837055"/>
                  <a:pt x="3579368" y="1883156"/>
                </a:cubicBezTo>
                <a:lnTo>
                  <a:pt x="3579368" y="1615694"/>
                </a:lnTo>
                <a:cubicBezTo>
                  <a:pt x="2434717" y="1532382"/>
                  <a:pt x="1447292" y="1095629"/>
                  <a:pt x="644017" y="316484"/>
                </a:cubicBezTo>
                <a:cubicBezTo>
                  <a:pt x="533781" y="209550"/>
                  <a:pt x="434594" y="102870"/>
                  <a:pt x="346075" y="0"/>
                </a:cubicBezTo>
                <a:lnTo>
                  <a:pt x="0" y="0"/>
                </a:lnTo>
                <a:cubicBezTo>
                  <a:pt x="138966" y="176263"/>
                  <a:pt x="289316" y="343244"/>
                  <a:pt x="450088" y="499872"/>
                </a:cubicBezTo>
                <a:close/>
              </a:path>
            </a:pathLst>
          </a:custGeom>
          <a:solidFill>
            <a:schemeClr val="accent5"/>
          </a:solidFill>
          <a:ln w="12700" cap="flat">
            <a:noFill/>
            <a:prstDash val="solid"/>
            <a:miter/>
          </a:ln>
        </p:spPr>
        <p:txBody>
          <a:bodyPr rtlCol="0" anchor="ctr"/>
          <a:lstStyle/>
          <a:p>
            <a:endParaRPr lang="en-GB"/>
          </a:p>
        </p:txBody>
      </p:sp>
      <p:sp>
        <p:nvSpPr>
          <p:cNvPr id="30" name="Text Placeholder 2">
            <a:extLst>
              <a:ext uri="{FF2B5EF4-FFF2-40B4-BE49-F238E27FC236}">
                <a16:creationId xmlns:a16="http://schemas.microsoft.com/office/drawing/2014/main" id="{E2A2A036-A8C1-4410-8C99-D7E221447D29}"/>
              </a:ext>
            </a:extLst>
          </p:cNvPr>
          <p:cNvSpPr>
            <a:spLocks noGrp="1"/>
          </p:cNvSpPr>
          <p:nvPr>
            <p:ph type="body" sz="quarter" idx="14"/>
          </p:nvPr>
        </p:nvSpPr>
        <p:spPr>
          <a:xfrm>
            <a:off x="8008939" y="3138500"/>
            <a:ext cx="3463924" cy="1394780"/>
          </a:xfrm>
          <a:solidFill>
            <a:schemeClr val="accent1"/>
          </a:solidFill>
        </p:spPr>
        <p:txBody>
          <a:bodyPr lIns="108000" tIns="72000" rIns="108000" bIns="72000"/>
          <a:lstStyle>
            <a:lvl9pPr>
              <a:spcBef>
                <a:spcPts val="600"/>
              </a:spcBef>
              <a:spcAft>
                <a:spcPts val="6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4" name="Date Placeholder 1">
            <a:extLst>
              <a:ext uri="{FF2B5EF4-FFF2-40B4-BE49-F238E27FC236}">
                <a16:creationId xmlns:a16="http://schemas.microsoft.com/office/drawing/2014/main" id="{E6B42DA3-9CCD-4D6E-87E7-1EA69180B150}"/>
              </a:ext>
            </a:extLst>
          </p:cNvPr>
          <p:cNvSpPr>
            <a:spLocks noGrp="1"/>
          </p:cNvSpPr>
          <p:nvPr>
            <p:ph type="dt" sz="half" idx="10"/>
          </p:nvPr>
        </p:nvSpPr>
        <p:spPr/>
        <p:txBody>
          <a:bodyPr/>
          <a:lstStyle/>
          <a:p>
            <a:r>
              <a:rPr lang="en-US"/>
              <a:t>dd Month 2021</a:t>
            </a:r>
            <a:endParaRPr lang="en-GB" dirty="0"/>
          </a:p>
        </p:txBody>
      </p:sp>
      <p:sp>
        <p:nvSpPr>
          <p:cNvPr id="5" name="Footer Placeholder 1">
            <a:extLst>
              <a:ext uri="{FF2B5EF4-FFF2-40B4-BE49-F238E27FC236}">
                <a16:creationId xmlns:a16="http://schemas.microsoft.com/office/drawing/2014/main" id="{B3DC16D7-69F4-4705-AFEE-D1C21AC376B6}"/>
              </a:ext>
            </a:extLst>
          </p:cNvPr>
          <p:cNvSpPr>
            <a:spLocks noGrp="1"/>
          </p:cNvSpPr>
          <p:nvPr>
            <p:ph type="ftr" sz="quarter" idx="11"/>
          </p:nvPr>
        </p:nvSpPr>
        <p:spPr/>
        <p:txBody>
          <a:bodyPr/>
          <a:lstStyle/>
          <a:p>
            <a:r>
              <a:rPr lang="en-GB"/>
              <a:t>Update Footer to add the Document title</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8" y="666745"/>
            <a:ext cx="9840912" cy="720000"/>
          </a:xfrm>
        </p:spPr>
        <p:txBody>
          <a:bodyPr/>
          <a:lstStyle/>
          <a:p>
            <a:pPr lvl="0"/>
            <a:r>
              <a:rPr lang="en-US"/>
              <a:t>Click to edit Master title style</a:t>
            </a:r>
            <a:endParaRPr lang="en-GB" dirty="0"/>
          </a:p>
        </p:txBody>
      </p:sp>
      <p:sp>
        <p:nvSpPr>
          <p:cNvPr id="3" name="Text Placeholder 2">
            <a:extLst>
              <a:ext uri="{FF2B5EF4-FFF2-40B4-BE49-F238E27FC236}">
                <a16:creationId xmlns:a16="http://schemas.microsoft.com/office/drawing/2014/main" id="{3E4CD5E2-EBB2-4FA3-A395-9363F30B1E9D}"/>
              </a:ext>
            </a:extLst>
          </p:cNvPr>
          <p:cNvSpPr>
            <a:spLocks noGrp="1"/>
          </p:cNvSpPr>
          <p:nvPr userDrawn="1">
            <p:ph type="body" sz="quarter" idx="12"/>
          </p:nvPr>
        </p:nvSpPr>
        <p:spPr>
          <a:xfrm>
            <a:off x="719113" y="3138499"/>
            <a:ext cx="2552724" cy="2998776"/>
          </a:xfrm>
          <a:solidFill>
            <a:schemeClr val="tx2"/>
          </a:solidFill>
        </p:spPr>
        <p:txBody>
          <a:bodyPr lIns="108000" tIns="72000" rIns="108000" bIns="72000"/>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a:solidFill>
                  <a:schemeClr val="bg1"/>
                </a:solidFill>
              </a:defRPr>
            </a:lvl6pPr>
            <a:lvl7pPr>
              <a:defRPr>
                <a:solidFill>
                  <a:schemeClr val="bg1"/>
                </a:solidFill>
              </a:defRPr>
            </a:lvl7pPr>
            <a:lvl8pPr>
              <a:defRPr>
                <a:solidFill>
                  <a:schemeClr val="bg1"/>
                </a:solidFill>
              </a:defRPr>
            </a:lvl8pPr>
            <a:lvl9pPr>
              <a:spcBef>
                <a:spcPts val="600"/>
              </a:spcBef>
              <a:spcAft>
                <a:spcPts val="6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29" name="Text Placeholder 2">
            <a:extLst>
              <a:ext uri="{FF2B5EF4-FFF2-40B4-BE49-F238E27FC236}">
                <a16:creationId xmlns:a16="http://schemas.microsoft.com/office/drawing/2014/main" id="{6D941C59-34BD-41A3-AF7D-C23C0260892E}"/>
              </a:ext>
            </a:extLst>
          </p:cNvPr>
          <p:cNvSpPr>
            <a:spLocks noGrp="1"/>
          </p:cNvSpPr>
          <p:nvPr>
            <p:ph type="body" sz="quarter" idx="13"/>
          </p:nvPr>
        </p:nvSpPr>
        <p:spPr>
          <a:xfrm>
            <a:off x="3452813" y="3138499"/>
            <a:ext cx="4375150" cy="2998776"/>
          </a:xfrm>
          <a:solidFill>
            <a:schemeClr val="accent2"/>
          </a:solidFill>
        </p:spPr>
        <p:txBody>
          <a:bodyPr lIns="108000" tIns="72000" rIns="108000" bIns="72000"/>
          <a:lstStyle>
            <a:lvl9pPr>
              <a:spcBef>
                <a:spcPts val="600"/>
              </a:spcBef>
              <a:spcAft>
                <a:spcPts val="6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
        <p:nvSpPr>
          <p:cNvPr id="9" name="Picture Placeholder 8">
            <a:extLst>
              <a:ext uri="{FF2B5EF4-FFF2-40B4-BE49-F238E27FC236}">
                <a16:creationId xmlns:a16="http://schemas.microsoft.com/office/drawing/2014/main" id="{55C70207-70D8-41B5-841A-D7F3BD5D4EDD}"/>
              </a:ext>
            </a:extLst>
          </p:cNvPr>
          <p:cNvSpPr>
            <a:spLocks noGrp="1"/>
          </p:cNvSpPr>
          <p:nvPr>
            <p:ph type="pic" sz="quarter" idx="16"/>
          </p:nvPr>
        </p:nvSpPr>
        <p:spPr>
          <a:xfrm>
            <a:off x="719138" y="1565275"/>
            <a:ext cx="1641475" cy="1393224"/>
          </a:xfrm>
        </p:spPr>
        <p:txBody>
          <a:bodyPr/>
          <a:lstStyle/>
          <a:p>
            <a:r>
              <a:rPr lang="en-US"/>
              <a:t>Click icon to add picture</a:t>
            </a:r>
            <a:endParaRPr lang="en-GB" dirty="0"/>
          </a:p>
        </p:txBody>
      </p:sp>
      <p:sp>
        <p:nvSpPr>
          <p:cNvPr id="33" name="Picture Placeholder 8">
            <a:extLst>
              <a:ext uri="{FF2B5EF4-FFF2-40B4-BE49-F238E27FC236}">
                <a16:creationId xmlns:a16="http://schemas.microsoft.com/office/drawing/2014/main" id="{52707F8D-3492-47D7-AF94-97ADA4F892BB}"/>
              </a:ext>
            </a:extLst>
          </p:cNvPr>
          <p:cNvSpPr>
            <a:spLocks noGrp="1"/>
          </p:cNvSpPr>
          <p:nvPr>
            <p:ph type="pic" sz="quarter" idx="17"/>
          </p:nvPr>
        </p:nvSpPr>
        <p:spPr>
          <a:xfrm>
            <a:off x="3452813" y="1565275"/>
            <a:ext cx="1641475" cy="1393224"/>
          </a:xfrm>
        </p:spPr>
        <p:txBody>
          <a:bodyPr/>
          <a:lstStyle/>
          <a:p>
            <a:r>
              <a:rPr lang="en-US"/>
              <a:t>Click icon to add picture</a:t>
            </a:r>
            <a:endParaRPr lang="en-GB" dirty="0"/>
          </a:p>
        </p:txBody>
      </p:sp>
      <p:sp>
        <p:nvSpPr>
          <p:cNvPr id="34" name="Picture Placeholder 8">
            <a:extLst>
              <a:ext uri="{FF2B5EF4-FFF2-40B4-BE49-F238E27FC236}">
                <a16:creationId xmlns:a16="http://schemas.microsoft.com/office/drawing/2014/main" id="{BD8F2EF5-333B-4333-A8B8-E1FC40862BB1}"/>
              </a:ext>
            </a:extLst>
          </p:cNvPr>
          <p:cNvSpPr>
            <a:spLocks noGrp="1"/>
          </p:cNvSpPr>
          <p:nvPr>
            <p:ph type="pic" sz="quarter" idx="18"/>
          </p:nvPr>
        </p:nvSpPr>
        <p:spPr>
          <a:xfrm>
            <a:off x="8008939" y="1565275"/>
            <a:ext cx="1641475" cy="1393224"/>
          </a:xfrm>
        </p:spPr>
        <p:txBody>
          <a:bodyPr/>
          <a:lstStyle/>
          <a:p>
            <a:r>
              <a:rPr lang="en-US"/>
              <a:t>Click icon to add picture</a:t>
            </a:r>
            <a:endParaRPr lang="en-GB" dirty="0"/>
          </a:p>
        </p:txBody>
      </p:sp>
      <p:sp>
        <p:nvSpPr>
          <p:cNvPr id="35" name="Text Placeholder 2">
            <a:extLst>
              <a:ext uri="{FF2B5EF4-FFF2-40B4-BE49-F238E27FC236}">
                <a16:creationId xmlns:a16="http://schemas.microsoft.com/office/drawing/2014/main" id="{4621DBA4-C41D-4040-B6F9-D89D8DCF338F}"/>
              </a:ext>
            </a:extLst>
          </p:cNvPr>
          <p:cNvSpPr>
            <a:spLocks noGrp="1"/>
          </p:cNvSpPr>
          <p:nvPr>
            <p:ph type="body" sz="quarter" idx="19"/>
          </p:nvPr>
        </p:nvSpPr>
        <p:spPr>
          <a:xfrm>
            <a:off x="8008939" y="4742495"/>
            <a:ext cx="3463924" cy="1394780"/>
          </a:xfrm>
          <a:solidFill>
            <a:schemeClr val="accent1"/>
          </a:solidFill>
        </p:spPr>
        <p:txBody>
          <a:bodyPr lIns="108000" tIns="72000" rIns="108000" bIns="72000"/>
          <a:lstStyle>
            <a:lvl9pPr>
              <a:spcBef>
                <a:spcPts val="600"/>
              </a:spcBef>
              <a:spcAft>
                <a:spcPts val="6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dirty="0"/>
          </a:p>
        </p:txBody>
      </p:sp>
    </p:spTree>
    <p:extLst>
      <p:ext uri="{BB962C8B-B14F-4D97-AF65-F5344CB8AC3E}">
        <p14:creationId xmlns:p14="http://schemas.microsoft.com/office/powerpoint/2010/main" val="269619274"/>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accent5"/>
        </a:solidFill>
        <a:effectLst/>
      </p:bgPr>
    </p:bg>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65489D85-D0F9-4009-B631-1A6B5A0B087B}"/>
              </a:ext>
            </a:extLst>
          </p:cNvPr>
          <p:cNvGrpSpPr/>
          <p:nvPr userDrawn="1"/>
        </p:nvGrpSpPr>
        <p:grpSpPr>
          <a:xfrm>
            <a:off x="4244705" y="1244483"/>
            <a:ext cx="7948563" cy="5612872"/>
            <a:chOff x="4244705" y="1244483"/>
            <a:chExt cx="7948563" cy="5612872"/>
          </a:xfrm>
        </p:grpSpPr>
        <p:sp>
          <p:nvSpPr>
            <p:cNvPr id="10" name="Freeform: Shape 9">
              <a:extLst>
                <a:ext uri="{FF2B5EF4-FFF2-40B4-BE49-F238E27FC236}">
                  <a16:creationId xmlns:a16="http://schemas.microsoft.com/office/drawing/2014/main" id="{62BD671C-1B9C-4960-A042-4A14DEB69BFA}"/>
                </a:ext>
              </a:extLst>
            </p:cNvPr>
            <p:cNvSpPr/>
            <p:nvPr/>
          </p:nvSpPr>
          <p:spPr>
            <a:xfrm>
              <a:off x="10117025" y="1244483"/>
              <a:ext cx="2076243" cy="1114055"/>
            </a:xfrm>
            <a:custGeom>
              <a:avLst/>
              <a:gdLst>
                <a:gd name="connsiteX0" fmla="*/ 51038 w 2076243"/>
                <a:gd name="connsiteY0" fmla="*/ 875456 h 1114055"/>
                <a:gd name="connsiteX1" fmla="*/ 28561 w 2076243"/>
                <a:gd name="connsiteY1" fmla="*/ 1063017 h 1114055"/>
                <a:gd name="connsiteX2" fmla="*/ 216123 w 2076243"/>
                <a:gd name="connsiteY2" fmla="*/ 1085494 h 1114055"/>
                <a:gd name="connsiteX3" fmla="*/ 1916366 w 2076243"/>
                <a:gd name="connsiteY3" fmla="*/ 302359 h 1114055"/>
                <a:gd name="connsiteX4" fmla="*/ 2076244 w 2076243"/>
                <a:gd name="connsiteY4" fmla="*/ 270993 h 1114055"/>
                <a:gd name="connsiteX5" fmla="*/ 2076244 w 2076243"/>
                <a:gd name="connsiteY5" fmla="*/ 0 h 1114055"/>
                <a:gd name="connsiteX6" fmla="*/ 1860364 w 2076243"/>
                <a:gd name="connsiteY6" fmla="*/ 41525 h 1114055"/>
                <a:gd name="connsiteX7" fmla="*/ 51038 w 2076243"/>
                <a:gd name="connsiteY7" fmla="*/ 875456 h 1114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076243" h="1114055">
                  <a:moveTo>
                    <a:pt x="51038" y="875456"/>
                  </a:moveTo>
                  <a:cubicBezTo>
                    <a:pt x="-6962" y="921043"/>
                    <a:pt x="-17026" y="1005017"/>
                    <a:pt x="28561" y="1063017"/>
                  </a:cubicBezTo>
                  <a:cubicBezTo>
                    <a:pt x="74148" y="1121018"/>
                    <a:pt x="158122" y="1131081"/>
                    <a:pt x="216123" y="1085494"/>
                  </a:cubicBezTo>
                  <a:cubicBezTo>
                    <a:pt x="705789" y="701990"/>
                    <a:pt x="1277870" y="438490"/>
                    <a:pt x="1916366" y="302359"/>
                  </a:cubicBezTo>
                  <a:cubicBezTo>
                    <a:pt x="1969828" y="290930"/>
                    <a:pt x="2023036" y="280644"/>
                    <a:pt x="2076244" y="270993"/>
                  </a:cubicBezTo>
                  <a:lnTo>
                    <a:pt x="2076244" y="0"/>
                  </a:lnTo>
                  <a:cubicBezTo>
                    <a:pt x="2004538" y="12445"/>
                    <a:pt x="1932579" y="26287"/>
                    <a:pt x="1860364" y="41525"/>
                  </a:cubicBezTo>
                  <a:cubicBezTo>
                    <a:pt x="1181614" y="186291"/>
                    <a:pt x="572959" y="466935"/>
                    <a:pt x="51038" y="875456"/>
                  </a:cubicBezTo>
                  <a:close/>
                </a:path>
              </a:pathLst>
            </a:custGeom>
            <a:solidFill>
              <a:srgbClr val="FFFFFF"/>
            </a:solidFill>
            <a:ln w="12690"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71775B54-885A-4778-A047-973BA88B55AB}"/>
                </a:ext>
              </a:extLst>
            </p:cNvPr>
            <p:cNvSpPr/>
            <p:nvPr/>
          </p:nvSpPr>
          <p:spPr>
            <a:xfrm>
              <a:off x="4244705" y="2099323"/>
              <a:ext cx="6124043" cy="4758032"/>
            </a:xfrm>
            <a:custGeom>
              <a:avLst/>
              <a:gdLst>
                <a:gd name="connsiteX0" fmla="*/ 1597891 w 6124043"/>
                <a:gd name="connsiteY0" fmla="*/ 3022105 h 4758032"/>
                <a:gd name="connsiteX1" fmla="*/ 3999490 w 6124043"/>
                <a:gd name="connsiteY1" fmla="*/ 3712667 h 4758032"/>
                <a:gd name="connsiteX2" fmla="*/ 4187860 w 6124043"/>
                <a:gd name="connsiteY2" fmla="*/ 3721286 h 4758032"/>
                <a:gd name="connsiteX3" fmla="*/ 4230481 w 6124043"/>
                <a:gd name="connsiteY3" fmla="*/ 3637744 h 4758032"/>
                <a:gd name="connsiteX4" fmla="*/ 4554301 w 6124043"/>
                <a:gd name="connsiteY4" fmla="*/ 2404308 h 4758032"/>
                <a:gd name="connsiteX5" fmla="*/ 6073205 w 6124043"/>
                <a:gd name="connsiteY5" fmla="*/ 238146 h 4758032"/>
                <a:gd name="connsiteX6" fmla="*/ 6095428 w 6124043"/>
                <a:gd name="connsiteY6" fmla="*/ 50839 h 4758032"/>
                <a:gd name="connsiteX7" fmla="*/ 5908120 w 6124043"/>
                <a:gd name="connsiteY7" fmla="*/ 28616 h 4758032"/>
                <a:gd name="connsiteX8" fmla="*/ 4301975 w 6124043"/>
                <a:gd name="connsiteY8" fmla="*/ 2317449 h 4758032"/>
                <a:gd name="connsiteX9" fmla="*/ 4008633 w 6124043"/>
                <a:gd name="connsiteY9" fmla="*/ 3342624 h 4758032"/>
                <a:gd name="connsiteX10" fmla="*/ 2847708 w 6124043"/>
                <a:gd name="connsiteY10" fmla="*/ 2691174 h 4758032"/>
                <a:gd name="connsiteX11" fmla="*/ 1503412 w 6124043"/>
                <a:gd name="connsiteY11" fmla="*/ 2772574 h 4758032"/>
                <a:gd name="connsiteX12" fmla="*/ 436712 w 6124043"/>
                <a:gd name="connsiteY12" fmla="*/ 3580726 h 4758032"/>
                <a:gd name="connsiteX13" fmla="*/ 0 w 6124043"/>
                <a:gd name="connsiteY13" fmla="*/ 4758033 h 4758032"/>
                <a:gd name="connsiteX14" fmla="*/ 267437 w 6124043"/>
                <a:gd name="connsiteY14" fmla="*/ 4758033 h 4758032"/>
                <a:gd name="connsiteX15" fmla="*/ 1597891 w 6124043"/>
                <a:gd name="connsiteY15" fmla="*/ 3022105 h 4758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6124043" h="4758032">
                  <a:moveTo>
                    <a:pt x="1597891" y="3022105"/>
                  </a:moveTo>
                  <a:cubicBezTo>
                    <a:pt x="2434489" y="2705905"/>
                    <a:pt x="3309945" y="2957596"/>
                    <a:pt x="3999490" y="3712667"/>
                  </a:cubicBezTo>
                  <a:cubicBezTo>
                    <a:pt x="4049127" y="3767064"/>
                    <a:pt x="4133463" y="3770923"/>
                    <a:pt x="4187860" y="3721286"/>
                  </a:cubicBezTo>
                  <a:cubicBezTo>
                    <a:pt x="4211716" y="3699519"/>
                    <a:pt x="4226860" y="3669833"/>
                    <a:pt x="4230481" y="3637744"/>
                  </a:cubicBezTo>
                  <a:cubicBezTo>
                    <a:pt x="4231116" y="3632410"/>
                    <a:pt x="4293975" y="3091695"/>
                    <a:pt x="4554301" y="2404308"/>
                  </a:cubicBezTo>
                  <a:cubicBezTo>
                    <a:pt x="4792276" y="1774447"/>
                    <a:pt x="5249053" y="887309"/>
                    <a:pt x="6073205" y="238146"/>
                  </a:cubicBezTo>
                  <a:cubicBezTo>
                    <a:pt x="6131065" y="192559"/>
                    <a:pt x="6141014" y="108699"/>
                    <a:pt x="6095428" y="50839"/>
                  </a:cubicBezTo>
                  <a:cubicBezTo>
                    <a:pt x="6049841" y="-7022"/>
                    <a:pt x="5965980" y="-16971"/>
                    <a:pt x="5908120" y="28616"/>
                  </a:cubicBezTo>
                  <a:cubicBezTo>
                    <a:pt x="5033300" y="717653"/>
                    <a:pt x="4551888" y="1654063"/>
                    <a:pt x="4301975" y="2317449"/>
                  </a:cubicBezTo>
                  <a:cubicBezTo>
                    <a:pt x="4176116" y="2650508"/>
                    <a:pt x="4078001" y="2993400"/>
                    <a:pt x="4008633" y="3342624"/>
                  </a:cubicBezTo>
                  <a:cubicBezTo>
                    <a:pt x="3657638" y="3013725"/>
                    <a:pt x="3268039" y="2794924"/>
                    <a:pt x="2847708" y="2691174"/>
                  </a:cubicBezTo>
                  <a:cubicBezTo>
                    <a:pt x="2401767" y="2580866"/>
                    <a:pt x="1932784" y="2609264"/>
                    <a:pt x="1503412" y="2772574"/>
                  </a:cubicBezTo>
                  <a:cubicBezTo>
                    <a:pt x="1077314" y="2933386"/>
                    <a:pt x="706849" y="3214057"/>
                    <a:pt x="436712" y="3580726"/>
                  </a:cubicBezTo>
                  <a:cubicBezTo>
                    <a:pt x="181480" y="3923286"/>
                    <a:pt x="29911" y="4331892"/>
                    <a:pt x="0" y="4758033"/>
                  </a:cubicBezTo>
                  <a:lnTo>
                    <a:pt x="267437" y="4758033"/>
                  </a:lnTo>
                  <a:cubicBezTo>
                    <a:pt x="328010" y="3992421"/>
                    <a:pt x="850821" y="3304400"/>
                    <a:pt x="1597891" y="3022105"/>
                  </a:cubicBezTo>
                  <a:close/>
                </a:path>
              </a:pathLst>
            </a:custGeom>
            <a:solidFill>
              <a:srgbClr val="005C82"/>
            </a:solidFill>
            <a:ln w="12690" cap="flat">
              <a:noFill/>
              <a:prstDash val="solid"/>
              <a:miter/>
            </a:ln>
          </p:spPr>
          <p:txBody>
            <a:bodyPr rtlCol="0" anchor="ctr"/>
            <a:lstStyle/>
            <a:p>
              <a:endParaRPr lang="en-GB"/>
            </a:p>
          </p:txBody>
        </p:sp>
      </p:grpSp>
      <p:pic>
        <p:nvPicPr>
          <p:cNvPr id="9" name="Cover Logo">
            <a:extLst>
              <a:ext uri="{FF2B5EF4-FFF2-40B4-BE49-F238E27FC236}">
                <a16:creationId xmlns:a16="http://schemas.microsoft.com/office/drawing/2014/main" id="{4940C945-8607-4600-B2C1-89DB7F6C2C6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19138" y="719138"/>
            <a:ext cx="1822450" cy="321910"/>
          </a:xfrm>
          <a:prstGeom prst="rect">
            <a:avLst/>
          </a:prstGeom>
        </p:spPr>
      </p:pic>
      <p:sp>
        <p:nvSpPr>
          <p:cNvPr id="27" name="Picture Placeholder 1">
            <a:extLst>
              <a:ext uri="{FF2B5EF4-FFF2-40B4-BE49-F238E27FC236}">
                <a16:creationId xmlns:a16="http://schemas.microsoft.com/office/drawing/2014/main" id="{58796B95-BF41-4F4C-A925-88BB4F6B8DDC}"/>
              </a:ext>
            </a:extLst>
          </p:cNvPr>
          <p:cNvSpPr>
            <a:spLocks noGrp="1"/>
          </p:cNvSpPr>
          <p:nvPr>
            <p:ph type="pic" sz="quarter" idx="11"/>
          </p:nvPr>
        </p:nvSpPr>
        <p:spPr>
          <a:xfrm>
            <a:off x="7817089" y="719138"/>
            <a:ext cx="4376737" cy="5418137"/>
          </a:xfrm>
        </p:spPr>
        <p:txBody>
          <a:bodyPr/>
          <a:lstStyle/>
          <a:p>
            <a:r>
              <a:rPr lang="en-US"/>
              <a:t>Click icon to add picture</a:t>
            </a:r>
            <a:endParaRPr lang="en-GB" dirty="0"/>
          </a:p>
        </p:txBody>
      </p:sp>
      <p:sp>
        <p:nvSpPr>
          <p:cNvPr id="14" name="Date Placeholder 1">
            <a:extLst>
              <a:ext uri="{FF2B5EF4-FFF2-40B4-BE49-F238E27FC236}">
                <a16:creationId xmlns:a16="http://schemas.microsoft.com/office/drawing/2014/main" id="{A3AC88BA-6E7A-4F66-A140-439B25DB9248}"/>
              </a:ext>
            </a:extLst>
          </p:cNvPr>
          <p:cNvSpPr>
            <a:spLocks noGrp="1"/>
          </p:cNvSpPr>
          <p:nvPr>
            <p:ph type="dt" sz="half" idx="10"/>
          </p:nvPr>
        </p:nvSpPr>
        <p:spPr>
          <a:xfrm>
            <a:off x="719138" y="4653513"/>
            <a:ext cx="1660897" cy="448468"/>
          </a:xfrm>
          <a:prstGeom prst="roundRect">
            <a:avLst>
              <a:gd name="adj" fmla="val 50000"/>
            </a:avLst>
          </a:prstGeom>
          <a:solidFill>
            <a:schemeClr val="tx2"/>
          </a:solidFill>
        </p:spPr>
        <p:txBody>
          <a:bodyPr wrap="none" tIns="36000" rIns="72000" bIns="36000" anchor="ctr" anchorCtr="0">
            <a:spAutoFit/>
          </a:bodyPr>
          <a:lstStyle>
            <a:lvl1pPr marL="0">
              <a:defRPr sz="1600" i="1">
                <a:solidFill>
                  <a:schemeClr val="bg1"/>
                </a:solidFill>
                <a:latin typeface="+mj-lt"/>
              </a:defRPr>
            </a:lvl1pPr>
            <a:lvl2pPr marL="0">
              <a:defRPr sz="1600" i="1">
                <a:solidFill>
                  <a:schemeClr val="bg1"/>
                </a:solidFill>
                <a:latin typeface="+mj-lt"/>
              </a:defRPr>
            </a:lvl2pPr>
            <a:lvl3pPr marL="0">
              <a:defRPr sz="1600" i="1">
                <a:solidFill>
                  <a:schemeClr val="bg1"/>
                </a:solidFill>
                <a:latin typeface="+mj-lt"/>
              </a:defRPr>
            </a:lvl3pPr>
            <a:lvl4pPr marL="0">
              <a:defRPr sz="1600" i="1">
                <a:solidFill>
                  <a:schemeClr val="bg1"/>
                </a:solidFill>
                <a:latin typeface="+mj-lt"/>
              </a:defRPr>
            </a:lvl4pPr>
            <a:lvl5pPr marL="0">
              <a:defRPr sz="1600" i="1">
                <a:solidFill>
                  <a:schemeClr val="bg1"/>
                </a:solidFill>
                <a:latin typeface="+mj-lt"/>
              </a:defRPr>
            </a:lvl5pPr>
            <a:lvl6pPr marL="0">
              <a:defRPr sz="1600" i="1">
                <a:solidFill>
                  <a:schemeClr val="bg1"/>
                </a:solidFill>
                <a:latin typeface="+mj-lt"/>
              </a:defRPr>
            </a:lvl6pPr>
            <a:lvl7pPr marL="0">
              <a:defRPr sz="1600" i="1">
                <a:solidFill>
                  <a:schemeClr val="bg1"/>
                </a:solidFill>
                <a:latin typeface="+mj-lt"/>
              </a:defRPr>
            </a:lvl7pPr>
            <a:lvl8pPr marL="0">
              <a:defRPr sz="1600" i="1">
                <a:solidFill>
                  <a:schemeClr val="bg1"/>
                </a:solidFill>
                <a:latin typeface="+mj-lt"/>
              </a:defRPr>
            </a:lvl8pPr>
            <a:lvl9pPr marL="0">
              <a:defRPr sz="1600" i="1">
                <a:solidFill>
                  <a:schemeClr val="bg1"/>
                </a:solidFill>
                <a:latin typeface="+mj-lt"/>
              </a:defRPr>
            </a:lvl9pPr>
          </a:lstStyle>
          <a:p>
            <a:r>
              <a:rPr lang="en-US"/>
              <a:t>dd Month 2021</a:t>
            </a:r>
            <a:endParaRPr lang="en-GB" dirty="0"/>
          </a:p>
        </p:txBody>
      </p:sp>
      <p:sp>
        <p:nvSpPr>
          <p:cNvPr id="3" name="Subtitle 1">
            <a:extLst>
              <a:ext uri="{FF2B5EF4-FFF2-40B4-BE49-F238E27FC236}">
                <a16:creationId xmlns:a16="http://schemas.microsoft.com/office/drawing/2014/main" id="{EDF4FC6D-F465-4529-BC7B-E5213D4E361C}"/>
              </a:ext>
            </a:extLst>
          </p:cNvPr>
          <p:cNvSpPr>
            <a:spLocks noGrp="1"/>
          </p:cNvSpPr>
          <p:nvPr>
            <p:ph type="subTitle" idx="1"/>
          </p:nvPr>
        </p:nvSpPr>
        <p:spPr>
          <a:xfrm>
            <a:off x="719138" y="3604929"/>
            <a:ext cx="6197600" cy="864000"/>
          </a:xfrm>
        </p:spPr>
        <p:txBody>
          <a:bodyPr>
            <a:noAutofit/>
          </a:bodyPr>
          <a:lstStyle>
            <a:lvl1pPr marL="0" indent="0" algn="l">
              <a:lnSpc>
                <a:spcPct val="100000"/>
              </a:lnSpc>
              <a:spcBef>
                <a:spcPts val="600"/>
              </a:spcBef>
              <a:buNone/>
              <a:defRPr sz="1800">
                <a:solidFill>
                  <a:schemeClr val="tx1"/>
                </a:solidFill>
                <a:latin typeface="+mn-lt"/>
              </a:defRPr>
            </a:lvl1pPr>
            <a:lvl2pPr marL="0" indent="0" algn="l">
              <a:lnSpc>
                <a:spcPct val="100000"/>
              </a:lnSpc>
              <a:spcBef>
                <a:spcPts val="600"/>
              </a:spcBef>
              <a:buNone/>
              <a:defRPr sz="1800">
                <a:solidFill>
                  <a:schemeClr val="tx2"/>
                </a:solidFill>
                <a:latin typeface="+mn-lt"/>
              </a:defRPr>
            </a:lvl2pPr>
            <a:lvl3pPr marL="0" indent="0" algn="l">
              <a:lnSpc>
                <a:spcPct val="100000"/>
              </a:lnSpc>
              <a:spcBef>
                <a:spcPts val="600"/>
              </a:spcBef>
              <a:buNone/>
              <a:defRPr sz="1800">
                <a:solidFill>
                  <a:schemeClr val="bg1"/>
                </a:solidFill>
                <a:latin typeface="+mn-lt"/>
              </a:defRPr>
            </a:lvl3pPr>
            <a:lvl4pPr marL="0" indent="0" algn="l">
              <a:lnSpc>
                <a:spcPct val="100000"/>
              </a:lnSpc>
              <a:spcBef>
                <a:spcPts val="600"/>
              </a:spcBef>
              <a:buNone/>
              <a:defRPr sz="1600">
                <a:solidFill>
                  <a:schemeClr val="tx1"/>
                </a:solidFill>
                <a:latin typeface="+mn-lt"/>
              </a:defRPr>
            </a:lvl4pPr>
            <a:lvl5pPr marL="0" indent="0" algn="l">
              <a:lnSpc>
                <a:spcPct val="100000"/>
              </a:lnSpc>
              <a:spcBef>
                <a:spcPts val="600"/>
              </a:spcBef>
              <a:buNone/>
              <a:defRPr sz="1600">
                <a:solidFill>
                  <a:schemeClr val="tx2"/>
                </a:solidFill>
                <a:latin typeface="+mn-lt"/>
              </a:defRPr>
            </a:lvl5pPr>
            <a:lvl6pPr marL="0" indent="0" algn="l">
              <a:lnSpc>
                <a:spcPct val="100000"/>
              </a:lnSpc>
              <a:spcBef>
                <a:spcPts val="600"/>
              </a:spcBef>
              <a:buNone/>
              <a:defRPr sz="1600">
                <a:solidFill>
                  <a:schemeClr val="bg1"/>
                </a:solidFill>
                <a:latin typeface="+mn-lt"/>
              </a:defRPr>
            </a:lvl6pPr>
            <a:lvl7pPr marL="0" indent="0" algn="l">
              <a:lnSpc>
                <a:spcPct val="100000"/>
              </a:lnSpc>
              <a:spcBef>
                <a:spcPts val="600"/>
              </a:spcBef>
              <a:buNone/>
              <a:defRPr sz="2400">
                <a:solidFill>
                  <a:schemeClr val="tx1"/>
                </a:solidFill>
                <a:latin typeface="+mn-lt"/>
              </a:defRPr>
            </a:lvl7pPr>
            <a:lvl8pPr marL="0" indent="0" algn="l">
              <a:lnSpc>
                <a:spcPct val="100000"/>
              </a:lnSpc>
              <a:spcBef>
                <a:spcPts val="600"/>
              </a:spcBef>
              <a:buNone/>
              <a:defRPr sz="2400">
                <a:solidFill>
                  <a:schemeClr val="tx2"/>
                </a:solidFill>
                <a:latin typeface="+mn-lt"/>
              </a:defRPr>
            </a:lvl8pPr>
            <a:lvl9pPr marL="0" indent="0" algn="l">
              <a:lnSpc>
                <a:spcPct val="100000"/>
              </a:lnSpc>
              <a:spcBef>
                <a:spcPts val="600"/>
              </a:spcBef>
              <a:buNone/>
              <a:defRPr sz="2400">
                <a:solidFill>
                  <a:schemeClr val="bg1"/>
                </a:solidFill>
                <a:latin typeface="+mn-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719138" y="1908351"/>
            <a:ext cx="6197600" cy="1512000"/>
          </a:xfrm>
        </p:spPr>
        <p:txBody>
          <a:bodyPr lIns="0" rIns="0" anchor="b" anchorCtr="0">
            <a:noAutofit/>
          </a:bodyPr>
          <a:lstStyle>
            <a:lvl1pPr algn="l">
              <a:defRPr sz="4400"/>
            </a:lvl1pPr>
            <a:lvl2pPr>
              <a:defRPr sz="4400"/>
            </a:lvl2pPr>
            <a:lvl3pPr>
              <a:defRPr sz="4400">
                <a:solidFill>
                  <a:schemeClr val="bg1"/>
                </a:solidFill>
              </a:defRPr>
            </a:lvl3pPr>
            <a:lvl4pPr>
              <a:defRPr sz="3600">
                <a:solidFill>
                  <a:schemeClr val="tx1"/>
                </a:solidFill>
              </a:defRPr>
            </a:lvl4pPr>
            <a:lvl5pPr>
              <a:defRPr sz="3600">
                <a:solidFill>
                  <a:schemeClr val="tx2"/>
                </a:solidFill>
              </a:defRPr>
            </a:lvl5pPr>
            <a:lvl6pPr>
              <a:defRPr sz="3600">
                <a:solidFill>
                  <a:schemeClr val="bg1"/>
                </a:solidFill>
              </a:defRPr>
            </a:lvl6pPr>
            <a:lvl7pPr>
              <a:defRPr sz="4000"/>
            </a:lvl7pPr>
            <a:lvl8pPr>
              <a:defRPr sz="4000"/>
            </a:lvl8pPr>
            <a:lvl9pPr>
              <a:defRPr sz="4000" i="0">
                <a:solidFill>
                  <a:schemeClr val="bg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296034130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accent2"/>
        </a:solidFill>
        <a:effectLst/>
      </p:bgPr>
    </p:bg>
    <p:spTree>
      <p:nvGrpSpPr>
        <p:cNvPr id="1" name=""/>
        <p:cNvGrpSpPr/>
        <p:nvPr/>
      </p:nvGrpSpPr>
      <p:grpSpPr>
        <a:xfrm>
          <a:off x="0" y="0"/>
          <a:ext cx="0" cy="0"/>
          <a:chOff x="0" y="0"/>
          <a:chExt cx="0" cy="0"/>
        </a:xfrm>
      </p:grpSpPr>
      <p:pic>
        <p:nvPicPr>
          <p:cNvPr id="9" name="Cover Logo">
            <a:extLst>
              <a:ext uri="{FF2B5EF4-FFF2-40B4-BE49-F238E27FC236}">
                <a16:creationId xmlns:a16="http://schemas.microsoft.com/office/drawing/2014/main" id="{4940C945-8607-4600-B2C1-89DB7F6C2C6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658921" y="5825325"/>
            <a:ext cx="1822450" cy="321910"/>
          </a:xfrm>
          <a:prstGeom prst="rect">
            <a:avLst/>
          </a:prstGeom>
        </p:spPr>
      </p:pic>
      <p:sp>
        <p:nvSpPr>
          <p:cNvPr id="14" name="Date Placeholder 1">
            <a:extLst>
              <a:ext uri="{FF2B5EF4-FFF2-40B4-BE49-F238E27FC236}">
                <a16:creationId xmlns:a16="http://schemas.microsoft.com/office/drawing/2014/main" id="{A3AC88BA-6E7A-4F66-A140-439B25DB9248}"/>
              </a:ext>
            </a:extLst>
          </p:cNvPr>
          <p:cNvSpPr>
            <a:spLocks noGrp="1"/>
          </p:cNvSpPr>
          <p:nvPr>
            <p:ph type="dt" sz="half" idx="10"/>
          </p:nvPr>
        </p:nvSpPr>
        <p:spPr>
          <a:xfrm>
            <a:off x="2541588" y="3028139"/>
            <a:ext cx="1660897" cy="448468"/>
          </a:xfrm>
          <a:prstGeom prst="roundRect">
            <a:avLst>
              <a:gd name="adj" fmla="val 50000"/>
            </a:avLst>
          </a:prstGeom>
          <a:solidFill>
            <a:schemeClr val="tx2"/>
          </a:solidFill>
        </p:spPr>
        <p:txBody>
          <a:bodyPr wrap="none" tIns="36000" rIns="72000" bIns="36000" anchor="ctr" anchorCtr="0">
            <a:spAutoFit/>
          </a:bodyPr>
          <a:lstStyle>
            <a:lvl1pPr marL="0">
              <a:defRPr sz="1600" i="1">
                <a:solidFill>
                  <a:schemeClr val="bg1"/>
                </a:solidFill>
                <a:latin typeface="+mj-lt"/>
              </a:defRPr>
            </a:lvl1pPr>
            <a:lvl2pPr marL="0">
              <a:defRPr sz="1600" i="1">
                <a:solidFill>
                  <a:schemeClr val="bg1"/>
                </a:solidFill>
                <a:latin typeface="+mj-lt"/>
              </a:defRPr>
            </a:lvl2pPr>
            <a:lvl3pPr marL="0">
              <a:defRPr sz="1600" i="1">
                <a:solidFill>
                  <a:schemeClr val="bg1"/>
                </a:solidFill>
                <a:latin typeface="+mj-lt"/>
              </a:defRPr>
            </a:lvl3pPr>
            <a:lvl4pPr marL="0">
              <a:defRPr sz="1600" i="1">
                <a:solidFill>
                  <a:schemeClr val="bg1"/>
                </a:solidFill>
                <a:latin typeface="+mj-lt"/>
              </a:defRPr>
            </a:lvl4pPr>
            <a:lvl5pPr marL="0">
              <a:defRPr sz="1600" i="1">
                <a:solidFill>
                  <a:schemeClr val="bg1"/>
                </a:solidFill>
                <a:latin typeface="+mj-lt"/>
              </a:defRPr>
            </a:lvl5pPr>
            <a:lvl6pPr marL="0">
              <a:defRPr sz="1600" i="1">
                <a:solidFill>
                  <a:schemeClr val="bg1"/>
                </a:solidFill>
                <a:latin typeface="+mj-lt"/>
              </a:defRPr>
            </a:lvl6pPr>
            <a:lvl7pPr marL="0">
              <a:defRPr sz="1600" i="1">
                <a:solidFill>
                  <a:schemeClr val="bg1"/>
                </a:solidFill>
                <a:latin typeface="+mj-lt"/>
              </a:defRPr>
            </a:lvl7pPr>
            <a:lvl8pPr marL="0">
              <a:defRPr sz="1600" i="1">
                <a:solidFill>
                  <a:schemeClr val="bg1"/>
                </a:solidFill>
                <a:latin typeface="+mj-lt"/>
              </a:defRPr>
            </a:lvl8pPr>
            <a:lvl9pPr marL="0">
              <a:defRPr sz="1600" i="1">
                <a:solidFill>
                  <a:schemeClr val="bg1"/>
                </a:solidFill>
                <a:latin typeface="+mj-lt"/>
              </a:defRPr>
            </a:lvl9pPr>
          </a:lstStyle>
          <a:p>
            <a:r>
              <a:rPr lang="en-US"/>
              <a:t>dd Month 2021</a:t>
            </a:r>
            <a:endParaRPr lang="en-GB" dirty="0"/>
          </a:p>
        </p:txBody>
      </p:sp>
      <p:sp>
        <p:nvSpPr>
          <p:cNvPr id="3" name="Subtitle 1">
            <a:extLst>
              <a:ext uri="{FF2B5EF4-FFF2-40B4-BE49-F238E27FC236}">
                <a16:creationId xmlns:a16="http://schemas.microsoft.com/office/drawing/2014/main" id="{EDF4FC6D-F465-4529-BC7B-E5213D4E361C}"/>
              </a:ext>
            </a:extLst>
          </p:cNvPr>
          <p:cNvSpPr>
            <a:spLocks noGrp="1"/>
          </p:cNvSpPr>
          <p:nvPr>
            <p:ph type="subTitle" idx="1"/>
          </p:nvPr>
        </p:nvSpPr>
        <p:spPr>
          <a:xfrm>
            <a:off x="2541588" y="2344139"/>
            <a:ext cx="6197600" cy="504000"/>
          </a:xfrm>
        </p:spPr>
        <p:txBody>
          <a:bodyPr>
            <a:noAutofit/>
          </a:bodyPr>
          <a:lstStyle>
            <a:lvl1pPr marL="0" indent="0" algn="l">
              <a:lnSpc>
                <a:spcPct val="100000"/>
              </a:lnSpc>
              <a:spcBef>
                <a:spcPts val="600"/>
              </a:spcBef>
              <a:buNone/>
              <a:defRPr sz="1800">
                <a:solidFill>
                  <a:schemeClr val="tx1"/>
                </a:solidFill>
                <a:latin typeface="+mn-lt"/>
              </a:defRPr>
            </a:lvl1pPr>
            <a:lvl2pPr marL="0" indent="0" algn="l">
              <a:lnSpc>
                <a:spcPct val="100000"/>
              </a:lnSpc>
              <a:spcBef>
                <a:spcPts val="600"/>
              </a:spcBef>
              <a:buNone/>
              <a:defRPr sz="1800">
                <a:solidFill>
                  <a:schemeClr val="tx2"/>
                </a:solidFill>
                <a:latin typeface="+mn-lt"/>
              </a:defRPr>
            </a:lvl2pPr>
            <a:lvl3pPr marL="0" indent="0" algn="l">
              <a:lnSpc>
                <a:spcPct val="100000"/>
              </a:lnSpc>
              <a:spcBef>
                <a:spcPts val="600"/>
              </a:spcBef>
              <a:buNone/>
              <a:defRPr sz="1800">
                <a:solidFill>
                  <a:schemeClr val="bg1"/>
                </a:solidFill>
                <a:latin typeface="+mn-lt"/>
              </a:defRPr>
            </a:lvl3pPr>
            <a:lvl4pPr marL="0" indent="0" algn="l">
              <a:lnSpc>
                <a:spcPct val="100000"/>
              </a:lnSpc>
              <a:spcBef>
                <a:spcPts val="600"/>
              </a:spcBef>
              <a:buNone/>
              <a:defRPr sz="1600">
                <a:solidFill>
                  <a:schemeClr val="tx1"/>
                </a:solidFill>
                <a:latin typeface="+mn-lt"/>
              </a:defRPr>
            </a:lvl4pPr>
            <a:lvl5pPr marL="0" indent="0" algn="l">
              <a:lnSpc>
                <a:spcPct val="100000"/>
              </a:lnSpc>
              <a:spcBef>
                <a:spcPts val="600"/>
              </a:spcBef>
              <a:buNone/>
              <a:defRPr sz="1600">
                <a:solidFill>
                  <a:schemeClr val="tx2"/>
                </a:solidFill>
                <a:latin typeface="+mn-lt"/>
              </a:defRPr>
            </a:lvl5pPr>
            <a:lvl6pPr marL="0" indent="0" algn="l">
              <a:lnSpc>
                <a:spcPct val="100000"/>
              </a:lnSpc>
              <a:spcBef>
                <a:spcPts val="600"/>
              </a:spcBef>
              <a:buNone/>
              <a:defRPr sz="1600">
                <a:solidFill>
                  <a:schemeClr val="bg1"/>
                </a:solidFill>
                <a:latin typeface="+mn-lt"/>
              </a:defRPr>
            </a:lvl6pPr>
            <a:lvl7pPr marL="0" indent="0" algn="l">
              <a:lnSpc>
                <a:spcPct val="100000"/>
              </a:lnSpc>
              <a:spcBef>
                <a:spcPts val="600"/>
              </a:spcBef>
              <a:buNone/>
              <a:defRPr sz="2400">
                <a:solidFill>
                  <a:schemeClr val="tx1"/>
                </a:solidFill>
                <a:latin typeface="+mn-lt"/>
              </a:defRPr>
            </a:lvl7pPr>
            <a:lvl8pPr marL="0" indent="0" algn="l">
              <a:lnSpc>
                <a:spcPct val="100000"/>
              </a:lnSpc>
              <a:spcBef>
                <a:spcPts val="600"/>
              </a:spcBef>
              <a:buNone/>
              <a:defRPr sz="2400">
                <a:solidFill>
                  <a:schemeClr val="tx2"/>
                </a:solidFill>
                <a:latin typeface="+mn-lt"/>
              </a:defRPr>
            </a:lvl8pPr>
            <a:lvl9pPr marL="0" indent="0" algn="l">
              <a:lnSpc>
                <a:spcPct val="100000"/>
              </a:lnSpc>
              <a:spcBef>
                <a:spcPts val="600"/>
              </a:spcBef>
              <a:buNone/>
              <a:defRPr sz="2400">
                <a:solidFill>
                  <a:schemeClr val="bg1"/>
                </a:solidFill>
                <a:latin typeface="+mn-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2541588" y="719138"/>
            <a:ext cx="8018462" cy="1444979"/>
          </a:xfrm>
        </p:spPr>
        <p:txBody>
          <a:bodyPr lIns="0" rIns="0" anchor="b" anchorCtr="0">
            <a:noAutofit/>
          </a:bodyPr>
          <a:lstStyle>
            <a:lvl1pPr algn="l">
              <a:defRPr sz="4400"/>
            </a:lvl1pPr>
            <a:lvl2pPr>
              <a:defRPr sz="4400"/>
            </a:lvl2pPr>
            <a:lvl3pPr>
              <a:defRPr sz="4400">
                <a:solidFill>
                  <a:schemeClr val="bg1"/>
                </a:solidFill>
              </a:defRPr>
            </a:lvl3pPr>
            <a:lvl4pPr>
              <a:defRPr sz="3600">
                <a:solidFill>
                  <a:schemeClr val="tx1"/>
                </a:solidFill>
              </a:defRPr>
            </a:lvl4pPr>
            <a:lvl5pPr>
              <a:defRPr sz="3600">
                <a:solidFill>
                  <a:schemeClr val="tx2"/>
                </a:solidFill>
              </a:defRPr>
            </a:lvl5pPr>
            <a:lvl6pPr>
              <a:defRPr sz="3600">
                <a:solidFill>
                  <a:schemeClr val="bg1"/>
                </a:solidFill>
              </a:defRPr>
            </a:lvl6pPr>
            <a:lvl7pPr>
              <a:defRPr sz="4000"/>
            </a:lvl7pPr>
            <a:lvl8pPr>
              <a:defRPr sz="4000"/>
            </a:lvl8pPr>
            <a:lvl9pPr>
              <a:defRPr sz="4000" i="0">
                <a:solidFill>
                  <a:schemeClr val="bg1"/>
                </a:solidFill>
              </a:defRPr>
            </a:lvl9pPr>
          </a:lstStyle>
          <a:p>
            <a:pPr lvl="0"/>
            <a:r>
              <a:rPr lang="en-US"/>
              <a:t>Click to edit Master title style</a:t>
            </a:r>
            <a:endParaRPr lang="en-GB" dirty="0"/>
          </a:p>
        </p:txBody>
      </p:sp>
      <p:grpSp>
        <p:nvGrpSpPr>
          <p:cNvPr id="40" name="Group 39">
            <a:extLst>
              <a:ext uri="{FF2B5EF4-FFF2-40B4-BE49-F238E27FC236}">
                <a16:creationId xmlns:a16="http://schemas.microsoft.com/office/drawing/2014/main" id="{EDF663FA-9A4B-4327-BA90-F0E24E7DEF24}"/>
              </a:ext>
            </a:extLst>
          </p:cNvPr>
          <p:cNvGrpSpPr/>
          <p:nvPr userDrawn="1"/>
        </p:nvGrpSpPr>
        <p:grpSpPr>
          <a:xfrm>
            <a:off x="454409" y="2997467"/>
            <a:ext cx="11748559" cy="3159175"/>
            <a:chOff x="454409" y="2997467"/>
            <a:chExt cx="11748559" cy="3159175"/>
          </a:xfrm>
        </p:grpSpPr>
        <p:sp>
          <p:nvSpPr>
            <p:cNvPr id="41" name="Freeform: Shape 40">
              <a:extLst>
                <a:ext uri="{FF2B5EF4-FFF2-40B4-BE49-F238E27FC236}">
                  <a16:creationId xmlns:a16="http://schemas.microsoft.com/office/drawing/2014/main" id="{CFBF558B-3C16-43E7-870C-049168C25D2B}"/>
                </a:ext>
              </a:extLst>
            </p:cNvPr>
            <p:cNvSpPr/>
            <p:nvPr userDrawn="1"/>
          </p:nvSpPr>
          <p:spPr>
            <a:xfrm>
              <a:off x="2917671" y="3567419"/>
              <a:ext cx="9285297" cy="1230491"/>
            </a:xfrm>
            <a:custGeom>
              <a:avLst/>
              <a:gdLst>
                <a:gd name="connsiteX0" fmla="*/ 9285297 w 9285297"/>
                <a:gd name="connsiteY0" fmla="*/ 0 h 1230491"/>
                <a:gd name="connsiteX1" fmla="*/ 9285297 w 9285297"/>
                <a:gd name="connsiteY1" fmla="*/ 248666 h 1230491"/>
                <a:gd name="connsiteX2" fmla="*/ 9179918 w 9285297"/>
                <a:gd name="connsiteY2" fmla="*/ 272756 h 1230491"/>
                <a:gd name="connsiteX3" fmla="*/ 3039595 w 9285297"/>
                <a:gd name="connsiteY3" fmla="*/ 1146580 h 1230491"/>
                <a:gd name="connsiteX4" fmla="*/ 662859 w 9285297"/>
                <a:gd name="connsiteY4" fmla="*/ 1230491 h 1230491"/>
                <a:gd name="connsiteX5" fmla="*/ 0 w 9285297"/>
                <a:gd name="connsiteY5" fmla="*/ 1220449 h 1230491"/>
                <a:gd name="connsiteX6" fmla="*/ 10388 w 9285297"/>
                <a:gd name="connsiteY6" fmla="*/ 978067 h 1230491"/>
                <a:gd name="connsiteX7" fmla="*/ 3029669 w 9285297"/>
                <a:gd name="connsiteY7" fmla="*/ 904082 h 1230491"/>
                <a:gd name="connsiteX8" fmla="*/ 9133527 w 9285297"/>
                <a:gd name="connsiteY8" fmla="*/ 34712 h 1230491"/>
                <a:gd name="connsiteX9" fmla="*/ 9285297 w 9285297"/>
                <a:gd name="connsiteY9" fmla="*/ 0 h 12304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85297" h="1230491">
                  <a:moveTo>
                    <a:pt x="9285297" y="0"/>
                  </a:moveTo>
                  <a:lnTo>
                    <a:pt x="9285297" y="248666"/>
                  </a:lnTo>
                  <a:lnTo>
                    <a:pt x="9179918" y="272756"/>
                  </a:lnTo>
                  <a:cubicBezTo>
                    <a:pt x="6729077" y="814541"/>
                    <a:pt x="4528431" y="1047102"/>
                    <a:pt x="3039595" y="1146580"/>
                  </a:cubicBezTo>
                  <a:cubicBezTo>
                    <a:pt x="2013277" y="1215140"/>
                    <a:pt x="1191831" y="1230491"/>
                    <a:pt x="662859" y="1230491"/>
                  </a:cubicBezTo>
                  <a:cubicBezTo>
                    <a:pt x="240882" y="1230491"/>
                    <a:pt x="4963" y="1220680"/>
                    <a:pt x="0" y="1220449"/>
                  </a:cubicBezTo>
                  <a:lnTo>
                    <a:pt x="10388" y="978067"/>
                  </a:lnTo>
                  <a:cubicBezTo>
                    <a:pt x="21930" y="978644"/>
                    <a:pt x="1195755" y="1026889"/>
                    <a:pt x="3029669" y="904082"/>
                  </a:cubicBezTo>
                  <a:cubicBezTo>
                    <a:pt x="4510022" y="804907"/>
                    <a:pt x="6697766" y="573444"/>
                    <a:pt x="9133527" y="34712"/>
                  </a:cubicBezTo>
                  <a:lnTo>
                    <a:pt x="9285297"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72000" rtlCol="0" anchor="ctr">
              <a:noAutofit/>
            </a:bodyPr>
            <a:lstStyle/>
            <a:p>
              <a:pPr algn="ctr"/>
              <a:endParaRPr lang="en-GB" sz="1400" dirty="0">
                <a:solidFill>
                  <a:schemeClr val="tx1"/>
                </a:solidFill>
              </a:endParaRPr>
            </a:p>
          </p:txBody>
        </p:sp>
        <p:sp>
          <p:nvSpPr>
            <p:cNvPr id="42" name="Freeform: Shape 41">
              <a:extLst>
                <a:ext uri="{FF2B5EF4-FFF2-40B4-BE49-F238E27FC236}">
                  <a16:creationId xmlns:a16="http://schemas.microsoft.com/office/drawing/2014/main" id="{CB6E0637-89BF-4A6E-AA34-59E5F0C809D4}"/>
                </a:ext>
              </a:extLst>
            </p:cNvPr>
            <p:cNvSpPr/>
            <p:nvPr/>
          </p:nvSpPr>
          <p:spPr>
            <a:xfrm>
              <a:off x="2801559" y="4334337"/>
              <a:ext cx="4861221" cy="463340"/>
            </a:xfrm>
            <a:custGeom>
              <a:avLst/>
              <a:gdLst>
                <a:gd name="connsiteX0" fmla="*/ 848866 w 5348927"/>
                <a:gd name="connsiteY0" fmla="*/ 509825 h 509825"/>
                <a:gd name="connsiteX1" fmla="*/ 127760 w 5348927"/>
                <a:gd name="connsiteY1" fmla="*/ 499030 h 509825"/>
                <a:gd name="connsiteX2" fmla="*/ 125 w 5348927"/>
                <a:gd name="connsiteY2" fmla="*/ 359965 h 509825"/>
                <a:gd name="connsiteX3" fmla="*/ 139190 w 5348927"/>
                <a:gd name="connsiteY3" fmla="*/ 232330 h 509825"/>
                <a:gd name="connsiteX4" fmla="*/ 5198870 w 5348927"/>
                <a:gd name="connsiteY4" fmla="*/ 1063 h 509825"/>
                <a:gd name="connsiteX5" fmla="*/ 5347866 w 5348927"/>
                <a:gd name="connsiteY5" fmla="*/ 116671 h 509825"/>
                <a:gd name="connsiteX6" fmla="*/ 5232246 w 5348927"/>
                <a:gd name="connsiteY6" fmla="*/ 265668 h 509825"/>
                <a:gd name="connsiteX7" fmla="*/ 5226810 w 5348927"/>
                <a:gd name="connsiteY7" fmla="*/ 266239 h 509825"/>
                <a:gd name="connsiteX8" fmla="*/ 848866 w 5348927"/>
                <a:gd name="connsiteY8" fmla="*/ 509825 h 509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48927" h="509825">
                  <a:moveTo>
                    <a:pt x="848866" y="509825"/>
                  </a:moveTo>
                  <a:cubicBezTo>
                    <a:pt x="390650" y="509825"/>
                    <a:pt x="134872" y="499411"/>
                    <a:pt x="127760" y="499030"/>
                  </a:cubicBezTo>
                  <a:cubicBezTo>
                    <a:pt x="54113" y="495868"/>
                    <a:pt x="-3037" y="433613"/>
                    <a:pt x="125" y="359965"/>
                  </a:cubicBezTo>
                  <a:cubicBezTo>
                    <a:pt x="3287" y="286318"/>
                    <a:pt x="65543" y="229168"/>
                    <a:pt x="139190" y="232330"/>
                  </a:cubicBezTo>
                  <a:cubicBezTo>
                    <a:pt x="159510" y="233219"/>
                    <a:pt x="2207512" y="316404"/>
                    <a:pt x="5198870" y="1063"/>
                  </a:cubicBezTo>
                  <a:cubicBezTo>
                    <a:pt x="5271934" y="-8157"/>
                    <a:pt x="5338647" y="43608"/>
                    <a:pt x="5347866" y="116671"/>
                  </a:cubicBezTo>
                  <a:cubicBezTo>
                    <a:pt x="5357074" y="189747"/>
                    <a:pt x="5305322" y="256448"/>
                    <a:pt x="5232246" y="265668"/>
                  </a:cubicBezTo>
                  <a:cubicBezTo>
                    <a:pt x="5230443" y="265896"/>
                    <a:pt x="5228626" y="266087"/>
                    <a:pt x="5226810" y="266239"/>
                  </a:cubicBezTo>
                  <a:cubicBezTo>
                    <a:pt x="3264914" y="473376"/>
                    <a:pt x="1704338" y="509825"/>
                    <a:pt x="848866" y="509825"/>
                  </a:cubicBezTo>
                  <a:close/>
                </a:path>
              </a:pathLst>
            </a:custGeom>
            <a:solidFill>
              <a:schemeClr val="tx1"/>
            </a:solidFill>
            <a:ln w="12700"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C40811AF-25EF-4CC1-9D75-C9F00AA24E84}"/>
                </a:ext>
              </a:extLst>
            </p:cNvPr>
            <p:cNvSpPr/>
            <p:nvPr/>
          </p:nvSpPr>
          <p:spPr>
            <a:xfrm>
              <a:off x="454409" y="2997467"/>
              <a:ext cx="2589647" cy="3159175"/>
            </a:xfrm>
            <a:custGeom>
              <a:avLst/>
              <a:gdLst>
                <a:gd name="connsiteX0" fmla="*/ 1040975 w 2849455"/>
                <a:gd name="connsiteY0" fmla="*/ 3476117 h 3476122"/>
                <a:gd name="connsiteX1" fmla="*/ 992588 w 2849455"/>
                <a:gd name="connsiteY1" fmla="*/ 3475228 h 3476122"/>
                <a:gd name="connsiteX2" fmla="*/ 264370 w 2849455"/>
                <a:gd name="connsiteY2" fmla="*/ 3111754 h 3476122"/>
                <a:gd name="connsiteX3" fmla="*/ 3766 w 2849455"/>
                <a:gd name="connsiteY3" fmla="*/ 2333625 h 3476122"/>
                <a:gd name="connsiteX4" fmla="*/ 324568 w 2849455"/>
                <a:gd name="connsiteY4" fmla="*/ 1650238 h 3476122"/>
                <a:gd name="connsiteX5" fmla="*/ 830282 w 2849455"/>
                <a:gd name="connsiteY5" fmla="*/ 1345438 h 3476122"/>
                <a:gd name="connsiteX6" fmla="*/ 806406 w 2849455"/>
                <a:gd name="connsiteY6" fmla="*/ 1315212 h 3476122"/>
                <a:gd name="connsiteX7" fmla="*/ 804882 w 2849455"/>
                <a:gd name="connsiteY7" fmla="*/ 1313307 h 3476122"/>
                <a:gd name="connsiteX8" fmla="*/ 529927 w 2849455"/>
                <a:gd name="connsiteY8" fmla="*/ 772033 h 3476122"/>
                <a:gd name="connsiteX9" fmla="*/ 738842 w 2849455"/>
                <a:gd name="connsiteY9" fmla="*/ 211201 h 3476122"/>
                <a:gd name="connsiteX10" fmla="*/ 1265257 w 2849455"/>
                <a:gd name="connsiteY10" fmla="*/ 0 h 3476122"/>
                <a:gd name="connsiteX11" fmla="*/ 1332440 w 2849455"/>
                <a:gd name="connsiteY11" fmla="*/ 2667 h 3476122"/>
                <a:gd name="connsiteX12" fmla="*/ 1956899 w 2849455"/>
                <a:gd name="connsiteY12" fmla="*/ 646557 h 3476122"/>
                <a:gd name="connsiteX13" fmla="*/ 1664799 w 2849455"/>
                <a:gd name="connsiteY13" fmla="*/ 1206246 h 3476122"/>
                <a:gd name="connsiteX14" fmla="*/ 1254843 w 2849455"/>
                <a:gd name="connsiteY14" fmla="*/ 1460246 h 3476122"/>
                <a:gd name="connsiteX15" fmla="*/ 2175466 w 2849455"/>
                <a:gd name="connsiteY15" fmla="*/ 2641981 h 3476122"/>
                <a:gd name="connsiteX16" fmla="*/ 2295608 w 2849455"/>
                <a:gd name="connsiteY16" fmla="*/ 2789555 h 3476122"/>
                <a:gd name="connsiteX17" fmla="*/ 2594058 w 2849455"/>
                <a:gd name="connsiteY17" fmla="*/ 3109214 h 3476122"/>
                <a:gd name="connsiteX18" fmla="*/ 2621998 w 2849455"/>
                <a:gd name="connsiteY18" fmla="*/ 3131947 h 3476122"/>
                <a:gd name="connsiteX19" fmla="*/ 2627840 w 2849455"/>
                <a:gd name="connsiteY19" fmla="*/ 3136900 h 3476122"/>
                <a:gd name="connsiteX20" fmla="*/ 2715343 w 2849455"/>
                <a:gd name="connsiteY20" fmla="*/ 3142361 h 3476122"/>
                <a:gd name="connsiteX21" fmla="*/ 2848693 w 2849455"/>
                <a:gd name="connsiteY21" fmla="*/ 3142361 h 3476122"/>
                <a:gd name="connsiteX22" fmla="*/ 2849455 w 2849455"/>
                <a:gd name="connsiteY22" fmla="*/ 3409061 h 3476122"/>
                <a:gd name="connsiteX23" fmla="*/ 2716105 w 2849455"/>
                <a:gd name="connsiteY23" fmla="*/ 3409061 h 3476122"/>
                <a:gd name="connsiteX24" fmla="*/ 2448008 w 2849455"/>
                <a:gd name="connsiteY24" fmla="*/ 3334131 h 3476122"/>
                <a:gd name="connsiteX25" fmla="*/ 2435308 w 2849455"/>
                <a:gd name="connsiteY25" fmla="*/ 3323336 h 3476122"/>
                <a:gd name="connsiteX26" fmla="*/ 2103203 w 2849455"/>
                <a:gd name="connsiteY26" fmla="*/ 2974340 h 3476122"/>
                <a:gd name="connsiteX27" fmla="*/ 1642066 w 2849455"/>
                <a:gd name="connsiteY27" fmla="*/ 3332734 h 3476122"/>
                <a:gd name="connsiteX28" fmla="*/ 1040975 w 2849455"/>
                <a:gd name="connsiteY28" fmla="*/ 3476117 h 3476122"/>
                <a:gd name="connsiteX29" fmla="*/ 931755 w 2849455"/>
                <a:gd name="connsiteY29" fmla="*/ 1591945 h 3476122"/>
                <a:gd name="connsiteX30" fmla="*/ 506686 w 2849455"/>
                <a:gd name="connsiteY30" fmla="*/ 1844929 h 3476122"/>
                <a:gd name="connsiteX31" fmla="*/ 269704 w 2849455"/>
                <a:gd name="connsiteY31" fmla="*/ 2354326 h 3476122"/>
                <a:gd name="connsiteX32" fmla="*/ 463506 w 2849455"/>
                <a:gd name="connsiteY32" fmla="*/ 2934335 h 3476122"/>
                <a:gd name="connsiteX33" fmla="*/ 1001478 w 2849455"/>
                <a:gd name="connsiteY33" fmla="*/ 3208655 h 3476122"/>
                <a:gd name="connsiteX34" fmla="*/ 1521543 w 2849455"/>
                <a:gd name="connsiteY34" fmla="*/ 3094990 h 3476122"/>
                <a:gd name="connsiteX35" fmla="*/ 1932515 w 2849455"/>
                <a:gd name="connsiteY35" fmla="*/ 2765552 h 3476122"/>
                <a:gd name="connsiteX36" fmla="*/ 1884382 w 2849455"/>
                <a:gd name="connsiteY36" fmla="*/ 2706370 h 3476122"/>
                <a:gd name="connsiteX37" fmla="*/ 1886541 w 2849455"/>
                <a:gd name="connsiteY37" fmla="*/ 2704592 h 3476122"/>
                <a:gd name="connsiteX38" fmla="*/ 1000462 w 2849455"/>
                <a:gd name="connsiteY38" fmla="*/ 1567307 h 3476122"/>
                <a:gd name="connsiteX39" fmla="*/ 2593042 w 2849455"/>
                <a:gd name="connsiteY39" fmla="*/ 3108198 h 3476122"/>
                <a:gd name="connsiteX40" fmla="*/ 2593677 w 2849455"/>
                <a:gd name="connsiteY40" fmla="*/ 3108198 h 3476122"/>
                <a:gd name="connsiteX41" fmla="*/ 1265892 w 2849455"/>
                <a:gd name="connsiteY41" fmla="*/ 266700 h 3476122"/>
                <a:gd name="connsiteX42" fmla="*/ 929088 w 2849455"/>
                <a:gd name="connsiteY42" fmla="*/ 398780 h 3476122"/>
                <a:gd name="connsiteX43" fmla="*/ 796246 w 2849455"/>
                <a:gd name="connsiteY43" fmla="*/ 748284 h 3476122"/>
                <a:gd name="connsiteX44" fmla="*/ 1013543 w 2849455"/>
                <a:gd name="connsiteY44" fmla="*/ 1146429 h 3476122"/>
                <a:gd name="connsiteX45" fmla="*/ 1014813 w 2849455"/>
                <a:gd name="connsiteY45" fmla="*/ 1147953 h 3476122"/>
                <a:gd name="connsiteX46" fmla="*/ 1015575 w 2849455"/>
                <a:gd name="connsiteY46" fmla="*/ 1148969 h 3476122"/>
                <a:gd name="connsiteX47" fmla="*/ 1088981 w 2849455"/>
                <a:gd name="connsiteY47" fmla="*/ 1243076 h 3476122"/>
                <a:gd name="connsiteX48" fmla="*/ 1088981 w 2849455"/>
                <a:gd name="connsiteY48" fmla="*/ 1243076 h 3476122"/>
                <a:gd name="connsiteX49" fmla="*/ 1088981 w 2849455"/>
                <a:gd name="connsiteY49" fmla="*/ 1243076 h 3476122"/>
                <a:gd name="connsiteX50" fmla="*/ 1088981 w 2849455"/>
                <a:gd name="connsiteY50" fmla="*/ 1243076 h 3476122"/>
                <a:gd name="connsiteX51" fmla="*/ 1492333 w 2849455"/>
                <a:gd name="connsiteY51" fmla="*/ 1002665 h 3476122"/>
                <a:gd name="connsiteX52" fmla="*/ 1689945 w 2849455"/>
                <a:gd name="connsiteY52" fmla="*/ 647065 h 3476122"/>
                <a:gd name="connsiteX53" fmla="*/ 1311612 w 2849455"/>
                <a:gd name="connsiteY53" fmla="*/ 267589 h 3476122"/>
                <a:gd name="connsiteX54" fmla="*/ 1265892 w 2849455"/>
                <a:gd name="connsiteY54" fmla="*/ 266700 h 34761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2849455" h="3476122">
                  <a:moveTo>
                    <a:pt x="1040975" y="3476117"/>
                  </a:moveTo>
                  <a:cubicBezTo>
                    <a:pt x="1024973" y="3476117"/>
                    <a:pt x="1008717" y="3476117"/>
                    <a:pt x="992588" y="3475228"/>
                  </a:cubicBezTo>
                  <a:cubicBezTo>
                    <a:pt x="727666" y="3466465"/>
                    <a:pt x="462236" y="3333877"/>
                    <a:pt x="264370" y="3111754"/>
                  </a:cubicBezTo>
                  <a:cubicBezTo>
                    <a:pt x="73761" y="2899499"/>
                    <a:pt x="-20564" y="2617864"/>
                    <a:pt x="3766" y="2333625"/>
                  </a:cubicBezTo>
                  <a:cubicBezTo>
                    <a:pt x="24594" y="2056511"/>
                    <a:pt x="129496" y="1832610"/>
                    <a:pt x="324568" y="1650238"/>
                  </a:cubicBezTo>
                  <a:cubicBezTo>
                    <a:pt x="493986" y="1491615"/>
                    <a:pt x="692868" y="1400429"/>
                    <a:pt x="830282" y="1345438"/>
                  </a:cubicBezTo>
                  <a:lnTo>
                    <a:pt x="806406" y="1315212"/>
                  </a:lnTo>
                  <a:lnTo>
                    <a:pt x="804882" y="1313307"/>
                  </a:lnTo>
                  <a:cubicBezTo>
                    <a:pt x="678898" y="1154938"/>
                    <a:pt x="549485" y="991997"/>
                    <a:pt x="529927" y="772033"/>
                  </a:cubicBezTo>
                  <a:cubicBezTo>
                    <a:pt x="512401" y="574548"/>
                    <a:pt x="592792" y="359664"/>
                    <a:pt x="738842" y="211201"/>
                  </a:cubicBezTo>
                  <a:cubicBezTo>
                    <a:pt x="876002" y="72898"/>
                    <a:pt x="1057993" y="0"/>
                    <a:pt x="1265257" y="0"/>
                  </a:cubicBezTo>
                  <a:cubicBezTo>
                    <a:pt x="1288879" y="0"/>
                    <a:pt x="1310850" y="889"/>
                    <a:pt x="1332440" y="2667"/>
                  </a:cubicBezTo>
                  <a:cubicBezTo>
                    <a:pt x="1697565" y="29337"/>
                    <a:pt x="1954740" y="294132"/>
                    <a:pt x="1956899" y="646557"/>
                  </a:cubicBezTo>
                  <a:cubicBezTo>
                    <a:pt x="1957915" y="852678"/>
                    <a:pt x="1859871" y="1040257"/>
                    <a:pt x="1664799" y="1206246"/>
                  </a:cubicBezTo>
                  <a:cubicBezTo>
                    <a:pt x="1559262" y="1295781"/>
                    <a:pt x="1424642" y="1379220"/>
                    <a:pt x="1254843" y="1460246"/>
                  </a:cubicBezTo>
                  <a:lnTo>
                    <a:pt x="2175466" y="2641981"/>
                  </a:lnTo>
                  <a:lnTo>
                    <a:pt x="2295608" y="2789555"/>
                  </a:lnTo>
                  <a:cubicBezTo>
                    <a:pt x="2437594" y="2952369"/>
                    <a:pt x="2568404" y="3088005"/>
                    <a:pt x="2594058" y="3109214"/>
                  </a:cubicBezTo>
                  <a:cubicBezTo>
                    <a:pt x="2605869" y="3117977"/>
                    <a:pt x="2615140" y="3125978"/>
                    <a:pt x="2621998" y="3131947"/>
                  </a:cubicBezTo>
                  <a:lnTo>
                    <a:pt x="2627840" y="3136900"/>
                  </a:lnTo>
                  <a:cubicBezTo>
                    <a:pt x="2656733" y="3141764"/>
                    <a:pt x="2686070" y="3143593"/>
                    <a:pt x="2715343" y="3142361"/>
                  </a:cubicBezTo>
                  <a:lnTo>
                    <a:pt x="2848693" y="3142361"/>
                  </a:lnTo>
                  <a:lnTo>
                    <a:pt x="2849455" y="3409061"/>
                  </a:lnTo>
                  <a:lnTo>
                    <a:pt x="2716105" y="3409061"/>
                  </a:lnTo>
                  <a:cubicBezTo>
                    <a:pt x="2561419" y="3409061"/>
                    <a:pt x="2508714" y="3386201"/>
                    <a:pt x="2448008" y="3334131"/>
                  </a:cubicBezTo>
                  <a:cubicBezTo>
                    <a:pt x="2443055" y="3329813"/>
                    <a:pt x="2438991" y="3326384"/>
                    <a:pt x="2435308" y="3323336"/>
                  </a:cubicBezTo>
                  <a:cubicBezTo>
                    <a:pt x="2384508" y="3286252"/>
                    <a:pt x="2211153" y="3097657"/>
                    <a:pt x="2103203" y="2974340"/>
                  </a:cubicBezTo>
                  <a:cubicBezTo>
                    <a:pt x="1960455" y="3129534"/>
                    <a:pt x="1805515" y="3249930"/>
                    <a:pt x="1642066" y="3332734"/>
                  </a:cubicBezTo>
                  <a:cubicBezTo>
                    <a:pt x="1455935" y="3427603"/>
                    <a:pt x="1249890" y="3476752"/>
                    <a:pt x="1040975" y="3476117"/>
                  </a:cubicBezTo>
                  <a:close/>
                  <a:moveTo>
                    <a:pt x="931755" y="1591945"/>
                  </a:moveTo>
                  <a:cubicBezTo>
                    <a:pt x="814788" y="1638935"/>
                    <a:pt x="644481" y="1716151"/>
                    <a:pt x="506686" y="1844929"/>
                  </a:cubicBezTo>
                  <a:cubicBezTo>
                    <a:pt x="360763" y="1981454"/>
                    <a:pt x="285452" y="2143379"/>
                    <a:pt x="269704" y="2354326"/>
                  </a:cubicBezTo>
                  <a:cubicBezTo>
                    <a:pt x="251301" y="2566149"/>
                    <a:pt x="321463" y="2776131"/>
                    <a:pt x="463506" y="2934335"/>
                  </a:cubicBezTo>
                  <a:cubicBezTo>
                    <a:pt x="613112" y="3102356"/>
                    <a:pt x="809200" y="3202305"/>
                    <a:pt x="1001478" y="3208655"/>
                  </a:cubicBezTo>
                  <a:cubicBezTo>
                    <a:pt x="1181691" y="3215780"/>
                    <a:pt x="1360736" y="3176651"/>
                    <a:pt x="1521543" y="3094990"/>
                  </a:cubicBezTo>
                  <a:cubicBezTo>
                    <a:pt x="1666069" y="3021711"/>
                    <a:pt x="1804245" y="2910967"/>
                    <a:pt x="1932515" y="2765552"/>
                  </a:cubicBezTo>
                  <a:lnTo>
                    <a:pt x="1884382" y="2706370"/>
                  </a:lnTo>
                  <a:lnTo>
                    <a:pt x="1886541" y="2704592"/>
                  </a:lnTo>
                  <a:lnTo>
                    <a:pt x="1000462" y="1567307"/>
                  </a:lnTo>
                  <a:close/>
                  <a:moveTo>
                    <a:pt x="2593042" y="3108198"/>
                  </a:moveTo>
                  <a:lnTo>
                    <a:pt x="2593677" y="3108198"/>
                  </a:lnTo>
                  <a:close/>
                  <a:moveTo>
                    <a:pt x="1265892" y="266700"/>
                  </a:moveTo>
                  <a:cubicBezTo>
                    <a:pt x="1131272" y="266700"/>
                    <a:pt x="1014813" y="312420"/>
                    <a:pt x="929088" y="398780"/>
                  </a:cubicBezTo>
                  <a:cubicBezTo>
                    <a:pt x="837775" y="491363"/>
                    <a:pt x="785578" y="628650"/>
                    <a:pt x="796246" y="748284"/>
                  </a:cubicBezTo>
                  <a:cubicBezTo>
                    <a:pt x="808946" y="888746"/>
                    <a:pt x="903688" y="1008126"/>
                    <a:pt x="1013543" y="1146429"/>
                  </a:cubicBezTo>
                  <a:lnTo>
                    <a:pt x="1014813" y="1147953"/>
                  </a:lnTo>
                  <a:lnTo>
                    <a:pt x="1015575" y="1148969"/>
                  </a:lnTo>
                  <a:cubicBezTo>
                    <a:pt x="1037038" y="1176020"/>
                    <a:pt x="1063708" y="1209548"/>
                    <a:pt x="1088981" y="1243076"/>
                  </a:cubicBezTo>
                  <a:lnTo>
                    <a:pt x="1088981" y="1243076"/>
                  </a:lnTo>
                  <a:lnTo>
                    <a:pt x="1088981" y="1243076"/>
                  </a:lnTo>
                  <a:lnTo>
                    <a:pt x="1088981" y="1243076"/>
                  </a:lnTo>
                  <a:cubicBezTo>
                    <a:pt x="1262590" y="1164336"/>
                    <a:pt x="1394543" y="1085596"/>
                    <a:pt x="1492333" y="1002665"/>
                  </a:cubicBezTo>
                  <a:cubicBezTo>
                    <a:pt x="1624032" y="890778"/>
                    <a:pt x="1690580" y="771398"/>
                    <a:pt x="1689945" y="647065"/>
                  </a:cubicBezTo>
                  <a:cubicBezTo>
                    <a:pt x="1688675" y="433324"/>
                    <a:pt x="1540212" y="284353"/>
                    <a:pt x="1311612" y="267589"/>
                  </a:cubicBezTo>
                  <a:cubicBezTo>
                    <a:pt x="1296372" y="267208"/>
                    <a:pt x="1281513" y="266700"/>
                    <a:pt x="1265892" y="266700"/>
                  </a:cubicBezTo>
                  <a:close/>
                </a:path>
              </a:pathLst>
            </a:custGeom>
            <a:solidFill>
              <a:schemeClr val="tx1"/>
            </a:solidFill>
            <a:ln w="12700"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E926507F-ED8C-4F51-867C-559B7855D4C8}"/>
                </a:ext>
              </a:extLst>
            </p:cNvPr>
            <p:cNvSpPr/>
            <p:nvPr/>
          </p:nvSpPr>
          <p:spPr>
            <a:xfrm>
              <a:off x="2196074" y="4545830"/>
              <a:ext cx="2005954" cy="1148317"/>
            </a:xfrm>
            <a:custGeom>
              <a:avLst/>
              <a:gdLst>
                <a:gd name="connsiteX0" fmla="*/ 133592 w 2207203"/>
                <a:gd name="connsiteY0" fmla="*/ 1263523 h 1263523"/>
                <a:gd name="connsiteX1" fmla="*/ 0 w 2207203"/>
                <a:gd name="connsiteY1" fmla="*/ 1130161 h 1263523"/>
                <a:gd name="connsiteX2" fmla="*/ 35293 w 2207203"/>
                <a:gd name="connsiteY2" fmla="*/ 1039622 h 1263523"/>
                <a:gd name="connsiteX3" fmla="*/ 54851 w 2207203"/>
                <a:gd name="connsiteY3" fmla="*/ 1017397 h 1263523"/>
                <a:gd name="connsiteX4" fmla="*/ 125971 w 2207203"/>
                <a:gd name="connsiteY4" fmla="*/ 928497 h 1263523"/>
                <a:gd name="connsiteX5" fmla="*/ 154546 w 2207203"/>
                <a:gd name="connsiteY5" fmla="*/ 890397 h 1263523"/>
                <a:gd name="connsiteX6" fmla="*/ 178803 w 2207203"/>
                <a:gd name="connsiteY6" fmla="*/ 849503 h 1263523"/>
                <a:gd name="connsiteX7" fmla="*/ 216903 w 2207203"/>
                <a:gd name="connsiteY7" fmla="*/ 772160 h 1263523"/>
                <a:gd name="connsiteX8" fmla="*/ 243827 w 2207203"/>
                <a:gd name="connsiteY8" fmla="*/ 708660 h 1263523"/>
                <a:gd name="connsiteX9" fmla="*/ 262623 w 2207203"/>
                <a:gd name="connsiteY9" fmla="*/ 648970 h 1263523"/>
                <a:gd name="connsiteX10" fmla="*/ 277228 w 2207203"/>
                <a:gd name="connsiteY10" fmla="*/ 581406 h 1263523"/>
                <a:gd name="connsiteX11" fmla="*/ 288658 w 2207203"/>
                <a:gd name="connsiteY11" fmla="*/ 496824 h 1263523"/>
                <a:gd name="connsiteX12" fmla="*/ 298437 w 2207203"/>
                <a:gd name="connsiteY12" fmla="*/ 387477 h 1263523"/>
                <a:gd name="connsiteX13" fmla="*/ 299072 w 2207203"/>
                <a:gd name="connsiteY13" fmla="*/ 378714 h 1263523"/>
                <a:gd name="connsiteX14" fmla="*/ 307836 w 2207203"/>
                <a:gd name="connsiteY14" fmla="*/ 249047 h 1263523"/>
                <a:gd name="connsiteX15" fmla="*/ 313677 w 2207203"/>
                <a:gd name="connsiteY15" fmla="*/ 127000 h 1263523"/>
                <a:gd name="connsiteX16" fmla="*/ 446900 w 2207203"/>
                <a:gd name="connsiteY16" fmla="*/ 0 h 1263523"/>
                <a:gd name="connsiteX17" fmla="*/ 805040 w 2207203"/>
                <a:gd name="connsiteY17" fmla="*/ 0 h 1263523"/>
                <a:gd name="connsiteX18" fmla="*/ 2071611 w 2207203"/>
                <a:gd name="connsiteY18" fmla="*/ 6350 h 1263523"/>
                <a:gd name="connsiteX19" fmla="*/ 2207184 w 2207203"/>
                <a:gd name="connsiteY19" fmla="*/ 137478 h 1263523"/>
                <a:gd name="connsiteX20" fmla="*/ 2076057 w 2207203"/>
                <a:gd name="connsiteY20" fmla="*/ 273050 h 1263523"/>
                <a:gd name="connsiteX21" fmla="*/ 796531 w 2207203"/>
                <a:gd name="connsiteY21" fmla="*/ 266573 h 1263523"/>
                <a:gd name="connsiteX22" fmla="*/ 574281 w 2207203"/>
                <a:gd name="connsiteY22" fmla="*/ 266573 h 1263523"/>
                <a:gd name="connsiteX23" fmla="*/ 565518 w 2207203"/>
                <a:gd name="connsiteY23" fmla="*/ 398780 h 1263523"/>
                <a:gd name="connsiteX24" fmla="*/ 564756 w 2207203"/>
                <a:gd name="connsiteY24" fmla="*/ 407416 h 1263523"/>
                <a:gd name="connsiteX25" fmla="*/ 554215 w 2207203"/>
                <a:gd name="connsiteY25" fmla="*/ 525653 h 1263523"/>
                <a:gd name="connsiteX26" fmla="*/ 540499 w 2207203"/>
                <a:gd name="connsiteY26" fmla="*/ 626237 h 1263523"/>
                <a:gd name="connsiteX27" fmla="*/ 520942 w 2207203"/>
                <a:gd name="connsiteY27" fmla="*/ 716915 h 1263523"/>
                <a:gd name="connsiteX28" fmla="*/ 494271 w 2207203"/>
                <a:gd name="connsiteY28" fmla="*/ 801243 h 1263523"/>
                <a:gd name="connsiteX29" fmla="*/ 459473 w 2207203"/>
                <a:gd name="connsiteY29" fmla="*/ 884428 h 1263523"/>
                <a:gd name="connsiteX30" fmla="*/ 416167 w 2207203"/>
                <a:gd name="connsiteY30" fmla="*/ 972185 h 1263523"/>
                <a:gd name="connsiteX31" fmla="*/ 368542 w 2207203"/>
                <a:gd name="connsiteY31" fmla="*/ 1050417 h 1263523"/>
                <a:gd name="connsiteX32" fmla="*/ 338061 w 2207203"/>
                <a:gd name="connsiteY32" fmla="*/ 1090549 h 1263523"/>
                <a:gd name="connsiteX33" fmla="*/ 258433 w 2207203"/>
                <a:gd name="connsiteY33" fmla="*/ 1190371 h 1263523"/>
                <a:gd name="connsiteX34" fmla="*/ 231636 w 2207203"/>
                <a:gd name="connsiteY34" fmla="*/ 1220851 h 1263523"/>
                <a:gd name="connsiteX35" fmla="*/ 133592 w 2207203"/>
                <a:gd name="connsiteY35" fmla="*/ 1263523 h 1263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207203" h="1263523">
                  <a:moveTo>
                    <a:pt x="133592" y="1263523"/>
                  </a:moveTo>
                  <a:cubicBezTo>
                    <a:pt x="59881" y="1263587"/>
                    <a:pt x="64" y="1203884"/>
                    <a:pt x="0" y="1130161"/>
                  </a:cubicBezTo>
                  <a:cubicBezTo>
                    <a:pt x="-25" y="1096620"/>
                    <a:pt x="12573" y="1064298"/>
                    <a:pt x="35293" y="1039622"/>
                  </a:cubicBezTo>
                  <a:cubicBezTo>
                    <a:pt x="42024" y="1032383"/>
                    <a:pt x="47993" y="1025017"/>
                    <a:pt x="54851" y="1017397"/>
                  </a:cubicBezTo>
                  <a:cubicBezTo>
                    <a:pt x="80251" y="987298"/>
                    <a:pt x="105651" y="955421"/>
                    <a:pt x="125971" y="928497"/>
                  </a:cubicBezTo>
                  <a:cubicBezTo>
                    <a:pt x="135750" y="915797"/>
                    <a:pt x="145275" y="903097"/>
                    <a:pt x="154546" y="890397"/>
                  </a:cubicBezTo>
                  <a:cubicBezTo>
                    <a:pt x="163729" y="877443"/>
                    <a:pt x="171844" y="863765"/>
                    <a:pt x="178803" y="849503"/>
                  </a:cubicBezTo>
                  <a:cubicBezTo>
                    <a:pt x="194297" y="819404"/>
                    <a:pt x="206362" y="794893"/>
                    <a:pt x="216903" y="772160"/>
                  </a:cubicBezTo>
                  <a:cubicBezTo>
                    <a:pt x="227444" y="749427"/>
                    <a:pt x="236334" y="728091"/>
                    <a:pt x="243827" y="708660"/>
                  </a:cubicBezTo>
                  <a:cubicBezTo>
                    <a:pt x="251320" y="689229"/>
                    <a:pt x="257670" y="668274"/>
                    <a:pt x="262623" y="648970"/>
                  </a:cubicBezTo>
                  <a:cubicBezTo>
                    <a:pt x="267576" y="629666"/>
                    <a:pt x="272911" y="606298"/>
                    <a:pt x="277228" y="581406"/>
                  </a:cubicBezTo>
                  <a:cubicBezTo>
                    <a:pt x="281546" y="556514"/>
                    <a:pt x="285102" y="529463"/>
                    <a:pt x="288658" y="496824"/>
                  </a:cubicBezTo>
                  <a:cubicBezTo>
                    <a:pt x="292214" y="464185"/>
                    <a:pt x="295389" y="428879"/>
                    <a:pt x="298437" y="387477"/>
                  </a:cubicBezTo>
                  <a:lnTo>
                    <a:pt x="299072" y="378714"/>
                  </a:lnTo>
                  <a:cubicBezTo>
                    <a:pt x="302501" y="334010"/>
                    <a:pt x="305676" y="291719"/>
                    <a:pt x="307836" y="249047"/>
                  </a:cubicBezTo>
                  <a:lnTo>
                    <a:pt x="313677" y="127000"/>
                  </a:lnTo>
                  <a:cubicBezTo>
                    <a:pt x="317132" y="55918"/>
                    <a:pt x="375742" y="51"/>
                    <a:pt x="446900" y="0"/>
                  </a:cubicBezTo>
                  <a:lnTo>
                    <a:pt x="805040" y="0"/>
                  </a:lnTo>
                  <a:cubicBezTo>
                    <a:pt x="809612" y="0"/>
                    <a:pt x="1273671" y="19685"/>
                    <a:pt x="2071611" y="6350"/>
                  </a:cubicBezTo>
                  <a:cubicBezTo>
                    <a:pt x="2145259" y="5118"/>
                    <a:pt x="2205952" y="63830"/>
                    <a:pt x="2207184" y="137478"/>
                  </a:cubicBezTo>
                  <a:cubicBezTo>
                    <a:pt x="2208416" y="211125"/>
                    <a:pt x="2149704" y="271818"/>
                    <a:pt x="2076057" y="273050"/>
                  </a:cubicBezTo>
                  <a:cubicBezTo>
                    <a:pt x="1303134" y="285750"/>
                    <a:pt x="838187" y="268351"/>
                    <a:pt x="796531" y="266573"/>
                  </a:cubicBezTo>
                  <a:lnTo>
                    <a:pt x="574281" y="266573"/>
                  </a:lnTo>
                  <a:cubicBezTo>
                    <a:pt x="572123" y="311277"/>
                    <a:pt x="568693" y="355473"/>
                    <a:pt x="565518" y="398780"/>
                  </a:cubicBezTo>
                  <a:lnTo>
                    <a:pt x="564756" y="407416"/>
                  </a:lnTo>
                  <a:cubicBezTo>
                    <a:pt x="561454" y="451612"/>
                    <a:pt x="558026" y="490347"/>
                    <a:pt x="554215" y="525653"/>
                  </a:cubicBezTo>
                  <a:cubicBezTo>
                    <a:pt x="550024" y="563753"/>
                    <a:pt x="545579" y="596138"/>
                    <a:pt x="540499" y="626237"/>
                  </a:cubicBezTo>
                  <a:cubicBezTo>
                    <a:pt x="534784" y="659384"/>
                    <a:pt x="528434" y="688848"/>
                    <a:pt x="520942" y="716915"/>
                  </a:cubicBezTo>
                  <a:cubicBezTo>
                    <a:pt x="513448" y="744982"/>
                    <a:pt x="504812" y="772541"/>
                    <a:pt x="494271" y="801243"/>
                  </a:cubicBezTo>
                  <a:cubicBezTo>
                    <a:pt x="484365" y="827913"/>
                    <a:pt x="472936" y="854964"/>
                    <a:pt x="459473" y="884428"/>
                  </a:cubicBezTo>
                  <a:cubicBezTo>
                    <a:pt x="446773" y="911098"/>
                    <a:pt x="433311" y="938784"/>
                    <a:pt x="416167" y="972185"/>
                  </a:cubicBezTo>
                  <a:cubicBezTo>
                    <a:pt x="402514" y="999554"/>
                    <a:pt x="386575" y="1025716"/>
                    <a:pt x="368542" y="1050417"/>
                  </a:cubicBezTo>
                  <a:cubicBezTo>
                    <a:pt x="358762" y="1063117"/>
                    <a:pt x="348475" y="1077087"/>
                    <a:pt x="338061" y="1090549"/>
                  </a:cubicBezTo>
                  <a:cubicBezTo>
                    <a:pt x="315455" y="1120140"/>
                    <a:pt x="288023" y="1155446"/>
                    <a:pt x="258433" y="1190371"/>
                  </a:cubicBezTo>
                  <a:cubicBezTo>
                    <a:pt x="249669" y="1200785"/>
                    <a:pt x="240779" y="1210945"/>
                    <a:pt x="231636" y="1220851"/>
                  </a:cubicBezTo>
                  <a:cubicBezTo>
                    <a:pt x="206324" y="1248118"/>
                    <a:pt x="170790" y="1263587"/>
                    <a:pt x="133592" y="1263523"/>
                  </a:cubicBezTo>
                  <a:close/>
                </a:path>
              </a:pathLst>
            </a:custGeom>
            <a:solidFill>
              <a:srgbClr val="333D47"/>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1136502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a:xfrm>
            <a:off x="719137" y="666745"/>
            <a:ext cx="10752138" cy="720000"/>
          </a:xfrm>
        </p:spPr>
        <p:txBody>
          <a:bodyPr/>
          <a:lstStyle/>
          <a:p>
            <a:r>
              <a:rPr lang="en-US"/>
              <a:t>Click to edit Master title style</a:t>
            </a:r>
            <a:endParaRPr lang="en-GB" dirty="0"/>
          </a:p>
        </p:txBody>
      </p:sp>
    </p:spTree>
    <p:extLst>
      <p:ext uri="{BB962C8B-B14F-4D97-AF65-F5344CB8AC3E}">
        <p14:creationId xmlns:p14="http://schemas.microsoft.com/office/powerpoint/2010/main" val="1847033326"/>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Slide 4">
    <p:bg>
      <p:bgPr>
        <a:solidFill>
          <a:schemeClr val="accent2"/>
        </a:solidFill>
        <a:effectLst/>
      </p:bgPr>
    </p:bg>
    <p:spTree>
      <p:nvGrpSpPr>
        <p:cNvPr id="1" name=""/>
        <p:cNvGrpSpPr/>
        <p:nvPr/>
      </p:nvGrpSpPr>
      <p:grpSpPr>
        <a:xfrm>
          <a:off x="0" y="0"/>
          <a:ext cx="0" cy="0"/>
          <a:chOff x="0" y="0"/>
          <a:chExt cx="0" cy="0"/>
        </a:xfrm>
      </p:grpSpPr>
      <p:sp>
        <p:nvSpPr>
          <p:cNvPr id="57" name="Freeform: Shape 56">
            <a:extLst>
              <a:ext uri="{FF2B5EF4-FFF2-40B4-BE49-F238E27FC236}">
                <a16:creationId xmlns:a16="http://schemas.microsoft.com/office/drawing/2014/main" id="{67195B01-251E-4F55-9C90-D997DDCDBF20}"/>
              </a:ext>
            </a:extLst>
          </p:cNvPr>
          <p:cNvSpPr/>
          <p:nvPr userDrawn="1"/>
        </p:nvSpPr>
        <p:spPr>
          <a:xfrm>
            <a:off x="7441294" y="4545904"/>
            <a:ext cx="4750706" cy="242355"/>
          </a:xfrm>
          <a:custGeom>
            <a:avLst/>
            <a:gdLst>
              <a:gd name="connsiteX0" fmla="*/ 121178 w 4750706"/>
              <a:gd name="connsiteY0" fmla="*/ 0 h 242355"/>
              <a:gd name="connsiteX1" fmla="*/ 4750706 w 4750706"/>
              <a:gd name="connsiteY1" fmla="*/ 0 h 242355"/>
              <a:gd name="connsiteX2" fmla="*/ 4750706 w 4750706"/>
              <a:gd name="connsiteY2" fmla="*/ 242355 h 242355"/>
              <a:gd name="connsiteX3" fmla="*/ 121178 w 4750706"/>
              <a:gd name="connsiteY3" fmla="*/ 242355 h 242355"/>
              <a:gd name="connsiteX4" fmla="*/ 0 w 4750706"/>
              <a:gd name="connsiteY4" fmla="*/ 121178 h 242355"/>
              <a:gd name="connsiteX5" fmla="*/ 121178 w 4750706"/>
              <a:gd name="connsiteY5" fmla="*/ 0 h 2423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50706" h="242355">
                <a:moveTo>
                  <a:pt x="121178" y="0"/>
                </a:moveTo>
                <a:lnTo>
                  <a:pt x="4750706" y="0"/>
                </a:lnTo>
                <a:lnTo>
                  <a:pt x="4750706" y="242355"/>
                </a:lnTo>
                <a:lnTo>
                  <a:pt x="121178" y="242355"/>
                </a:lnTo>
                <a:cubicBezTo>
                  <a:pt x="54253" y="242355"/>
                  <a:pt x="0" y="188102"/>
                  <a:pt x="0" y="121178"/>
                </a:cubicBezTo>
                <a:cubicBezTo>
                  <a:pt x="0" y="54253"/>
                  <a:pt x="54253" y="0"/>
                  <a:pt x="121178"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72000" rtlCol="0" anchor="ctr">
            <a:noAutofit/>
          </a:bodyPr>
          <a:lstStyle/>
          <a:p>
            <a:pPr algn="ctr"/>
            <a:endParaRPr lang="en-GB" sz="1400" dirty="0">
              <a:solidFill>
                <a:schemeClr val="tx1"/>
              </a:solidFill>
            </a:endParaRPr>
          </a:p>
        </p:txBody>
      </p:sp>
      <p:pic>
        <p:nvPicPr>
          <p:cNvPr id="9" name="Cover Logo">
            <a:extLst>
              <a:ext uri="{FF2B5EF4-FFF2-40B4-BE49-F238E27FC236}">
                <a16:creationId xmlns:a16="http://schemas.microsoft.com/office/drawing/2014/main" id="{4940C945-8607-4600-B2C1-89DB7F6C2C6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658921" y="5825325"/>
            <a:ext cx="1822450" cy="321910"/>
          </a:xfrm>
          <a:prstGeom prst="rect">
            <a:avLst/>
          </a:prstGeom>
        </p:spPr>
      </p:pic>
      <p:sp>
        <p:nvSpPr>
          <p:cNvPr id="14" name="Date Placeholder 1">
            <a:extLst>
              <a:ext uri="{FF2B5EF4-FFF2-40B4-BE49-F238E27FC236}">
                <a16:creationId xmlns:a16="http://schemas.microsoft.com/office/drawing/2014/main" id="{A3AC88BA-6E7A-4F66-A140-439B25DB9248}"/>
              </a:ext>
            </a:extLst>
          </p:cNvPr>
          <p:cNvSpPr>
            <a:spLocks noGrp="1"/>
          </p:cNvSpPr>
          <p:nvPr>
            <p:ph type="dt" sz="half" idx="10"/>
          </p:nvPr>
        </p:nvSpPr>
        <p:spPr>
          <a:xfrm>
            <a:off x="2541588" y="3028139"/>
            <a:ext cx="1660897" cy="448468"/>
          </a:xfrm>
          <a:prstGeom prst="roundRect">
            <a:avLst>
              <a:gd name="adj" fmla="val 50000"/>
            </a:avLst>
          </a:prstGeom>
          <a:solidFill>
            <a:schemeClr val="tx2"/>
          </a:solidFill>
        </p:spPr>
        <p:txBody>
          <a:bodyPr wrap="none" tIns="36000" rIns="72000" bIns="36000" anchor="ctr" anchorCtr="0">
            <a:spAutoFit/>
          </a:bodyPr>
          <a:lstStyle>
            <a:lvl1pPr marL="0">
              <a:defRPr sz="1600" i="1">
                <a:solidFill>
                  <a:schemeClr val="bg1"/>
                </a:solidFill>
                <a:latin typeface="+mj-lt"/>
              </a:defRPr>
            </a:lvl1pPr>
            <a:lvl2pPr marL="0">
              <a:defRPr sz="1600" i="1">
                <a:solidFill>
                  <a:schemeClr val="bg1"/>
                </a:solidFill>
                <a:latin typeface="+mj-lt"/>
              </a:defRPr>
            </a:lvl2pPr>
            <a:lvl3pPr marL="0">
              <a:defRPr sz="1600" i="1">
                <a:solidFill>
                  <a:schemeClr val="bg1"/>
                </a:solidFill>
                <a:latin typeface="+mj-lt"/>
              </a:defRPr>
            </a:lvl3pPr>
            <a:lvl4pPr marL="0">
              <a:defRPr sz="1600" i="1">
                <a:solidFill>
                  <a:schemeClr val="bg1"/>
                </a:solidFill>
                <a:latin typeface="+mj-lt"/>
              </a:defRPr>
            </a:lvl4pPr>
            <a:lvl5pPr marL="0">
              <a:defRPr sz="1600" i="1">
                <a:solidFill>
                  <a:schemeClr val="bg1"/>
                </a:solidFill>
                <a:latin typeface="+mj-lt"/>
              </a:defRPr>
            </a:lvl5pPr>
            <a:lvl6pPr marL="0">
              <a:defRPr sz="1600" i="1">
                <a:solidFill>
                  <a:schemeClr val="bg1"/>
                </a:solidFill>
                <a:latin typeface="+mj-lt"/>
              </a:defRPr>
            </a:lvl6pPr>
            <a:lvl7pPr marL="0">
              <a:defRPr sz="1600" i="1">
                <a:solidFill>
                  <a:schemeClr val="bg1"/>
                </a:solidFill>
                <a:latin typeface="+mj-lt"/>
              </a:defRPr>
            </a:lvl7pPr>
            <a:lvl8pPr marL="0">
              <a:defRPr sz="1600" i="1">
                <a:solidFill>
                  <a:schemeClr val="bg1"/>
                </a:solidFill>
                <a:latin typeface="+mj-lt"/>
              </a:defRPr>
            </a:lvl8pPr>
            <a:lvl9pPr marL="0">
              <a:defRPr sz="1600" i="1">
                <a:solidFill>
                  <a:schemeClr val="bg1"/>
                </a:solidFill>
                <a:latin typeface="+mj-lt"/>
              </a:defRPr>
            </a:lvl9pPr>
          </a:lstStyle>
          <a:p>
            <a:r>
              <a:rPr lang="en-US"/>
              <a:t>dd Month 2021</a:t>
            </a:r>
            <a:endParaRPr lang="en-GB" dirty="0"/>
          </a:p>
        </p:txBody>
      </p:sp>
      <p:sp>
        <p:nvSpPr>
          <p:cNvPr id="3" name="Subtitle 1">
            <a:extLst>
              <a:ext uri="{FF2B5EF4-FFF2-40B4-BE49-F238E27FC236}">
                <a16:creationId xmlns:a16="http://schemas.microsoft.com/office/drawing/2014/main" id="{EDF4FC6D-F465-4529-BC7B-E5213D4E361C}"/>
              </a:ext>
            </a:extLst>
          </p:cNvPr>
          <p:cNvSpPr>
            <a:spLocks noGrp="1"/>
          </p:cNvSpPr>
          <p:nvPr>
            <p:ph type="subTitle" idx="1"/>
          </p:nvPr>
        </p:nvSpPr>
        <p:spPr>
          <a:xfrm>
            <a:off x="2541588" y="2344139"/>
            <a:ext cx="6197600" cy="504000"/>
          </a:xfrm>
        </p:spPr>
        <p:txBody>
          <a:bodyPr>
            <a:noAutofit/>
          </a:bodyPr>
          <a:lstStyle>
            <a:lvl1pPr marL="0" indent="0" algn="l">
              <a:lnSpc>
                <a:spcPct val="100000"/>
              </a:lnSpc>
              <a:spcBef>
                <a:spcPts val="600"/>
              </a:spcBef>
              <a:buNone/>
              <a:defRPr sz="1800">
                <a:solidFill>
                  <a:schemeClr val="tx1"/>
                </a:solidFill>
                <a:latin typeface="+mn-lt"/>
              </a:defRPr>
            </a:lvl1pPr>
            <a:lvl2pPr marL="0" indent="0" algn="l">
              <a:lnSpc>
                <a:spcPct val="100000"/>
              </a:lnSpc>
              <a:spcBef>
                <a:spcPts val="600"/>
              </a:spcBef>
              <a:buNone/>
              <a:defRPr sz="1800">
                <a:solidFill>
                  <a:schemeClr val="tx2"/>
                </a:solidFill>
                <a:latin typeface="+mn-lt"/>
              </a:defRPr>
            </a:lvl2pPr>
            <a:lvl3pPr marL="0" indent="0" algn="l">
              <a:lnSpc>
                <a:spcPct val="100000"/>
              </a:lnSpc>
              <a:spcBef>
                <a:spcPts val="600"/>
              </a:spcBef>
              <a:buNone/>
              <a:defRPr sz="1800">
                <a:solidFill>
                  <a:schemeClr val="bg1"/>
                </a:solidFill>
                <a:latin typeface="+mn-lt"/>
              </a:defRPr>
            </a:lvl3pPr>
            <a:lvl4pPr marL="0" indent="0" algn="l">
              <a:lnSpc>
                <a:spcPct val="100000"/>
              </a:lnSpc>
              <a:spcBef>
                <a:spcPts val="600"/>
              </a:spcBef>
              <a:buNone/>
              <a:defRPr sz="1600">
                <a:solidFill>
                  <a:schemeClr val="tx1"/>
                </a:solidFill>
                <a:latin typeface="+mn-lt"/>
              </a:defRPr>
            </a:lvl4pPr>
            <a:lvl5pPr marL="0" indent="0" algn="l">
              <a:lnSpc>
                <a:spcPct val="100000"/>
              </a:lnSpc>
              <a:spcBef>
                <a:spcPts val="600"/>
              </a:spcBef>
              <a:buNone/>
              <a:defRPr sz="1600">
                <a:solidFill>
                  <a:schemeClr val="tx2"/>
                </a:solidFill>
                <a:latin typeface="+mn-lt"/>
              </a:defRPr>
            </a:lvl5pPr>
            <a:lvl6pPr marL="0" indent="0" algn="l">
              <a:lnSpc>
                <a:spcPct val="100000"/>
              </a:lnSpc>
              <a:spcBef>
                <a:spcPts val="600"/>
              </a:spcBef>
              <a:buNone/>
              <a:defRPr sz="1600">
                <a:solidFill>
                  <a:schemeClr val="bg1"/>
                </a:solidFill>
                <a:latin typeface="+mn-lt"/>
              </a:defRPr>
            </a:lvl6pPr>
            <a:lvl7pPr marL="0" indent="0" algn="l">
              <a:lnSpc>
                <a:spcPct val="100000"/>
              </a:lnSpc>
              <a:spcBef>
                <a:spcPts val="600"/>
              </a:spcBef>
              <a:buNone/>
              <a:defRPr sz="2400">
                <a:solidFill>
                  <a:schemeClr val="tx1"/>
                </a:solidFill>
                <a:latin typeface="+mn-lt"/>
              </a:defRPr>
            </a:lvl7pPr>
            <a:lvl8pPr marL="0" indent="0" algn="l">
              <a:lnSpc>
                <a:spcPct val="100000"/>
              </a:lnSpc>
              <a:spcBef>
                <a:spcPts val="600"/>
              </a:spcBef>
              <a:buNone/>
              <a:defRPr sz="2400">
                <a:solidFill>
                  <a:schemeClr val="tx2"/>
                </a:solidFill>
                <a:latin typeface="+mn-lt"/>
              </a:defRPr>
            </a:lvl8pPr>
            <a:lvl9pPr marL="0" indent="0" algn="l">
              <a:lnSpc>
                <a:spcPct val="100000"/>
              </a:lnSpc>
              <a:spcBef>
                <a:spcPts val="600"/>
              </a:spcBef>
              <a:buNone/>
              <a:defRPr sz="2400">
                <a:solidFill>
                  <a:schemeClr val="bg1"/>
                </a:solidFill>
                <a:latin typeface="+mn-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2541588" y="719138"/>
            <a:ext cx="8018462" cy="1444979"/>
          </a:xfrm>
        </p:spPr>
        <p:txBody>
          <a:bodyPr lIns="0" rIns="0" anchor="b" anchorCtr="0">
            <a:noAutofit/>
          </a:bodyPr>
          <a:lstStyle>
            <a:lvl1pPr algn="l">
              <a:defRPr sz="4400"/>
            </a:lvl1pPr>
            <a:lvl2pPr>
              <a:defRPr sz="4400"/>
            </a:lvl2pPr>
            <a:lvl3pPr>
              <a:defRPr sz="4400">
                <a:solidFill>
                  <a:schemeClr val="bg1"/>
                </a:solidFill>
              </a:defRPr>
            </a:lvl3pPr>
            <a:lvl4pPr>
              <a:defRPr sz="3600">
                <a:solidFill>
                  <a:schemeClr val="tx1"/>
                </a:solidFill>
              </a:defRPr>
            </a:lvl4pPr>
            <a:lvl5pPr>
              <a:defRPr sz="3600">
                <a:solidFill>
                  <a:schemeClr val="tx2"/>
                </a:solidFill>
              </a:defRPr>
            </a:lvl5pPr>
            <a:lvl6pPr>
              <a:defRPr sz="3600">
                <a:solidFill>
                  <a:schemeClr val="bg1"/>
                </a:solidFill>
              </a:defRPr>
            </a:lvl6pPr>
            <a:lvl7pPr>
              <a:defRPr sz="4000"/>
            </a:lvl7pPr>
            <a:lvl8pPr>
              <a:defRPr sz="4000"/>
            </a:lvl8pPr>
            <a:lvl9pPr>
              <a:defRPr sz="4000" i="0">
                <a:solidFill>
                  <a:schemeClr val="bg1"/>
                </a:solidFill>
              </a:defRPr>
            </a:lvl9pPr>
          </a:lstStyle>
          <a:p>
            <a:pPr lvl="0"/>
            <a:r>
              <a:rPr lang="en-US"/>
              <a:t>Click to edit Master title style</a:t>
            </a:r>
            <a:endParaRPr lang="en-GB" dirty="0"/>
          </a:p>
        </p:txBody>
      </p:sp>
      <p:sp>
        <p:nvSpPr>
          <p:cNvPr id="18" name="Freeform: Shape 17">
            <a:extLst>
              <a:ext uri="{FF2B5EF4-FFF2-40B4-BE49-F238E27FC236}">
                <a16:creationId xmlns:a16="http://schemas.microsoft.com/office/drawing/2014/main" id="{A267C1ED-C691-4356-925A-A73041BB43C3}"/>
              </a:ext>
            </a:extLst>
          </p:cNvPr>
          <p:cNvSpPr/>
          <p:nvPr userDrawn="1"/>
        </p:nvSpPr>
        <p:spPr>
          <a:xfrm>
            <a:off x="0" y="3"/>
            <a:ext cx="12193141" cy="6858001"/>
          </a:xfrm>
          <a:custGeom>
            <a:avLst/>
            <a:gdLst>
              <a:gd name="connsiteX0" fmla="*/ 0 w 1100903"/>
              <a:gd name="connsiteY0" fmla="*/ 0 h 619200"/>
              <a:gd name="connsiteX1" fmla="*/ 1100903 w 1100903"/>
              <a:gd name="connsiteY1" fmla="*/ 0 h 619200"/>
              <a:gd name="connsiteX2" fmla="*/ 1100903 w 1100903"/>
              <a:gd name="connsiteY2" fmla="*/ 619200 h 619200"/>
              <a:gd name="connsiteX3" fmla="*/ 0 w 1100903"/>
              <a:gd name="connsiteY3" fmla="*/ 619200 h 619200"/>
            </a:gdLst>
            <a:ahLst/>
            <a:cxnLst>
              <a:cxn ang="0">
                <a:pos x="connsiteX0" y="connsiteY0"/>
              </a:cxn>
              <a:cxn ang="0">
                <a:pos x="connsiteX1" y="connsiteY1"/>
              </a:cxn>
              <a:cxn ang="0">
                <a:pos x="connsiteX2" y="connsiteY2"/>
              </a:cxn>
              <a:cxn ang="0">
                <a:pos x="connsiteX3" y="connsiteY3"/>
              </a:cxn>
            </a:cxnLst>
            <a:rect l="l" t="t" r="r" b="b"/>
            <a:pathLst>
              <a:path w="1100903" h="619200">
                <a:moveTo>
                  <a:pt x="0" y="0"/>
                </a:moveTo>
                <a:lnTo>
                  <a:pt x="1100903" y="0"/>
                </a:lnTo>
                <a:lnTo>
                  <a:pt x="1100903" y="619200"/>
                </a:lnTo>
                <a:lnTo>
                  <a:pt x="0" y="619200"/>
                </a:lnTo>
                <a:close/>
              </a:path>
            </a:pathLst>
          </a:custGeom>
          <a:noFill/>
          <a:ln w="1141"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3786E751-57D9-4C2B-A06E-60CD5FE60C97}"/>
              </a:ext>
            </a:extLst>
          </p:cNvPr>
          <p:cNvSpPr/>
          <p:nvPr/>
        </p:nvSpPr>
        <p:spPr>
          <a:xfrm>
            <a:off x="-1" y="-49108"/>
            <a:ext cx="12192125" cy="6857999"/>
          </a:xfrm>
          <a:custGeom>
            <a:avLst/>
            <a:gdLst>
              <a:gd name="connsiteX0" fmla="*/ 0 w 12192125"/>
              <a:gd name="connsiteY0" fmla="*/ 0 h 6857999"/>
              <a:gd name="connsiteX1" fmla="*/ 12192126 w 12192125"/>
              <a:gd name="connsiteY1" fmla="*/ 0 h 6857999"/>
              <a:gd name="connsiteX2" fmla="*/ 12192126 w 12192125"/>
              <a:gd name="connsiteY2" fmla="*/ 6857999 h 6857999"/>
              <a:gd name="connsiteX3" fmla="*/ 0 w 12192125"/>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2125" h="6857999">
                <a:moveTo>
                  <a:pt x="0" y="0"/>
                </a:moveTo>
                <a:lnTo>
                  <a:pt x="12192126" y="0"/>
                </a:lnTo>
                <a:lnTo>
                  <a:pt x="12192126" y="6857999"/>
                </a:lnTo>
                <a:lnTo>
                  <a:pt x="0" y="6857999"/>
                </a:lnTo>
                <a:close/>
              </a:path>
            </a:pathLst>
          </a:custGeom>
          <a:noFill/>
          <a:ln w="12690"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7F2B3881-4330-4017-A73B-0482E4BA5A07}"/>
              </a:ext>
            </a:extLst>
          </p:cNvPr>
          <p:cNvSpPr/>
          <p:nvPr/>
        </p:nvSpPr>
        <p:spPr>
          <a:xfrm>
            <a:off x="-508"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7826C91B-FE38-4E67-81B3-F37DF7FA9765}"/>
              </a:ext>
            </a:extLst>
          </p:cNvPr>
          <p:cNvSpPr/>
          <p:nvPr/>
        </p:nvSpPr>
        <p:spPr>
          <a:xfrm>
            <a:off x="-508"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28" name="Freeform: Shape 27">
            <a:extLst>
              <a:ext uri="{FF2B5EF4-FFF2-40B4-BE49-F238E27FC236}">
                <a16:creationId xmlns:a16="http://schemas.microsoft.com/office/drawing/2014/main" id="{CA8B3DCA-50C5-4313-B797-318FE3CECA01}"/>
              </a:ext>
            </a:extLst>
          </p:cNvPr>
          <p:cNvSpPr/>
          <p:nvPr/>
        </p:nvSpPr>
        <p:spPr>
          <a:xfrm>
            <a:off x="-508"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29" name="Freeform: Shape 28">
            <a:extLst>
              <a:ext uri="{FF2B5EF4-FFF2-40B4-BE49-F238E27FC236}">
                <a16:creationId xmlns:a16="http://schemas.microsoft.com/office/drawing/2014/main" id="{49E25AF8-DB78-48DE-9F1A-C4EE739E577D}"/>
              </a:ext>
            </a:extLst>
          </p:cNvPr>
          <p:cNvSpPr/>
          <p:nvPr/>
        </p:nvSpPr>
        <p:spPr>
          <a:xfrm>
            <a:off x="-508"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EBCA0938-8A11-4B15-956F-3550D2AF9C90}"/>
              </a:ext>
            </a:extLst>
          </p:cNvPr>
          <p:cNvSpPr/>
          <p:nvPr/>
        </p:nvSpPr>
        <p:spPr>
          <a:xfrm>
            <a:off x="-508"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F9691F4C-685D-4CDA-A320-97078A5E5885}"/>
              </a:ext>
            </a:extLst>
          </p:cNvPr>
          <p:cNvSpPr/>
          <p:nvPr/>
        </p:nvSpPr>
        <p:spPr>
          <a:xfrm>
            <a:off x="-1"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32" name="Freeform: Shape 31">
            <a:extLst>
              <a:ext uri="{FF2B5EF4-FFF2-40B4-BE49-F238E27FC236}">
                <a16:creationId xmlns:a16="http://schemas.microsoft.com/office/drawing/2014/main" id="{D66DC782-5573-42F8-9128-BAE8D5B23626}"/>
              </a:ext>
            </a:extLst>
          </p:cNvPr>
          <p:cNvSpPr/>
          <p:nvPr/>
        </p:nvSpPr>
        <p:spPr>
          <a:xfrm>
            <a:off x="-1"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7EB7EFBA-995D-493D-B032-7FAD4708FEDE}"/>
              </a:ext>
            </a:extLst>
          </p:cNvPr>
          <p:cNvSpPr/>
          <p:nvPr/>
        </p:nvSpPr>
        <p:spPr>
          <a:xfrm>
            <a:off x="-1"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35991226-06AD-4618-AF4B-05632532D595}"/>
              </a:ext>
            </a:extLst>
          </p:cNvPr>
          <p:cNvSpPr/>
          <p:nvPr/>
        </p:nvSpPr>
        <p:spPr>
          <a:xfrm>
            <a:off x="-1" y="-49108"/>
            <a:ext cx="12193141" cy="6857999"/>
          </a:xfrm>
          <a:custGeom>
            <a:avLst/>
            <a:gdLst>
              <a:gd name="connsiteX0" fmla="*/ 0 w 12193141"/>
              <a:gd name="connsiteY0" fmla="*/ 0 h 6857999"/>
              <a:gd name="connsiteX1" fmla="*/ 12193142 w 12193141"/>
              <a:gd name="connsiteY1" fmla="*/ 0 h 6857999"/>
              <a:gd name="connsiteX2" fmla="*/ 12193142 w 12193141"/>
              <a:gd name="connsiteY2" fmla="*/ 6857999 h 6857999"/>
              <a:gd name="connsiteX3" fmla="*/ 0 w 1219314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3141" h="6857999">
                <a:moveTo>
                  <a:pt x="0" y="0"/>
                </a:moveTo>
                <a:lnTo>
                  <a:pt x="12193142" y="0"/>
                </a:lnTo>
                <a:lnTo>
                  <a:pt x="12193142" y="6857999"/>
                </a:lnTo>
                <a:lnTo>
                  <a:pt x="0" y="6857999"/>
                </a:lnTo>
                <a:close/>
              </a:path>
            </a:pathLst>
          </a:custGeom>
          <a:noFill/>
          <a:ln w="12690"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4793C5B4-9752-4964-9D24-8870AE4659C6}"/>
              </a:ext>
            </a:extLst>
          </p:cNvPr>
          <p:cNvSpPr/>
          <p:nvPr/>
        </p:nvSpPr>
        <p:spPr>
          <a:xfrm>
            <a:off x="454409" y="2997716"/>
            <a:ext cx="2588256" cy="3158926"/>
          </a:xfrm>
          <a:custGeom>
            <a:avLst/>
            <a:gdLst>
              <a:gd name="connsiteX0" fmla="*/ 1040913 w 2848250"/>
              <a:gd name="connsiteY0" fmla="*/ 3476244 h 3476245"/>
              <a:gd name="connsiteX1" fmla="*/ 992526 w 2848250"/>
              <a:gd name="connsiteY1" fmla="*/ 3475355 h 3476245"/>
              <a:gd name="connsiteX2" fmla="*/ 264308 w 2848250"/>
              <a:gd name="connsiteY2" fmla="*/ 3112008 h 3476245"/>
              <a:gd name="connsiteX3" fmla="*/ 3831 w 2848250"/>
              <a:gd name="connsiteY3" fmla="*/ 2333244 h 3476245"/>
              <a:gd name="connsiteX4" fmla="*/ 324506 w 2848250"/>
              <a:gd name="connsiteY4" fmla="*/ 1649984 h 3476245"/>
              <a:gd name="connsiteX5" fmla="*/ 830093 w 2848250"/>
              <a:gd name="connsiteY5" fmla="*/ 1345184 h 3476245"/>
              <a:gd name="connsiteX6" fmla="*/ 805963 w 2848250"/>
              <a:gd name="connsiteY6" fmla="*/ 1314704 h 3476245"/>
              <a:gd name="connsiteX7" fmla="*/ 804312 w 2848250"/>
              <a:gd name="connsiteY7" fmla="*/ 1312672 h 3476245"/>
              <a:gd name="connsiteX8" fmla="*/ 529865 w 2848250"/>
              <a:gd name="connsiteY8" fmla="*/ 771906 h 3476245"/>
              <a:gd name="connsiteX9" fmla="*/ 738653 w 2848250"/>
              <a:gd name="connsiteY9" fmla="*/ 211201 h 3476245"/>
              <a:gd name="connsiteX10" fmla="*/ 1265068 w 2848250"/>
              <a:gd name="connsiteY10" fmla="*/ 0 h 3476245"/>
              <a:gd name="connsiteX11" fmla="*/ 1332251 w 2848250"/>
              <a:gd name="connsiteY11" fmla="*/ 2667 h 3476245"/>
              <a:gd name="connsiteX12" fmla="*/ 1956583 w 2848250"/>
              <a:gd name="connsiteY12" fmla="*/ 646430 h 3476245"/>
              <a:gd name="connsiteX13" fmla="*/ 1664483 w 2848250"/>
              <a:gd name="connsiteY13" fmla="*/ 1206119 h 3476245"/>
              <a:gd name="connsiteX14" fmla="*/ 1254527 w 2848250"/>
              <a:gd name="connsiteY14" fmla="*/ 1460119 h 3476245"/>
              <a:gd name="connsiteX15" fmla="*/ 2175404 w 2848250"/>
              <a:gd name="connsiteY15" fmla="*/ 2642108 h 3476245"/>
              <a:gd name="connsiteX16" fmla="*/ 2295165 w 2848250"/>
              <a:gd name="connsiteY16" fmla="*/ 2789174 h 3476245"/>
              <a:gd name="connsiteX17" fmla="*/ 2593488 w 2848250"/>
              <a:gd name="connsiteY17" fmla="*/ 3108833 h 3476245"/>
              <a:gd name="connsiteX18" fmla="*/ 2621429 w 2848250"/>
              <a:gd name="connsiteY18" fmla="*/ 3131439 h 3476245"/>
              <a:gd name="connsiteX19" fmla="*/ 2627270 w 2848250"/>
              <a:gd name="connsiteY19" fmla="*/ 3136392 h 3476245"/>
              <a:gd name="connsiteX20" fmla="*/ 2714900 w 2848250"/>
              <a:gd name="connsiteY20" fmla="*/ 3141853 h 3476245"/>
              <a:gd name="connsiteX21" fmla="*/ 2848250 w 2848250"/>
              <a:gd name="connsiteY21" fmla="*/ 3141853 h 3476245"/>
              <a:gd name="connsiteX22" fmla="*/ 2848250 w 2848250"/>
              <a:gd name="connsiteY22" fmla="*/ 3408553 h 3476245"/>
              <a:gd name="connsiteX23" fmla="*/ 2714900 w 2848250"/>
              <a:gd name="connsiteY23" fmla="*/ 3408553 h 3476245"/>
              <a:gd name="connsiteX24" fmla="*/ 2446930 w 2848250"/>
              <a:gd name="connsiteY24" fmla="*/ 3333623 h 3476245"/>
              <a:gd name="connsiteX25" fmla="*/ 2434230 w 2848250"/>
              <a:gd name="connsiteY25" fmla="*/ 3322955 h 3476245"/>
              <a:gd name="connsiteX26" fmla="*/ 2102125 w 2848250"/>
              <a:gd name="connsiteY26" fmla="*/ 2973959 h 3476245"/>
              <a:gd name="connsiteX27" fmla="*/ 1641115 w 2848250"/>
              <a:gd name="connsiteY27" fmla="*/ 3332353 h 3476245"/>
              <a:gd name="connsiteX28" fmla="*/ 1040913 w 2848250"/>
              <a:gd name="connsiteY28" fmla="*/ 3476244 h 3476245"/>
              <a:gd name="connsiteX29" fmla="*/ 931693 w 2848250"/>
              <a:gd name="connsiteY29" fmla="*/ 1592326 h 3476245"/>
              <a:gd name="connsiteX30" fmla="*/ 506624 w 2848250"/>
              <a:gd name="connsiteY30" fmla="*/ 1845437 h 3476245"/>
              <a:gd name="connsiteX31" fmla="*/ 269642 w 2848250"/>
              <a:gd name="connsiteY31" fmla="*/ 2354707 h 3476245"/>
              <a:gd name="connsiteX32" fmla="*/ 463444 w 2848250"/>
              <a:gd name="connsiteY32" fmla="*/ 2934335 h 3476245"/>
              <a:gd name="connsiteX33" fmla="*/ 1001416 w 2848250"/>
              <a:gd name="connsiteY33" fmla="*/ 3208655 h 3476245"/>
              <a:gd name="connsiteX34" fmla="*/ 1521354 w 2848250"/>
              <a:gd name="connsiteY34" fmla="*/ 3094355 h 3476245"/>
              <a:gd name="connsiteX35" fmla="*/ 1932199 w 2848250"/>
              <a:gd name="connsiteY35" fmla="*/ 2765044 h 3476245"/>
              <a:gd name="connsiteX36" fmla="*/ 1884066 w 2848250"/>
              <a:gd name="connsiteY36" fmla="*/ 2705862 h 3476245"/>
              <a:gd name="connsiteX37" fmla="*/ 1886225 w 2848250"/>
              <a:gd name="connsiteY37" fmla="*/ 2704084 h 3476245"/>
              <a:gd name="connsiteX38" fmla="*/ 1000400 w 2848250"/>
              <a:gd name="connsiteY38" fmla="*/ 1567434 h 3476245"/>
              <a:gd name="connsiteX39" fmla="*/ 2592726 w 2848250"/>
              <a:gd name="connsiteY39" fmla="*/ 3107944 h 3476245"/>
              <a:gd name="connsiteX40" fmla="*/ 2592726 w 2848250"/>
              <a:gd name="connsiteY40" fmla="*/ 3107944 h 3476245"/>
              <a:gd name="connsiteX41" fmla="*/ 1264814 w 2848250"/>
              <a:gd name="connsiteY41" fmla="*/ 267081 h 3476245"/>
              <a:gd name="connsiteX42" fmla="*/ 928010 w 2848250"/>
              <a:gd name="connsiteY42" fmla="*/ 399161 h 3476245"/>
              <a:gd name="connsiteX43" fmla="*/ 795295 w 2848250"/>
              <a:gd name="connsiteY43" fmla="*/ 748665 h 3476245"/>
              <a:gd name="connsiteX44" fmla="*/ 1012592 w 2848250"/>
              <a:gd name="connsiteY44" fmla="*/ 1146683 h 3476245"/>
              <a:gd name="connsiteX45" fmla="*/ 1014116 w 2848250"/>
              <a:gd name="connsiteY45" fmla="*/ 1148715 h 3476245"/>
              <a:gd name="connsiteX46" fmla="*/ 1088030 w 2848250"/>
              <a:gd name="connsiteY46" fmla="*/ 1243330 h 3476245"/>
              <a:gd name="connsiteX47" fmla="*/ 1088030 w 2848250"/>
              <a:gd name="connsiteY47" fmla="*/ 1243330 h 3476245"/>
              <a:gd name="connsiteX48" fmla="*/ 1088030 w 2848250"/>
              <a:gd name="connsiteY48" fmla="*/ 1243330 h 3476245"/>
              <a:gd name="connsiteX49" fmla="*/ 1088030 w 2848250"/>
              <a:gd name="connsiteY49" fmla="*/ 1243330 h 3476245"/>
              <a:gd name="connsiteX50" fmla="*/ 1491382 w 2848250"/>
              <a:gd name="connsiteY50" fmla="*/ 1002792 h 3476245"/>
              <a:gd name="connsiteX51" fmla="*/ 1688867 w 2848250"/>
              <a:gd name="connsiteY51" fmla="*/ 648081 h 3476245"/>
              <a:gd name="connsiteX52" fmla="*/ 1310661 w 2848250"/>
              <a:gd name="connsiteY52" fmla="*/ 268732 h 3476245"/>
              <a:gd name="connsiteX53" fmla="*/ 1264814 w 2848250"/>
              <a:gd name="connsiteY53" fmla="*/ 267081 h 34762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848250" h="3476245">
                <a:moveTo>
                  <a:pt x="1040913" y="3476244"/>
                </a:moveTo>
                <a:cubicBezTo>
                  <a:pt x="1024911" y="3476244"/>
                  <a:pt x="1008528" y="3476244"/>
                  <a:pt x="992526" y="3475355"/>
                </a:cubicBezTo>
                <a:cubicBezTo>
                  <a:pt x="727604" y="3466592"/>
                  <a:pt x="462174" y="3334131"/>
                  <a:pt x="264308" y="3112008"/>
                </a:cubicBezTo>
                <a:cubicBezTo>
                  <a:pt x="73564" y="2899588"/>
                  <a:pt x="-20728" y="2617678"/>
                  <a:pt x="3831" y="2333244"/>
                </a:cubicBezTo>
                <a:cubicBezTo>
                  <a:pt x="24532" y="2056130"/>
                  <a:pt x="129434" y="1832356"/>
                  <a:pt x="324506" y="1649984"/>
                </a:cubicBezTo>
                <a:cubicBezTo>
                  <a:pt x="493797" y="1491615"/>
                  <a:pt x="692806" y="1400302"/>
                  <a:pt x="830093" y="1345184"/>
                </a:cubicBezTo>
                <a:lnTo>
                  <a:pt x="805963" y="1314704"/>
                </a:lnTo>
                <a:lnTo>
                  <a:pt x="804312" y="1312672"/>
                </a:lnTo>
                <a:cubicBezTo>
                  <a:pt x="678836" y="1154684"/>
                  <a:pt x="549423" y="991870"/>
                  <a:pt x="529865" y="771906"/>
                </a:cubicBezTo>
                <a:cubicBezTo>
                  <a:pt x="512339" y="574421"/>
                  <a:pt x="592349" y="359664"/>
                  <a:pt x="738653" y="211201"/>
                </a:cubicBezTo>
                <a:cubicBezTo>
                  <a:pt x="875940" y="73025"/>
                  <a:pt x="1057804" y="0"/>
                  <a:pt x="1265068" y="0"/>
                </a:cubicBezTo>
                <a:cubicBezTo>
                  <a:pt x="1288563" y="0"/>
                  <a:pt x="1310534" y="889"/>
                  <a:pt x="1332251" y="2667"/>
                </a:cubicBezTo>
                <a:cubicBezTo>
                  <a:pt x="1697376" y="29337"/>
                  <a:pt x="1954551" y="294132"/>
                  <a:pt x="1956583" y="646430"/>
                </a:cubicBezTo>
                <a:cubicBezTo>
                  <a:pt x="1957726" y="852551"/>
                  <a:pt x="1859682" y="1040765"/>
                  <a:pt x="1664483" y="1206119"/>
                </a:cubicBezTo>
                <a:cubicBezTo>
                  <a:pt x="1558819" y="1295654"/>
                  <a:pt x="1424326" y="1379093"/>
                  <a:pt x="1254527" y="1460119"/>
                </a:cubicBezTo>
                <a:lnTo>
                  <a:pt x="2175404" y="2642108"/>
                </a:lnTo>
                <a:lnTo>
                  <a:pt x="2295165" y="2789174"/>
                </a:lnTo>
                <a:cubicBezTo>
                  <a:pt x="2437151" y="2951861"/>
                  <a:pt x="2567961" y="3087370"/>
                  <a:pt x="2593488" y="3108833"/>
                </a:cubicBezTo>
                <a:cubicBezTo>
                  <a:pt x="2605299" y="3117469"/>
                  <a:pt x="2614570" y="3125470"/>
                  <a:pt x="2621429" y="3131439"/>
                </a:cubicBezTo>
                <a:lnTo>
                  <a:pt x="2627270" y="3136392"/>
                </a:lnTo>
                <a:cubicBezTo>
                  <a:pt x="2656210" y="3141259"/>
                  <a:pt x="2685580" y="3143089"/>
                  <a:pt x="2714900" y="3141853"/>
                </a:cubicBezTo>
                <a:lnTo>
                  <a:pt x="2848250" y="3141853"/>
                </a:lnTo>
                <a:lnTo>
                  <a:pt x="2848250" y="3408553"/>
                </a:lnTo>
                <a:lnTo>
                  <a:pt x="2714900" y="3408553"/>
                </a:lnTo>
                <a:cubicBezTo>
                  <a:pt x="2560214" y="3408553"/>
                  <a:pt x="2507636" y="3385820"/>
                  <a:pt x="2446930" y="3333623"/>
                </a:cubicBezTo>
                <a:cubicBezTo>
                  <a:pt x="2441977" y="3329305"/>
                  <a:pt x="2437913" y="3325876"/>
                  <a:pt x="2434230" y="3322955"/>
                </a:cubicBezTo>
                <a:cubicBezTo>
                  <a:pt x="2383430" y="3285744"/>
                  <a:pt x="2210075" y="3097149"/>
                  <a:pt x="2102125" y="2973959"/>
                </a:cubicBezTo>
                <a:cubicBezTo>
                  <a:pt x="1959504" y="3129026"/>
                  <a:pt x="1804564" y="3249422"/>
                  <a:pt x="1641115" y="3332353"/>
                </a:cubicBezTo>
                <a:cubicBezTo>
                  <a:pt x="1455274" y="3427192"/>
                  <a:pt x="1249555" y="3476510"/>
                  <a:pt x="1040913" y="3476244"/>
                </a:cubicBezTo>
                <a:close/>
                <a:moveTo>
                  <a:pt x="931693" y="1592326"/>
                </a:moveTo>
                <a:cubicBezTo>
                  <a:pt x="814726" y="1639443"/>
                  <a:pt x="644292" y="1716659"/>
                  <a:pt x="506624" y="1845437"/>
                </a:cubicBezTo>
                <a:cubicBezTo>
                  <a:pt x="360828" y="1981835"/>
                  <a:pt x="285517" y="2143633"/>
                  <a:pt x="269642" y="2354707"/>
                </a:cubicBezTo>
                <a:cubicBezTo>
                  <a:pt x="251454" y="2566386"/>
                  <a:pt x="321595" y="2776166"/>
                  <a:pt x="463444" y="2934335"/>
                </a:cubicBezTo>
                <a:cubicBezTo>
                  <a:pt x="610764" y="3099435"/>
                  <a:pt x="811932" y="3202305"/>
                  <a:pt x="1001416" y="3208655"/>
                </a:cubicBezTo>
                <a:cubicBezTo>
                  <a:pt x="1181635" y="3215452"/>
                  <a:pt x="1360603" y="3176109"/>
                  <a:pt x="1521354" y="3094355"/>
                </a:cubicBezTo>
                <a:cubicBezTo>
                  <a:pt x="1665753" y="3021076"/>
                  <a:pt x="1804056" y="2910332"/>
                  <a:pt x="1932199" y="2765044"/>
                </a:cubicBezTo>
                <a:lnTo>
                  <a:pt x="1884066" y="2705862"/>
                </a:lnTo>
                <a:lnTo>
                  <a:pt x="1886225" y="2704084"/>
                </a:lnTo>
                <a:lnTo>
                  <a:pt x="1000400" y="1567434"/>
                </a:lnTo>
                <a:close/>
                <a:moveTo>
                  <a:pt x="2592726" y="3107944"/>
                </a:moveTo>
                <a:lnTo>
                  <a:pt x="2592726" y="3107944"/>
                </a:lnTo>
                <a:close/>
                <a:moveTo>
                  <a:pt x="1264814" y="267081"/>
                </a:moveTo>
                <a:cubicBezTo>
                  <a:pt x="1130321" y="267081"/>
                  <a:pt x="1013735" y="312801"/>
                  <a:pt x="928010" y="399161"/>
                </a:cubicBezTo>
                <a:cubicBezTo>
                  <a:pt x="836824" y="491617"/>
                  <a:pt x="784627" y="628904"/>
                  <a:pt x="795295" y="748665"/>
                </a:cubicBezTo>
                <a:cubicBezTo>
                  <a:pt x="807995" y="888365"/>
                  <a:pt x="902610" y="1008380"/>
                  <a:pt x="1012592" y="1146683"/>
                </a:cubicBezTo>
                <a:lnTo>
                  <a:pt x="1014116" y="1148715"/>
                </a:lnTo>
                <a:cubicBezTo>
                  <a:pt x="1040786" y="1182243"/>
                  <a:pt x="1064916" y="1212215"/>
                  <a:pt x="1088030" y="1243330"/>
                </a:cubicBezTo>
                <a:lnTo>
                  <a:pt x="1088030" y="1243330"/>
                </a:lnTo>
                <a:lnTo>
                  <a:pt x="1088030" y="1243330"/>
                </a:lnTo>
                <a:lnTo>
                  <a:pt x="1088030" y="1243330"/>
                </a:lnTo>
                <a:cubicBezTo>
                  <a:pt x="1261639" y="1164590"/>
                  <a:pt x="1393592" y="1085850"/>
                  <a:pt x="1491382" y="1002792"/>
                </a:cubicBezTo>
                <a:cubicBezTo>
                  <a:pt x="1623081" y="891032"/>
                  <a:pt x="1689502" y="771652"/>
                  <a:pt x="1688867" y="648081"/>
                </a:cubicBezTo>
                <a:cubicBezTo>
                  <a:pt x="1687597" y="434340"/>
                  <a:pt x="1539134" y="285369"/>
                  <a:pt x="1310661" y="268732"/>
                </a:cubicBezTo>
                <a:cubicBezTo>
                  <a:pt x="1296056" y="267716"/>
                  <a:pt x="1281197" y="267081"/>
                  <a:pt x="1264814" y="267081"/>
                </a:cubicBezTo>
                <a:close/>
              </a:path>
            </a:pathLst>
          </a:custGeom>
          <a:solidFill>
            <a:srgbClr val="FFFFFF"/>
          </a:solidFill>
          <a:ln w="12700"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B255A575-2D29-4CA2-B8AD-621A7489E9F3}"/>
              </a:ext>
            </a:extLst>
          </p:cNvPr>
          <p:cNvSpPr/>
          <p:nvPr/>
        </p:nvSpPr>
        <p:spPr>
          <a:xfrm>
            <a:off x="2195899" y="4546596"/>
            <a:ext cx="5688673" cy="1147495"/>
          </a:xfrm>
          <a:custGeom>
            <a:avLst/>
            <a:gdLst>
              <a:gd name="connsiteX0" fmla="*/ 133376 w 6260109"/>
              <a:gd name="connsiteY0" fmla="*/ 1262761 h 1262763"/>
              <a:gd name="connsiteX1" fmla="*/ 0 w 6260109"/>
              <a:gd name="connsiteY1" fmla="*/ 1129437 h 1262763"/>
              <a:gd name="connsiteX2" fmla="*/ 35458 w 6260109"/>
              <a:gd name="connsiteY2" fmla="*/ 1038860 h 1262763"/>
              <a:gd name="connsiteX3" fmla="*/ 55017 w 6260109"/>
              <a:gd name="connsiteY3" fmla="*/ 1016635 h 1262763"/>
              <a:gd name="connsiteX4" fmla="*/ 126137 w 6260109"/>
              <a:gd name="connsiteY4" fmla="*/ 927735 h 1262763"/>
              <a:gd name="connsiteX5" fmla="*/ 154458 w 6260109"/>
              <a:gd name="connsiteY5" fmla="*/ 890397 h 1262763"/>
              <a:gd name="connsiteX6" fmla="*/ 178715 w 6260109"/>
              <a:gd name="connsiteY6" fmla="*/ 849376 h 1262763"/>
              <a:gd name="connsiteX7" fmla="*/ 216815 w 6260109"/>
              <a:gd name="connsiteY7" fmla="*/ 772033 h 1262763"/>
              <a:gd name="connsiteX8" fmla="*/ 243739 w 6260109"/>
              <a:gd name="connsiteY8" fmla="*/ 708533 h 1262763"/>
              <a:gd name="connsiteX9" fmla="*/ 262662 w 6260109"/>
              <a:gd name="connsiteY9" fmla="*/ 648716 h 1262763"/>
              <a:gd name="connsiteX10" fmla="*/ 277013 w 6260109"/>
              <a:gd name="connsiteY10" fmla="*/ 581406 h 1262763"/>
              <a:gd name="connsiteX11" fmla="*/ 288570 w 6260109"/>
              <a:gd name="connsiteY11" fmla="*/ 496697 h 1262763"/>
              <a:gd name="connsiteX12" fmla="*/ 298349 w 6260109"/>
              <a:gd name="connsiteY12" fmla="*/ 387477 h 1262763"/>
              <a:gd name="connsiteX13" fmla="*/ 299111 w 6260109"/>
              <a:gd name="connsiteY13" fmla="*/ 377317 h 1262763"/>
              <a:gd name="connsiteX14" fmla="*/ 307620 w 6260109"/>
              <a:gd name="connsiteY14" fmla="*/ 249174 h 1262763"/>
              <a:gd name="connsiteX15" fmla="*/ 313589 w 6260109"/>
              <a:gd name="connsiteY15" fmla="*/ 127000 h 1262763"/>
              <a:gd name="connsiteX16" fmla="*/ 446812 w 6260109"/>
              <a:gd name="connsiteY16" fmla="*/ 0 h 1262763"/>
              <a:gd name="connsiteX17" fmla="*/ 6126760 w 6260109"/>
              <a:gd name="connsiteY17" fmla="*/ 0 h 1262763"/>
              <a:gd name="connsiteX18" fmla="*/ 6260110 w 6260109"/>
              <a:gd name="connsiteY18" fmla="*/ 133350 h 1262763"/>
              <a:gd name="connsiteX19" fmla="*/ 6126760 w 6260109"/>
              <a:gd name="connsiteY19" fmla="*/ 266700 h 1262763"/>
              <a:gd name="connsiteX20" fmla="*/ 573939 w 6260109"/>
              <a:gd name="connsiteY20" fmla="*/ 266700 h 1262763"/>
              <a:gd name="connsiteX21" fmla="*/ 565176 w 6260109"/>
              <a:gd name="connsiteY21" fmla="*/ 397383 h 1262763"/>
              <a:gd name="connsiteX22" fmla="*/ 564414 w 6260109"/>
              <a:gd name="connsiteY22" fmla="*/ 407416 h 1262763"/>
              <a:gd name="connsiteX23" fmla="*/ 553873 w 6260109"/>
              <a:gd name="connsiteY23" fmla="*/ 525526 h 1262763"/>
              <a:gd name="connsiteX24" fmla="*/ 540030 w 6260109"/>
              <a:gd name="connsiteY24" fmla="*/ 626237 h 1262763"/>
              <a:gd name="connsiteX25" fmla="*/ 520599 w 6260109"/>
              <a:gd name="connsiteY25" fmla="*/ 716788 h 1262763"/>
              <a:gd name="connsiteX26" fmla="*/ 493929 w 6260109"/>
              <a:gd name="connsiteY26" fmla="*/ 800989 h 1262763"/>
              <a:gd name="connsiteX27" fmla="*/ 459131 w 6260109"/>
              <a:gd name="connsiteY27" fmla="*/ 884301 h 1262763"/>
              <a:gd name="connsiteX28" fmla="*/ 415697 w 6260109"/>
              <a:gd name="connsiteY28" fmla="*/ 972058 h 1262763"/>
              <a:gd name="connsiteX29" fmla="*/ 368198 w 6260109"/>
              <a:gd name="connsiteY29" fmla="*/ 1050290 h 1262763"/>
              <a:gd name="connsiteX30" fmla="*/ 337846 w 6260109"/>
              <a:gd name="connsiteY30" fmla="*/ 1090295 h 1262763"/>
              <a:gd name="connsiteX31" fmla="*/ 258217 w 6260109"/>
              <a:gd name="connsiteY31" fmla="*/ 1190117 h 1262763"/>
              <a:gd name="connsiteX32" fmla="*/ 231166 w 6260109"/>
              <a:gd name="connsiteY32" fmla="*/ 1220724 h 1262763"/>
              <a:gd name="connsiteX33" fmla="*/ 133376 w 6260109"/>
              <a:gd name="connsiteY33" fmla="*/ 1262761 h 1262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260109" h="1262763">
                <a:moveTo>
                  <a:pt x="133376" y="1262761"/>
                </a:moveTo>
                <a:cubicBezTo>
                  <a:pt x="59728" y="1262775"/>
                  <a:pt x="14" y="1203084"/>
                  <a:pt x="0" y="1129437"/>
                </a:cubicBezTo>
                <a:cubicBezTo>
                  <a:pt x="-6" y="1095857"/>
                  <a:pt x="12656" y="1063511"/>
                  <a:pt x="35458" y="1038860"/>
                </a:cubicBezTo>
                <a:cubicBezTo>
                  <a:pt x="42190" y="1031621"/>
                  <a:pt x="48159" y="1024128"/>
                  <a:pt x="55017" y="1016635"/>
                </a:cubicBezTo>
                <a:cubicBezTo>
                  <a:pt x="80417" y="987298"/>
                  <a:pt x="103912" y="956310"/>
                  <a:pt x="126137" y="927735"/>
                </a:cubicBezTo>
                <a:cubicBezTo>
                  <a:pt x="135662" y="915035"/>
                  <a:pt x="145187" y="902335"/>
                  <a:pt x="154458" y="890397"/>
                </a:cubicBezTo>
                <a:cubicBezTo>
                  <a:pt x="163675" y="877426"/>
                  <a:pt x="171790" y="863704"/>
                  <a:pt x="178715" y="849376"/>
                </a:cubicBezTo>
                <a:cubicBezTo>
                  <a:pt x="194336" y="819150"/>
                  <a:pt x="206528" y="794639"/>
                  <a:pt x="216815" y="772033"/>
                </a:cubicBezTo>
                <a:cubicBezTo>
                  <a:pt x="227102" y="749427"/>
                  <a:pt x="236246" y="727964"/>
                  <a:pt x="243739" y="708533"/>
                </a:cubicBezTo>
                <a:cubicBezTo>
                  <a:pt x="251232" y="689102"/>
                  <a:pt x="257455" y="668274"/>
                  <a:pt x="262662" y="648716"/>
                </a:cubicBezTo>
                <a:cubicBezTo>
                  <a:pt x="267869" y="629158"/>
                  <a:pt x="272822" y="606171"/>
                  <a:pt x="277013" y="581406"/>
                </a:cubicBezTo>
                <a:cubicBezTo>
                  <a:pt x="281204" y="556641"/>
                  <a:pt x="284887" y="529717"/>
                  <a:pt x="288570" y="496697"/>
                </a:cubicBezTo>
                <a:cubicBezTo>
                  <a:pt x="292253" y="463677"/>
                  <a:pt x="295301" y="428879"/>
                  <a:pt x="298349" y="387477"/>
                </a:cubicBezTo>
                <a:lnTo>
                  <a:pt x="299111" y="377317"/>
                </a:lnTo>
                <a:cubicBezTo>
                  <a:pt x="302540" y="332994"/>
                  <a:pt x="305715" y="291211"/>
                  <a:pt x="307620" y="249174"/>
                </a:cubicBezTo>
                <a:lnTo>
                  <a:pt x="313589" y="127000"/>
                </a:lnTo>
                <a:cubicBezTo>
                  <a:pt x="316915" y="55864"/>
                  <a:pt x="375598" y="-78"/>
                  <a:pt x="446812" y="0"/>
                </a:cubicBezTo>
                <a:lnTo>
                  <a:pt x="6126760" y="0"/>
                </a:lnTo>
                <a:cubicBezTo>
                  <a:pt x="6200407" y="0"/>
                  <a:pt x="6260110" y="59703"/>
                  <a:pt x="6260110" y="133350"/>
                </a:cubicBezTo>
                <a:cubicBezTo>
                  <a:pt x="6260110" y="206997"/>
                  <a:pt x="6200407" y="266700"/>
                  <a:pt x="6126760" y="266700"/>
                </a:cubicBezTo>
                <a:lnTo>
                  <a:pt x="573939" y="266700"/>
                </a:lnTo>
                <a:cubicBezTo>
                  <a:pt x="571780" y="310769"/>
                  <a:pt x="568478" y="354711"/>
                  <a:pt x="565176" y="397383"/>
                </a:cubicBezTo>
                <a:lnTo>
                  <a:pt x="564414" y="407416"/>
                </a:lnTo>
                <a:cubicBezTo>
                  <a:pt x="561112" y="451612"/>
                  <a:pt x="557683" y="490220"/>
                  <a:pt x="553873" y="525526"/>
                </a:cubicBezTo>
                <a:cubicBezTo>
                  <a:pt x="549555" y="564261"/>
                  <a:pt x="545237" y="596138"/>
                  <a:pt x="540030" y="626237"/>
                </a:cubicBezTo>
                <a:cubicBezTo>
                  <a:pt x="534442" y="659257"/>
                  <a:pt x="528092" y="688721"/>
                  <a:pt x="520599" y="716788"/>
                </a:cubicBezTo>
                <a:cubicBezTo>
                  <a:pt x="513106" y="744855"/>
                  <a:pt x="504470" y="772541"/>
                  <a:pt x="493929" y="800989"/>
                </a:cubicBezTo>
                <a:cubicBezTo>
                  <a:pt x="483388" y="829437"/>
                  <a:pt x="472593" y="854837"/>
                  <a:pt x="459131" y="884301"/>
                </a:cubicBezTo>
                <a:cubicBezTo>
                  <a:pt x="446431" y="910717"/>
                  <a:pt x="433096" y="938530"/>
                  <a:pt x="415697" y="972058"/>
                </a:cubicBezTo>
                <a:cubicBezTo>
                  <a:pt x="402138" y="999450"/>
                  <a:pt x="386246" y="1025624"/>
                  <a:pt x="368198" y="1050290"/>
                </a:cubicBezTo>
                <a:cubicBezTo>
                  <a:pt x="358420" y="1062990"/>
                  <a:pt x="348260" y="1076833"/>
                  <a:pt x="337846" y="1090295"/>
                </a:cubicBezTo>
                <a:cubicBezTo>
                  <a:pt x="313589" y="1122045"/>
                  <a:pt x="287046" y="1156081"/>
                  <a:pt x="258217" y="1190117"/>
                </a:cubicBezTo>
                <a:cubicBezTo>
                  <a:pt x="249327" y="1200658"/>
                  <a:pt x="240310" y="1210818"/>
                  <a:pt x="231166" y="1220724"/>
                </a:cubicBezTo>
                <a:cubicBezTo>
                  <a:pt x="205862" y="1247767"/>
                  <a:pt x="170410" y="1263007"/>
                  <a:pt x="133376" y="1262761"/>
                </a:cubicBezTo>
                <a:close/>
              </a:path>
            </a:pathLst>
          </a:custGeom>
          <a:solidFill>
            <a:srgbClr val="FFFFFF"/>
          </a:solidFill>
          <a:ln w="12700"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31DE123E-D31C-47E2-B6A2-E845018881F6}"/>
              </a:ext>
            </a:extLst>
          </p:cNvPr>
          <p:cNvSpPr/>
          <p:nvPr userDrawn="1"/>
        </p:nvSpPr>
        <p:spPr>
          <a:xfrm>
            <a:off x="0" y="6632027"/>
            <a:ext cx="12192127" cy="6858000"/>
          </a:xfrm>
          <a:custGeom>
            <a:avLst/>
            <a:gdLst>
              <a:gd name="connsiteX0" fmla="*/ 0 w 12192127"/>
              <a:gd name="connsiteY0" fmla="*/ 0 h 6858000"/>
              <a:gd name="connsiteX1" fmla="*/ 12192127 w 12192127"/>
              <a:gd name="connsiteY1" fmla="*/ 0 h 6858000"/>
              <a:gd name="connsiteX2" fmla="*/ 12192127 w 12192127"/>
              <a:gd name="connsiteY2" fmla="*/ 6858000 h 6858000"/>
              <a:gd name="connsiteX3" fmla="*/ 0 w 1219212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127" h="6858000">
                <a:moveTo>
                  <a:pt x="0" y="0"/>
                </a:moveTo>
                <a:lnTo>
                  <a:pt x="12192127" y="0"/>
                </a:lnTo>
                <a:lnTo>
                  <a:pt x="12192127" y="6858000"/>
                </a:lnTo>
                <a:lnTo>
                  <a:pt x="0" y="6858000"/>
                </a:lnTo>
                <a:close/>
              </a:path>
            </a:pathLst>
          </a:custGeom>
          <a:noFill/>
          <a:ln w="12700"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07DD3772-4C5E-4589-849B-676727EF93D3}"/>
              </a:ext>
            </a:extLst>
          </p:cNvPr>
          <p:cNvSpPr/>
          <p:nvPr userDrawn="1"/>
        </p:nvSpPr>
        <p:spPr>
          <a:xfrm>
            <a:off x="-508"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B84D6F7B-84CF-4FD4-8E0D-D783C92E5AA5}"/>
              </a:ext>
            </a:extLst>
          </p:cNvPr>
          <p:cNvSpPr/>
          <p:nvPr userDrawn="1"/>
        </p:nvSpPr>
        <p:spPr>
          <a:xfrm>
            <a:off x="-508"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6098140E-9523-4D50-A767-DFEABC069AAF}"/>
              </a:ext>
            </a:extLst>
          </p:cNvPr>
          <p:cNvSpPr/>
          <p:nvPr userDrawn="1"/>
        </p:nvSpPr>
        <p:spPr>
          <a:xfrm>
            <a:off x="-508"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EB210967-FC0C-484A-B475-EE3D190F0D45}"/>
              </a:ext>
            </a:extLst>
          </p:cNvPr>
          <p:cNvSpPr/>
          <p:nvPr userDrawn="1"/>
        </p:nvSpPr>
        <p:spPr>
          <a:xfrm>
            <a:off x="-508"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90801025-63AB-49AD-B7C3-D54BC5762BFF}"/>
              </a:ext>
            </a:extLst>
          </p:cNvPr>
          <p:cNvSpPr/>
          <p:nvPr userDrawn="1"/>
        </p:nvSpPr>
        <p:spPr>
          <a:xfrm>
            <a:off x="-508"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1A387142-1CBE-479E-A4CD-E1AE75FC57D3}"/>
              </a:ext>
            </a:extLst>
          </p:cNvPr>
          <p:cNvSpPr/>
          <p:nvPr userDrawn="1"/>
        </p:nvSpPr>
        <p:spPr>
          <a:xfrm>
            <a:off x="0"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91A3FA16-8969-49BA-B400-AFCF765C7CE6}"/>
              </a:ext>
            </a:extLst>
          </p:cNvPr>
          <p:cNvSpPr/>
          <p:nvPr userDrawn="1"/>
        </p:nvSpPr>
        <p:spPr>
          <a:xfrm>
            <a:off x="0"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64AE879F-0775-43FE-BD16-BAE89045536C}"/>
              </a:ext>
            </a:extLst>
          </p:cNvPr>
          <p:cNvSpPr/>
          <p:nvPr userDrawn="1"/>
        </p:nvSpPr>
        <p:spPr>
          <a:xfrm>
            <a:off x="0"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1EB5652B-F1E2-42E9-8A1A-CD2E973C3920}"/>
              </a:ext>
            </a:extLst>
          </p:cNvPr>
          <p:cNvSpPr/>
          <p:nvPr userDrawn="1"/>
        </p:nvSpPr>
        <p:spPr>
          <a:xfrm>
            <a:off x="0"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39" name="Freeform: Shape 38">
            <a:extLst>
              <a:ext uri="{FF2B5EF4-FFF2-40B4-BE49-F238E27FC236}">
                <a16:creationId xmlns:a16="http://schemas.microsoft.com/office/drawing/2014/main" id="{B1B1D95B-8EC7-4608-A0AB-AD3EE1331486}"/>
              </a:ext>
            </a:extLst>
          </p:cNvPr>
          <p:cNvSpPr/>
          <p:nvPr userDrawn="1"/>
        </p:nvSpPr>
        <p:spPr>
          <a:xfrm>
            <a:off x="0"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C7DA7A5E-2079-43DB-BC49-9D77FBA5F938}"/>
              </a:ext>
            </a:extLst>
          </p:cNvPr>
          <p:cNvSpPr/>
          <p:nvPr userDrawn="1"/>
        </p:nvSpPr>
        <p:spPr>
          <a:xfrm>
            <a:off x="0" y="6632027"/>
            <a:ext cx="12193143" cy="6858000"/>
          </a:xfrm>
          <a:custGeom>
            <a:avLst/>
            <a:gdLst>
              <a:gd name="connsiteX0" fmla="*/ 0 w 12193143"/>
              <a:gd name="connsiteY0" fmla="*/ 0 h 6858000"/>
              <a:gd name="connsiteX1" fmla="*/ 12193143 w 12193143"/>
              <a:gd name="connsiteY1" fmla="*/ 0 h 6858000"/>
              <a:gd name="connsiteX2" fmla="*/ 12193143 w 12193143"/>
              <a:gd name="connsiteY2" fmla="*/ 6858000 h 6858000"/>
              <a:gd name="connsiteX3" fmla="*/ 0 w 12193143"/>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3143" h="6858000">
                <a:moveTo>
                  <a:pt x="0" y="0"/>
                </a:moveTo>
                <a:lnTo>
                  <a:pt x="12193143" y="0"/>
                </a:lnTo>
                <a:lnTo>
                  <a:pt x="12193143" y="6858000"/>
                </a:lnTo>
                <a:lnTo>
                  <a:pt x="0" y="6858000"/>
                </a:lnTo>
                <a:close/>
              </a:path>
            </a:pathLst>
          </a:custGeom>
          <a:noFill/>
          <a:ln w="12700" cap="flat">
            <a:noFill/>
            <a:prstDash val="solid"/>
            <a:miter/>
          </a:ln>
        </p:spPr>
        <p:txBody>
          <a:bodyPr rtlCol="0" anchor="ctr"/>
          <a:lstStyle/>
          <a:p>
            <a:endParaRPr lang="en-GB"/>
          </a:p>
        </p:txBody>
      </p:sp>
    </p:spTree>
    <p:extLst>
      <p:ext uri="{BB962C8B-B14F-4D97-AF65-F5344CB8AC3E}">
        <p14:creationId xmlns:p14="http://schemas.microsoft.com/office/powerpoint/2010/main" val="402925372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lide 5">
    <p:bg>
      <p:bgPr>
        <a:solidFill>
          <a:schemeClr val="accent1"/>
        </a:solidFill>
        <a:effectLst/>
      </p:bgPr>
    </p:bg>
    <p:spTree>
      <p:nvGrpSpPr>
        <p:cNvPr id="1" name=""/>
        <p:cNvGrpSpPr/>
        <p:nvPr/>
      </p:nvGrpSpPr>
      <p:grpSpPr>
        <a:xfrm>
          <a:off x="0" y="0"/>
          <a:ext cx="0" cy="0"/>
          <a:chOff x="0" y="0"/>
          <a:chExt cx="0" cy="0"/>
        </a:xfrm>
      </p:grpSpPr>
      <p:sp>
        <p:nvSpPr>
          <p:cNvPr id="27" name="Picture Placeholder 1">
            <a:extLst>
              <a:ext uri="{FF2B5EF4-FFF2-40B4-BE49-F238E27FC236}">
                <a16:creationId xmlns:a16="http://schemas.microsoft.com/office/drawing/2014/main" id="{58796B95-BF41-4F4C-A925-88BB4F6B8DDC}"/>
              </a:ext>
            </a:extLst>
          </p:cNvPr>
          <p:cNvSpPr>
            <a:spLocks noGrp="1"/>
          </p:cNvSpPr>
          <p:nvPr>
            <p:ph type="pic" sz="quarter" idx="11"/>
          </p:nvPr>
        </p:nvSpPr>
        <p:spPr>
          <a:xfrm>
            <a:off x="0" y="0"/>
            <a:ext cx="12192000" cy="6858000"/>
          </a:xfrm>
        </p:spPr>
        <p:txBody>
          <a:bodyPr/>
          <a:lstStyle/>
          <a:p>
            <a:r>
              <a:rPr lang="en-US"/>
              <a:t>Click icon to add picture</a:t>
            </a:r>
            <a:endParaRPr lang="en-GB" dirty="0"/>
          </a:p>
        </p:txBody>
      </p:sp>
      <p:sp>
        <p:nvSpPr>
          <p:cNvPr id="14" name="Date Placeholder 1">
            <a:extLst>
              <a:ext uri="{FF2B5EF4-FFF2-40B4-BE49-F238E27FC236}">
                <a16:creationId xmlns:a16="http://schemas.microsoft.com/office/drawing/2014/main" id="{A3AC88BA-6E7A-4F66-A140-439B25DB9248}"/>
              </a:ext>
            </a:extLst>
          </p:cNvPr>
          <p:cNvSpPr>
            <a:spLocks noGrp="1"/>
          </p:cNvSpPr>
          <p:nvPr>
            <p:ph type="dt" sz="half" idx="10"/>
          </p:nvPr>
        </p:nvSpPr>
        <p:spPr>
          <a:xfrm>
            <a:off x="719138" y="4653513"/>
            <a:ext cx="1660897" cy="448468"/>
          </a:xfrm>
          <a:prstGeom prst="roundRect">
            <a:avLst>
              <a:gd name="adj" fmla="val 50000"/>
            </a:avLst>
          </a:prstGeom>
          <a:solidFill>
            <a:schemeClr val="tx2"/>
          </a:solidFill>
        </p:spPr>
        <p:txBody>
          <a:bodyPr wrap="none" tIns="36000" rIns="72000" bIns="36000" anchor="ctr" anchorCtr="0">
            <a:spAutoFit/>
          </a:bodyPr>
          <a:lstStyle>
            <a:lvl1pPr marL="0">
              <a:defRPr sz="1600" i="1">
                <a:solidFill>
                  <a:schemeClr val="bg1"/>
                </a:solidFill>
                <a:latin typeface="+mj-lt"/>
              </a:defRPr>
            </a:lvl1pPr>
            <a:lvl2pPr marL="0">
              <a:defRPr sz="1600" i="1">
                <a:solidFill>
                  <a:schemeClr val="bg1"/>
                </a:solidFill>
                <a:latin typeface="+mj-lt"/>
              </a:defRPr>
            </a:lvl2pPr>
            <a:lvl3pPr marL="0">
              <a:defRPr sz="1600" i="1">
                <a:solidFill>
                  <a:schemeClr val="bg1"/>
                </a:solidFill>
                <a:latin typeface="+mj-lt"/>
              </a:defRPr>
            </a:lvl3pPr>
            <a:lvl4pPr marL="0">
              <a:defRPr sz="1600" i="1">
                <a:solidFill>
                  <a:schemeClr val="bg1"/>
                </a:solidFill>
                <a:latin typeface="+mj-lt"/>
              </a:defRPr>
            </a:lvl4pPr>
            <a:lvl5pPr marL="0">
              <a:defRPr sz="1600" i="1">
                <a:solidFill>
                  <a:schemeClr val="bg1"/>
                </a:solidFill>
                <a:latin typeface="+mj-lt"/>
              </a:defRPr>
            </a:lvl5pPr>
            <a:lvl6pPr marL="0">
              <a:defRPr sz="1600" i="1">
                <a:solidFill>
                  <a:schemeClr val="bg1"/>
                </a:solidFill>
                <a:latin typeface="+mj-lt"/>
              </a:defRPr>
            </a:lvl6pPr>
            <a:lvl7pPr marL="0">
              <a:defRPr sz="1600" i="1">
                <a:solidFill>
                  <a:schemeClr val="bg1"/>
                </a:solidFill>
                <a:latin typeface="+mj-lt"/>
              </a:defRPr>
            </a:lvl7pPr>
            <a:lvl8pPr marL="0">
              <a:defRPr sz="1600" i="1">
                <a:solidFill>
                  <a:schemeClr val="bg1"/>
                </a:solidFill>
                <a:latin typeface="+mj-lt"/>
              </a:defRPr>
            </a:lvl8pPr>
            <a:lvl9pPr marL="0">
              <a:defRPr sz="1600" i="1">
                <a:solidFill>
                  <a:schemeClr val="bg1"/>
                </a:solidFill>
                <a:latin typeface="+mj-lt"/>
              </a:defRPr>
            </a:lvl9pPr>
          </a:lstStyle>
          <a:p>
            <a:r>
              <a:rPr lang="en-US"/>
              <a:t>dd Month 2021</a:t>
            </a:r>
            <a:endParaRPr lang="en-GB" dirty="0"/>
          </a:p>
        </p:txBody>
      </p:sp>
      <p:sp>
        <p:nvSpPr>
          <p:cNvPr id="3" name="Subtitle 1">
            <a:extLst>
              <a:ext uri="{FF2B5EF4-FFF2-40B4-BE49-F238E27FC236}">
                <a16:creationId xmlns:a16="http://schemas.microsoft.com/office/drawing/2014/main" id="{EDF4FC6D-F465-4529-BC7B-E5213D4E361C}"/>
              </a:ext>
            </a:extLst>
          </p:cNvPr>
          <p:cNvSpPr>
            <a:spLocks noGrp="1"/>
          </p:cNvSpPr>
          <p:nvPr>
            <p:ph type="subTitle" idx="1"/>
          </p:nvPr>
        </p:nvSpPr>
        <p:spPr>
          <a:xfrm>
            <a:off x="719138" y="3604929"/>
            <a:ext cx="6197600" cy="864000"/>
          </a:xfrm>
        </p:spPr>
        <p:txBody>
          <a:bodyPr>
            <a:noAutofit/>
          </a:bodyPr>
          <a:lstStyle>
            <a:lvl1pPr marL="0" indent="0" algn="l">
              <a:lnSpc>
                <a:spcPct val="100000"/>
              </a:lnSpc>
              <a:spcBef>
                <a:spcPts val="600"/>
              </a:spcBef>
              <a:buNone/>
              <a:defRPr sz="1800">
                <a:solidFill>
                  <a:schemeClr val="tx1"/>
                </a:solidFill>
                <a:latin typeface="+mn-lt"/>
              </a:defRPr>
            </a:lvl1pPr>
            <a:lvl2pPr marL="0" indent="0" algn="l">
              <a:lnSpc>
                <a:spcPct val="100000"/>
              </a:lnSpc>
              <a:spcBef>
                <a:spcPts val="600"/>
              </a:spcBef>
              <a:buNone/>
              <a:defRPr sz="1800">
                <a:solidFill>
                  <a:schemeClr val="tx2"/>
                </a:solidFill>
                <a:latin typeface="+mn-lt"/>
              </a:defRPr>
            </a:lvl2pPr>
            <a:lvl3pPr marL="0" indent="0" algn="l">
              <a:lnSpc>
                <a:spcPct val="100000"/>
              </a:lnSpc>
              <a:spcBef>
                <a:spcPts val="600"/>
              </a:spcBef>
              <a:buNone/>
              <a:defRPr sz="1800">
                <a:solidFill>
                  <a:schemeClr val="bg1"/>
                </a:solidFill>
                <a:latin typeface="+mn-lt"/>
              </a:defRPr>
            </a:lvl3pPr>
            <a:lvl4pPr marL="0" indent="0" algn="l">
              <a:lnSpc>
                <a:spcPct val="100000"/>
              </a:lnSpc>
              <a:spcBef>
                <a:spcPts val="600"/>
              </a:spcBef>
              <a:buNone/>
              <a:defRPr sz="1600">
                <a:solidFill>
                  <a:schemeClr val="tx1"/>
                </a:solidFill>
                <a:latin typeface="+mn-lt"/>
              </a:defRPr>
            </a:lvl4pPr>
            <a:lvl5pPr marL="0" indent="0" algn="l">
              <a:lnSpc>
                <a:spcPct val="100000"/>
              </a:lnSpc>
              <a:spcBef>
                <a:spcPts val="600"/>
              </a:spcBef>
              <a:buNone/>
              <a:defRPr sz="1600">
                <a:solidFill>
                  <a:schemeClr val="tx2"/>
                </a:solidFill>
                <a:latin typeface="+mn-lt"/>
              </a:defRPr>
            </a:lvl5pPr>
            <a:lvl6pPr marL="0" indent="0" algn="l">
              <a:lnSpc>
                <a:spcPct val="100000"/>
              </a:lnSpc>
              <a:spcBef>
                <a:spcPts val="600"/>
              </a:spcBef>
              <a:buNone/>
              <a:defRPr sz="1600">
                <a:solidFill>
                  <a:schemeClr val="bg1"/>
                </a:solidFill>
                <a:latin typeface="+mn-lt"/>
              </a:defRPr>
            </a:lvl6pPr>
            <a:lvl7pPr marL="0" indent="0" algn="l">
              <a:lnSpc>
                <a:spcPct val="100000"/>
              </a:lnSpc>
              <a:spcBef>
                <a:spcPts val="600"/>
              </a:spcBef>
              <a:buNone/>
              <a:defRPr sz="2400">
                <a:solidFill>
                  <a:schemeClr val="tx1"/>
                </a:solidFill>
                <a:latin typeface="+mn-lt"/>
              </a:defRPr>
            </a:lvl7pPr>
            <a:lvl8pPr marL="0" indent="0" algn="l">
              <a:lnSpc>
                <a:spcPct val="100000"/>
              </a:lnSpc>
              <a:spcBef>
                <a:spcPts val="600"/>
              </a:spcBef>
              <a:buNone/>
              <a:defRPr sz="2400">
                <a:solidFill>
                  <a:schemeClr val="tx2"/>
                </a:solidFill>
                <a:latin typeface="+mn-lt"/>
              </a:defRPr>
            </a:lvl8pPr>
            <a:lvl9pPr marL="0" indent="0" algn="l">
              <a:lnSpc>
                <a:spcPct val="100000"/>
              </a:lnSpc>
              <a:spcBef>
                <a:spcPts val="600"/>
              </a:spcBef>
              <a:buNone/>
              <a:defRPr sz="2400">
                <a:solidFill>
                  <a:schemeClr val="bg1"/>
                </a:solidFill>
                <a:latin typeface="+mn-lt"/>
              </a:defRPr>
            </a:lvl9pPr>
          </a:lstStyle>
          <a:p>
            <a:pPr lvl="0"/>
            <a:r>
              <a:rPr lang="en-US"/>
              <a:t>Click to edit Master subtitle style</a:t>
            </a:r>
            <a:endParaRPr lang="en-GB" dirty="0"/>
          </a:p>
        </p:txBody>
      </p:sp>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719138" y="1908351"/>
            <a:ext cx="6197600" cy="1512000"/>
          </a:xfrm>
        </p:spPr>
        <p:txBody>
          <a:bodyPr lIns="0" rIns="0" anchor="b" anchorCtr="0">
            <a:noAutofit/>
          </a:bodyPr>
          <a:lstStyle>
            <a:lvl1pPr algn="l">
              <a:defRPr sz="4400"/>
            </a:lvl1pPr>
            <a:lvl2pPr>
              <a:defRPr sz="4400"/>
            </a:lvl2pPr>
            <a:lvl3pPr>
              <a:defRPr sz="4400">
                <a:solidFill>
                  <a:schemeClr val="bg1"/>
                </a:solidFill>
              </a:defRPr>
            </a:lvl3pPr>
            <a:lvl4pPr>
              <a:defRPr sz="3600">
                <a:solidFill>
                  <a:schemeClr val="tx1"/>
                </a:solidFill>
              </a:defRPr>
            </a:lvl4pPr>
            <a:lvl5pPr>
              <a:defRPr sz="3600">
                <a:solidFill>
                  <a:schemeClr val="tx2"/>
                </a:solidFill>
              </a:defRPr>
            </a:lvl5pPr>
            <a:lvl6pPr>
              <a:defRPr sz="3600">
                <a:solidFill>
                  <a:schemeClr val="bg1"/>
                </a:solidFill>
              </a:defRPr>
            </a:lvl6pPr>
            <a:lvl7pPr>
              <a:defRPr sz="4000"/>
            </a:lvl7pPr>
            <a:lvl8pPr>
              <a:defRPr sz="4000"/>
            </a:lvl8pPr>
            <a:lvl9pPr>
              <a:defRPr sz="4000" i="0">
                <a:solidFill>
                  <a:schemeClr val="bg1"/>
                </a:solidFill>
              </a:defRPr>
            </a:lvl9pPr>
          </a:lstStyle>
          <a:p>
            <a:pPr lvl="0"/>
            <a:r>
              <a:rPr lang="en-US"/>
              <a:t>Click to edit Master title style</a:t>
            </a:r>
            <a:endParaRPr lang="en-GB" dirty="0"/>
          </a:p>
        </p:txBody>
      </p:sp>
      <p:sp>
        <p:nvSpPr>
          <p:cNvPr id="9" name="Logo Text Fill">
            <a:extLst>
              <a:ext uri="{FF2B5EF4-FFF2-40B4-BE49-F238E27FC236}">
                <a16:creationId xmlns:a16="http://schemas.microsoft.com/office/drawing/2014/main" id="{0455E612-50B1-4F98-B135-B53AABD3FE47}"/>
              </a:ext>
            </a:extLst>
          </p:cNvPr>
          <p:cNvSpPr>
            <a:spLocks noGrp="1" noChangeAspect="1"/>
          </p:cNvSpPr>
          <p:nvPr>
            <p:ph type="body" sz="quarter" idx="12" hasCustomPrompt="1"/>
          </p:nvPr>
        </p:nvSpPr>
        <p:spPr>
          <a:xfrm>
            <a:off x="719137" y="719139"/>
            <a:ext cx="1821600" cy="321760"/>
          </a:xfrm>
          <a:blipFill>
            <a:blip r:embed="rId2"/>
            <a:stretch>
              <a:fillRect/>
            </a:stretch>
          </a:blipFill>
        </p:spPr>
        <p:txBody>
          <a:bodyPr/>
          <a:lstStyle>
            <a:lvl1pPr>
              <a:defRPr/>
            </a:lvl1pPr>
          </a:lstStyle>
          <a:p>
            <a:pPr lvl="0"/>
            <a:r>
              <a:rPr lang="en-US" dirty="0"/>
              <a:t> </a:t>
            </a:r>
            <a:endParaRPr lang="en-GB" dirty="0"/>
          </a:p>
        </p:txBody>
      </p:sp>
    </p:spTree>
    <p:extLst>
      <p:ext uri="{BB962C8B-B14F-4D97-AF65-F5344CB8AC3E}">
        <p14:creationId xmlns:p14="http://schemas.microsoft.com/office/powerpoint/2010/main" val="263524253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Slide 6">
    <p:bg>
      <p:bgPr>
        <a:solidFill>
          <a:schemeClr val="accent1"/>
        </a:solidFill>
        <a:effectLst/>
      </p:bgPr>
    </p:bg>
    <p:spTree>
      <p:nvGrpSpPr>
        <p:cNvPr id="1" name=""/>
        <p:cNvGrpSpPr/>
        <p:nvPr/>
      </p:nvGrpSpPr>
      <p:grpSpPr>
        <a:xfrm>
          <a:off x="0" y="0"/>
          <a:ext cx="0" cy="0"/>
          <a:chOff x="0" y="0"/>
          <a:chExt cx="0" cy="0"/>
        </a:xfrm>
      </p:grpSpPr>
      <p:sp>
        <p:nvSpPr>
          <p:cNvPr id="27" name="Picture Placeholder 1">
            <a:extLst>
              <a:ext uri="{FF2B5EF4-FFF2-40B4-BE49-F238E27FC236}">
                <a16:creationId xmlns:a16="http://schemas.microsoft.com/office/drawing/2014/main" id="{58796B95-BF41-4F4C-A925-88BB4F6B8DDC}"/>
              </a:ext>
            </a:extLst>
          </p:cNvPr>
          <p:cNvSpPr>
            <a:spLocks noGrp="1"/>
          </p:cNvSpPr>
          <p:nvPr>
            <p:ph type="pic" sz="quarter" idx="11"/>
          </p:nvPr>
        </p:nvSpPr>
        <p:spPr>
          <a:xfrm>
            <a:off x="0" y="0"/>
            <a:ext cx="12192000" cy="6858000"/>
          </a:xfrm>
        </p:spPr>
        <p:txBody>
          <a:bodyPr/>
          <a:lstStyle/>
          <a:p>
            <a:r>
              <a:rPr lang="en-US"/>
              <a:t>Click icon to add picture</a:t>
            </a:r>
            <a:endParaRPr lang="en-GB" dirty="0"/>
          </a:p>
        </p:txBody>
      </p:sp>
      <p:sp>
        <p:nvSpPr>
          <p:cNvPr id="14" name="Date Placeholder 1">
            <a:extLst>
              <a:ext uri="{FF2B5EF4-FFF2-40B4-BE49-F238E27FC236}">
                <a16:creationId xmlns:a16="http://schemas.microsoft.com/office/drawing/2014/main" id="{A3AC88BA-6E7A-4F66-A140-439B25DB9248}"/>
              </a:ext>
            </a:extLst>
          </p:cNvPr>
          <p:cNvSpPr>
            <a:spLocks noGrp="1"/>
          </p:cNvSpPr>
          <p:nvPr>
            <p:ph type="dt" sz="half" idx="10"/>
          </p:nvPr>
        </p:nvSpPr>
        <p:spPr>
          <a:xfrm>
            <a:off x="719138" y="4653513"/>
            <a:ext cx="1660897" cy="448468"/>
          </a:xfrm>
          <a:prstGeom prst="roundRect">
            <a:avLst>
              <a:gd name="adj" fmla="val 50000"/>
            </a:avLst>
          </a:prstGeom>
          <a:solidFill>
            <a:schemeClr val="bg1"/>
          </a:solidFill>
        </p:spPr>
        <p:txBody>
          <a:bodyPr wrap="none" tIns="36000" rIns="72000" bIns="36000" anchor="ctr" anchorCtr="0">
            <a:spAutoFit/>
          </a:bodyPr>
          <a:lstStyle>
            <a:lvl1pPr marL="0">
              <a:defRPr sz="1600" i="1">
                <a:solidFill>
                  <a:schemeClr val="tx2"/>
                </a:solidFill>
                <a:latin typeface="+mj-lt"/>
              </a:defRPr>
            </a:lvl1pPr>
            <a:lvl2pPr marL="0">
              <a:defRPr sz="1600" i="1">
                <a:solidFill>
                  <a:schemeClr val="bg1"/>
                </a:solidFill>
                <a:latin typeface="+mj-lt"/>
              </a:defRPr>
            </a:lvl2pPr>
            <a:lvl3pPr marL="0">
              <a:defRPr sz="1600" i="1">
                <a:solidFill>
                  <a:schemeClr val="bg1"/>
                </a:solidFill>
                <a:latin typeface="+mj-lt"/>
              </a:defRPr>
            </a:lvl3pPr>
            <a:lvl4pPr marL="0">
              <a:defRPr sz="1600" i="1">
                <a:solidFill>
                  <a:schemeClr val="bg1"/>
                </a:solidFill>
                <a:latin typeface="+mj-lt"/>
              </a:defRPr>
            </a:lvl4pPr>
            <a:lvl5pPr marL="0">
              <a:defRPr sz="1600" i="1">
                <a:solidFill>
                  <a:schemeClr val="bg1"/>
                </a:solidFill>
                <a:latin typeface="+mj-lt"/>
              </a:defRPr>
            </a:lvl5pPr>
            <a:lvl6pPr marL="0">
              <a:defRPr sz="1600" i="1">
                <a:solidFill>
                  <a:schemeClr val="bg1"/>
                </a:solidFill>
                <a:latin typeface="+mj-lt"/>
              </a:defRPr>
            </a:lvl6pPr>
            <a:lvl7pPr marL="0">
              <a:defRPr sz="1600" i="1">
                <a:solidFill>
                  <a:schemeClr val="bg1"/>
                </a:solidFill>
                <a:latin typeface="+mj-lt"/>
              </a:defRPr>
            </a:lvl7pPr>
            <a:lvl8pPr marL="0">
              <a:defRPr sz="1600" i="1">
                <a:solidFill>
                  <a:schemeClr val="bg1"/>
                </a:solidFill>
                <a:latin typeface="+mj-lt"/>
              </a:defRPr>
            </a:lvl8pPr>
            <a:lvl9pPr marL="0">
              <a:defRPr sz="1600" i="1">
                <a:solidFill>
                  <a:schemeClr val="bg1"/>
                </a:solidFill>
                <a:latin typeface="+mj-lt"/>
              </a:defRPr>
            </a:lvl9pPr>
          </a:lstStyle>
          <a:p>
            <a:r>
              <a:rPr lang="en-US" dirty="0"/>
              <a:t>dd Month 2021</a:t>
            </a:r>
            <a:endParaRPr lang="en-GB" dirty="0"/>
          </a:p>
        </p:txBody>
      </p:sp>
      <p:sp>
        <p:nvSpPr>
          <p:cNvPr id="3" name="Subtitle 1">
            <a:extLst>
              <a:ext uri="{FF2B5EF4-FFF2-40B4-BE49-F238E27FC236}">
                <a16:creationId xmlns:a16="http://schemas.microsoft.com/office/drawing/2014/main" id="{EDF4FC6D-F465-4529-BC7B-E5213D4E361C}"/>
              </a:ext>
            </a:extLst>
          </p:cNvPr>
          <p:cNvSpPr>
            <a:spLocks noGrp="1"/>
          </p:cNvSpPr>
          <p:nvPr>
            <p:ph type="subTitle" idx="1"/>
          </p:nvPr>
        </p:nvSpPr>
        <p:spPr>
          <a:xfrm>
            <a:off x="719138" y="3604929"/>
            <a:ext cx="6197600" cy="864000"/>
          </a:xfrm>
        </p:spPr>
        <p:txBody>
          <a:bodyPr>
            <a:noAutofit/>
          </a:bodyPr>
          <a:lstStyle>
            <a:lvl1pPr marL="0" indent="0" algn="l">
              <a:lnSpc>
                <a:spcPct val="100000"/>
              </a:lnSpc>
              <a:spcBef>
                <a:spcPts val="600"/>
              </a:spcBef>
              <a:buNone/>
              <a:defRPr sz="1800">
                <a:solidFill>
                  <a:schemeClr val="bg1"/>
                </a:solidFill>
                <a:latin typeface="+mn-lt"/>
              </a:defRPr>
            </a:lvl1pPr>
            <a:lvl2pPr marL="0" indent="0" algn="l">
              <a:lnSpc>
                <a:spcPct val="100000"/>
              </a:lnSpc>
              <a:spcBef>
                <a:spcPts val="600"/>
              </a:spcBef>
              <a:buNone/>
              <a:defRPr sz="1800">
                <a:solidFill>
                  <a:schemeClr val="bg1"/>
                </a:solidFill>
                <a:latin typeface="+mn-lt"/>
              </a:defRPr>
            </a:lvl2pPr>
            <a:lvl3pPr marL="0" indent="0" algn="l">
              <a:lnSpc>
                <a:spcPct val="100000"/>
              </a:lnSpc>
              <a:spcBef>
                <a:spcPts val="600"/>
              </a:spcBef>
              <a:buNone/>
              <a:defRPr sz="1800">
                <a:solidFill>
                  <a:schemeClr val="bg1"/>
                </a:solidFill>
                <a:latin typeface="+mn-lt"/>
              </a:defRPr>
            </a:lvl3pPr>
            <a:lvl4pPr marL="0" indent="0" algn="l">
              <a:lnSpc>
                <a:spcPct val="100000"/>
              </a:lnSpc>
              <a:spcBef>
                <a:spcPts val="600"/>
              </a:spcBef>
              <a:buNone/>
              <a:defRPr sz="1600">
                <a:solidFill>
                  <a:schemeClr val="tx1"/>
                </a:solidFill>
                <a:latin typeface="+mn-lt"/>
              </a:defRPr>
            </a:lvl4pPr>
            <a:lvl5pPr marL="0" indent="0" algn="l">
              <a:lnSpc>
                <a:spcPct val="100000"/>
              </a:lnSpc>
              <a:spcBef>
                <a:spcPts val="600"/>
              </a:spcBef>
              <a:buNone/>
              <a:defRPr sz="1600">
                <a:solidFill>
                  <a:schemeClr val="tx2"/>
                </a:solidFill>
                <a:latin typeface="+mn-lt"/>
              </a:defRPr>
            </a:lvl5pPr>
            <a:lvl6pPr marL="0" indent="0" algn="l">
              <a:lnSpc>
                <a:spcPct val="100000"/>
              </a:lnSpc>
              <a:spcBef>
                <a:spcPts val="600"/>
              </a:spcBef>
              <a:buNone/>
              <a:defRPr sz="1600">
                <a:solidFill>
                  <a:schemeClr val="bg1"/>
                </a:solidFill>
                <a:latin typeface="+mn-lt"/>
              </a:defRPr>
            </a:lvl6pPr>
            <a:lvl7pPr marL="0" indent="0" algn="l">
              <a:lnSpc>
                <a:spcPct val="100000"/>
              </a:lnSpc>
              <a:spcBef>
                <a:spcPts val="600"/>
              </a:spcBef>
              <a:buNone/>
              <a:defRPr sz="2400">
                <a:solidFill>
                  <a:schemeClr val="tx1"/>
                </a:solidFill>
                <a:latin typeface="+mn-lt"/>
              </a:defRPr>
            </a:lvl7pPr>
            <a:lvl8pPr marL="0" indent="0" algn="l">
              <a:lnSpc>
                <a:spcPct val="100000"/>
              </a:lnSpc>
              <a:spcBef>
                <a:spcPts val="600"/>
              </a:spcBef>
              <a:buNone/>
              <a:defRPr sz="2400">
                <a:solidFill>
                  <a:schemeClr val="tx2"/>
                </a:solidFill>
                <a:latin typeface="+mn-lt"/>
              </a:defRPr>
            </a:lvl8pPr>
            <a:lvl9pPr marL="0" indent="0" algn="l">
              <a:lnSpc>
                <a:spcPct val="100000"/>
              </a:lnSpc>
              <a:spcBef>
                <a:spcPts val="600"/>
              </a:spcBef>
              <a:buNone/>
              <a:defRPr sz="2400">
                <a:solidFill>
                  <a:schemeClr val="bg1"/>
                </a:solidFill>
                <a:latin typeface="+mn-lt"/>
              </a:defRPr>
            </a:lvl9pPr>
          </a:lstStyle>
          <a:p>
            <a:pPr lvl="0"/>
            <a:r>
              <a:rPr lang="en-US"/>
              <a:t>Click to edit Master subtitle style</a:t>
            </a:r>
            <a:endParaRPr lang="en-US" dirty="0"/>
          </a:p>
        </p:txBody>
      </p:sp>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719138" y="1908351"/>
            <a:ext cx="6197600" cy="1512000"/>
          </a:xfrm>
        </p:spPr>
        <p:txBody>
          <a:bodyPr lIns="0" rIns="0" anchor="b" anchorCtr="0">
            <a:noAutofit/>
          </a:bodyPr>
          <a:lstStyle>
            <a:lvl1pPr algn="l">
              <a:defRPr sz="4400">
                <a:solidFill>
                  <a:schemeClr val="bg1"/>
                </a:solidFill>
              </a:defRPr>
            </a:lvl1pPr>
            <a:lvl2pPr>
              <a:defRPr sz="4400"/>
            </a:lvl2pPr>
            <a:lvl3pPr>
              <a:defRPr sz="4400">
                <a:solidFill>
                  <a:schemeClr val="bg1"/>
                </a:solidFill>
              </a:defRPr>
            </a:lvl3pPr>
            <a:lvl4pPr>
              <a:defRPr sz="3600">
                <a:solidFill>
                  <a:schemeClr val="tx1"/>
                </a:solidFill>
              </a:defRPr>
            </a:lvl4pPr>
            <a:lvl5pPr>
              <a:defRPr sz="3600">
                <a:solidFill>
                  <a:schemeClr val="tx2"/>
                </a:solidFill>
              </a:defRPr>
            </a:lvl5pPr>
            <a:lvl6pPr>
              <a:defRPr sz="3600">
                <a:solidFill>
                  <a:schemeClr val="bg1"/>
                </a:solidFill>
              </a:defRPr>
            </a:lvl6pPr>
            <a:lvl7pPr>
              <a:defRPr sz="4000"/>
            </a:lvl7pPr>
            <a:lvl8pPr>
              <a:defRPr sz="4000"/>
            </a:lvl8pPr>
            <a:lvl9pPr>
              <a:defRPr sz="4000" i="0">
                <a:solidFill>
                  <a:schemeClr val="bg1"/>
                </a:solidFill>
              </a:defRPr>
            </a:lvl9pPr>
          </a:lstStyle>
          <a:p>
            <a:pPr lvl="0"/>
            <a:r>
              <a:rPr lang="en-US"/>
              <a:t>Click to edit Master title style</a:t>
            </a:r>
            <a:endParaRPr lang="en-GB" dirty="0"/>
          </a:p>
        </p:txBody>
      </p:sp>
      <p:sp>
        <p:nvSpPr>
          <p:cNvPr id="9" name="Logo Text Fill">
            <a:extLst>
              <a:ext uri="{FF2B5EF4-FFF2-40B4-BE49-F238E27FC236}">
                <a16:creationId xmlns:a16="http://schemas.microsoft.com/office/drawing/2014/main" id="{5885A642-AA04-4403-8AB3-F62F31CB2D44}"/>
              </a:ext>
            </a:extLst>
          </p:cNvPr>
          <p:cNvSpPr>
            <a:spLocks noGrp="1"/>
          </p:cNvSpPr>
          <p:nvPr>
            <p:ph type="body" sz="quarter" idx="12" hasCustomPrompt="1"/>
          </p:nvPr>
        </p:nvSpPr>
        <p:spPr>
          <a:xfrm>
            <a:off x="719137" y="719139"/>
            <a:ext cx="1821600" cy="320400"/>
          </a:xfrm>
          <a:blipFill>
            <a:blip r:embed="rId2"/>
            <a:stretch>
              <a:fillRect/>
            </a:stretch>
          </a:blipFill>
        </p:spPr>
        <p:txBody>
          <a:bodyPr/>
          <a:lstStyle>
            <a:lvl1pPr>
              <a:defRPr/>
            </a:lvl1pPr>
          </a:lstStyle>
          <a:p>
            <a:pPr lvl="0"/>
            <a:r>
              <a:rPr lang="en-US" dirty="0"/>
              <a:t> </a:t>
            </a:r>
            <a:endParaRPr lang="en-GB" dirty="0"/>
          </a:p>
        </p:txBody>
      </p:sp>
    </p:spTree>
    <p:extLst>
      <p:ext uri="{BB962C8B-B14F-4D97-AF65-F5344CB8AC3E}">
        <p14:creationId xmlns:p14="http://schemas.microsoft.com/office/powerpoint/2010/main" val="279500076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Large Message">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5C90AD-ACAB-4330-BD3E-4036A2058A52}"/>
              </a:ext>
            </a:extLst>
          </p:cNvPr>
          <p:cNvSpPr>
            <a:spLocks noGrp="1"/>
          </p:cNvSpPr>
          <p:nvPr>
            <p:ph type="title"/>
          </p:nvPr>
        </p:nvSpPr>
        <p:spPr>
          <a:xfrm>
            <a:off x="719137" y="1260000"/>
            <a:ext cx="10752138" cy="4877275"/>
          </a:xfrm>
        </p:spPr>
        <p:txBody>
          <a:bodyPr/>
          <a:lstStyle>
            <a:lvl1pPr>
              <a:defRPr sz="7200"/>
            </a:lvl1pPr>
            <a:lvl2pPr>
              <a:defRPr sz="7200"/>
            </a:lvl2pPr>
            <a:lvl3pPr>
              <a:defRPr sz="13800"/>
            </a:lvl3pPr>
            <a:lvl4pPr>
              <a:defRPr sz="13800"/>
            </a:lvl4pPr>
            <a:lvl5pPr>
              <a:defRPr sz="9600"/>
            </a:lvl5pPr>
            <a:lvl6pPr>
              <a:defRPr sz="9600"/>
            </a:lvl6pPr>
            <a:lvl7pPr>
              <a:defRPr sz="11500"/>
            </a:lvl7pPr>
            <a:lvl8pPr>
              <a:defRPr sz="11500"/>
            </a:lvl8pPr>
            <a:lvl9pPr>
              <a:defRPr sz="9600"/>
            </a:lvl9pPr>
          </a:lstStyle>
          <a:p>
            <a:pPr lvl="0"/>
            <a:r>
              <a:rPr lang="en-US"/>
              <a:t>Click to edit Master title style</a:t>
            </a:r>
            <a:endParaRPr lang="en-GB" dirty="0"/>
          </a:p>
        </p:txBody>
      </p:sp>
      <p:sp>
        <p:nvSpPr>
          <p:cNvPr id="3" name="Date Placeholder 2">
            <a:extLst>
              <a:ext uri="{FF2B5EF4-FFF2-40B4-BE49-F238E27FC236}">
                <a16:creationId xmlns:a16="http://schemas.microsoft.com/office/drawing/2014/main" id="{9D630D50-65BD-46EF-9EC1-1626560F227F}"/>
              </a:ext>
            </a:extLst>
          </p:cNvPr>
          <p:cNvSpPr>
            <a:spLocks noGrp="1"/>
          </p:cNvSpPr>
          <p:nvPr>
            <p:ph type="dt" sz="half" idx="10"/>
          </p:nvPr>
        </p:nvSpPr>
        <p:spPr/>
        <p:txBody>
          <a:bodyPr/>
          <a:lstStyle/>
          <a:p>
            <a:r>
              <a:rPr lang="en-US" noProof="0"/>
              <a:t>dd Month 2021</a:t>
            </a:r>
            <a:endParaRPr lang="en-GB" noProof="0" dirty="0"/>
          </a:p>
        </p:txBody>
      </p:sp>
      <p:sp>
        <p:nvSpPr>
          <p:cNvPr id="4" name="Footer Placeholder 3">
            <a:extLst>
              <a:ext uri="{FF2B5EF4-FFF2-40B4-BE49-F238E27FC236}">
                <a16:creationId xmlns:a16="http://schemas.microsoft.com/office/drawing/2014/main" id="{C279FB16-6C48-410F-9726-482986FC7A89}"/>
              </a:ext>
            </a:extLst>
          </p:cNvPr>
          <p:cNvSpPr>
            <a:spLocks noGrp="1"/>
          </p:cNvSpPr>
          <p:nvPr>
            <p:ph type="ftr" sz="quarter" idx="11"/>
          </p:nvPr>
        </p:nvSpPr>
        <p:spPr/>
        <p:txBody>
          <a:bodyPr/>
          <a:lstStyle/>
          <a:p>
            <a:r>
              <a:rPr lang="en-GB" noProof="0"/>
              <a:t>Update Footer to add the Document title</a:t>
            </a:r>
            <a:endParaRPr lang="en-GB" noProof="0" dirty="0"/>
          </a:p>
        </p:txBody>
      </p:sp>
    </p:spTree>
    <p:extLst>
      <p:ext uri="{BB962C8B-B14F-4D97-AF65-F5344CB8AC3E}">
        <p14:creationId xmlns:p14="http://schemas.microsoft.com/office/powerpoint/2010/main" val="77928817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One firm. Your firm.">
    <p:bg>
      <p:bgPr>
        <a:solidFill>
          <a:schemeClr val="accent3"/>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D630D50-65BD-46EF-9EC1-1626560F227F}"/>
              </a:ext>
            </a:extLst>
          </p:cNvPr>
          <p:cNvSpPr>
            <a:spLocks noGrp="1"/>
          </p:cNvSpPr>
          <p:nvPr>
            <p:ph type="dt" sz="half" idx="10"/>
          </p:nvPr>
        </p:nvSpPr>
        <p:spPr/>
        <p:txBody>
          <a:bodyPr/>
          <a:lstStyle/>
          <a:p>
            <a:r>
              <a:rPr lang="en-US" noProof="0"/>
              <a:t>dd Month 2021</a:t>
            </a:r>
            <a:endParaRPr lang="en-GB" noProof="0" dirty="0"/>
          </a:p>
        </p:txBody>
      </p:sp>
      <p:sp>
        <p:nvSpPr>
          <p:cNvPr id="4" name="Footer Placeholder 3">
            <a:extLst>
              <a:ext uri="{FF2B5EF4-FFF2-40B4-BE49-F238E27FC236}">
                <a16:creationId xmlns:a16="http://schemas.microsoft.com/office/drawing/2014/main" id="{C279FB16-6C48-410F-9726-482986FC7A89}"/>
              </a:ext>
            </a:extLst>
          </p:cNvPr>
          <p:cNvSpPr>
            <a:spLocks noGrp="1"/>
          </p:cNvSpPr>
          <p:nvPr>
            <p:ph type="ftr" sz="quarter" idx="11"/>
          </p:nvPr>
        </p:nvSpPr>
        <p:spPr/>
        <p:txBody>
          <a:bodyPr/>
          <a:lstStyle/>
          <a:p>
            <a:r>
              <a:rPr lang="en-GB" noProof="0"/>
              <a:t>Update Footer to add the Document title</a:t>
            </a:r>
            <a:endParaRPr lang="en-GB" noProof="0" dirty="0"/>
          </a:p>
        </p:txBody>
      </p:sp>
      <p:grpSp>
        <p:nvGrpSpPr>
          <p:cNvPr id="6" name="Group 5">
            <a:extLst>
              <a:ext uri="{FF2B5EF4-FFF2-40B4-BE49-F238E27FC236}">
                <a16:creationId xmlns:a16="http://schemas.microsoft.com/office/drawing/2014/main" id="{09EDC675-7209-4569-9F65-274519B2E492}"/>
              </a:ext>
            </a:extLst>
          </p:cNvPr>
          <p:cNvGrpSpPr/>
          <p:nvPr userDrawn="1"/>
        </p:nvGrpSpPr>
        <p:grpSpPr>
          <a:xfrm>
            <a:off x="709879" y="718571"/>
            <a:ext cx="7409594" cy="1432213"/>
            <a:chOff x="709879" y="718571"/>
            <a:chExt cx="7409594" cy="1432213"/>
          </a:xfrm>
        </p:grpSpPr>
        <p:sp>
          <p:nvSpPr>
            <p:cNvPr id="8" name="Freeform: Shape 7">
              <a:extLst>
                <a:ext uri="{FF2B5EF4-FFF2-40B4-BE49-F238E27FC236}">
                  <a16:creationId xmlns:a16="http://schemas.microsoft.com/office/drawing/2014/main" id="{377A88E0-DF56-4A5E-A11B-8EE905C14401}"/>
                </a:ext>
              </a:extLst>
            </p:cNvPr>
            <p:cNvSpPr/>
            <p:nvPr/>
          </p:nvSpPr>
          <p:spPr>
            <a:xfrm>
              <a:off x="709879" y="832169"/>
              <a:ext cx="1166783" cy="1315015"/>
            </a:xfrm>
            <a:custGeom>
              <a:avLst/>
              <a:gdLst>
                <a:gd name="connsiteX0" fmla="*/ 955513 w 1166783"/>
                <a:gd name="connsiteY0" fmla="*/ 680926 h 1315015"/>
                <a:gd name="connsiteX1" fmla="*/ 573857 w 1166783"/>
                <a:gd name="connsiteY1" fmla="*/ 88432 h 1315015"/>
                <a:gd name="connsiteX2" fmla="*/ 207078 w 1166783"/>
                <a:gd name="connsiteY2" fmla="*/ 644240 h 1315015"/>
                <a:gd name="connsiteX3" fmla="*/ 586748 w 1166783"/>
                <a:gd name="connsiteY3" fmla="*/ 1224977 h 1315015"/>
                <a:gd name="connsiteX4" fmla="*/ 955087 w 1166783"/>
                <a:gd name="connsiteY4" fmla="*/ 680359 h 1315015"/>
                <a:gd name="connsiteX5" fmla="*/ -2593 w 1166783"/>
                <a:gd name="connsiteY5" fmla="*/ 674835 h 1315015"/>
                <a:gd name="connsiteX6" fmla="*/ 590010 w 1166783"/>
                <a:gd name="connsiteY6" fmla="*/ -237 h 1315015"/>
                <a:gd name="connsiteX7" fmla="*/ 1164191 w 1166783"/>
                <a:gd name="connsiteY7" fmla="*/ 649056 h 1315015"/>
                <a:gd name="connsiteX8" fmla="*/ 571592 w 1166783"/>
                <a:gd name="connsiteY8" fmla="*/ 1314779 h 1315015"/>
                <a:gd name="connsiteX9" fmla="*/ -2593 w 1166783"/>
                <a:gd name="connsiteY9" fmla="*/ 674693 h 1315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6783" h="1315015">
                  <a:moveTo>
                    <a:pt x="955513" y="680926"/>
                  </a:moveTo>
                  <a:cubicBezTo>
                    <a:pt x="955513" y="387441"/>
                    <a:pt x="872922" y="88432"/>
                    <a:pt x="573857" y="88432"/>
                  </a:cubicBezTo>
                  <a:cubicBezTo>
                    <a:pt x="320697" y="88432"/>
                    <a:pt x="207078" y="251605"/>
                    <a:pt x="207078" y="644240"/>
                  </a:cubicBezTo>
                  <a:cubicBezTo>
                    <a:pt x="207078" y="937583"/>
                    <a:pt x="289527" y="1224977"/>
                    <a:pt x="586748" y="1224977"/>
                  </a:cubicBezTo>
                  <a:cubicBezTo>
                    <a:pt x="839912" y="1224977"/>
                    <a:pt x="955087" y="1072853"/>
                    <a:pt x="955087" y="680359"/>
                  </a:cubicBezTo>
                  <a:moveTo>
                    <a:pt x="-2593" y="674835"/>
                  </a:moveTo>
                  <a:cubicBezTo>
                    <a:pt x="-2593" y="199763"/>
                    <a:pt x="285421" y="-237"/>
                    <a:pt x="590010" y="-237"/>
                  </a:cubicBezTo>
                  <a:cubicBezTo>
                    <a:pt x="911030" y="-237"/>
                    <a:pt x="1164191" y="229084"/>
                    <a:pt x="1164191" y="649056"/>
                  </a:cubicBezTo>
                  <a:cubicBezTo>
                    <a:pt x="1164191" y="1124127"/>
                    <a:pt x="876180" y="1314779"/>
                    <a:pt x="571592" y="1314779"/>
                  </a:cubicBezTo>
                  <a:cubicBezTo>
                    <a:pt x="248728" y="1314779"/>
                    <a:pt x="-2593" y="1094665"/>
                    <a:pt x="-2593" y="674693"/>
                  </a:cubicBezTo>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9" name="Freeform: Shape 8">
              <a:extLst>
                <a:ext uri="{FF2B5EF4-FFF2-40B4-BE49-F238E27FC236}">
                  <a16:creationId xmlns:a16="http://schemas.microsoft.com/office/drawing/2014/main" id="{0472ACF6-2B20-4903-91CE-C924E4F04259}"/>
                </a:ext>
              </a:extLst>
            </p:cNvPr>
            <p:cNvSpPr/>
            <p:nvPr/>
          </p:nvSpPr>
          <p:spPr>
            <a:xfrm>
              <a:off x="1956373" y="1164605"/>
              <a:ext cx="1025401" cy="960624"/>
            </a:xfrm>
            <a:custGeom>
              <a:avLst/>
              <a:gdLst>
                <a:gd name="connsiteX0" fmla="*/ -2593 w 1025401"/>
                <a:gd name="connsiteY0" fmla="*/ 905997 h 960624"/>
                <a:gd name="connsiteX1" fmla="*/ 72634 w 1025401"/>
                <a:gd name="connsiteY1" fmla="*/ 885883 h 960624"/>
                <a:gd name="connsiteX2" fmla="*/ 122077 w 1025401"/>
                <a:gd name="connsiteY2" fmla="*/ 790416 h 960624"/>
                <a:gd name="connsiteX3" fmla="*/ 122077 w 1025401"/>
                <a:gd name="connsiteY3" fmla="*/ 221860 h 960624"/>
                <a:gd name="connsiteX4" fmla="*/ 67111 w 1025401"/>
                <a:gd name="connsiteY4" fmla="*/ 122709 h 960624"/>
                <a:gd name="connsiteX5" fmla="*/ -2593 w 1025401"/>
                <a:gd name="connsiteY5" fmla="*/ 87865 h 960624"/>
                <a:gd name="connsiteX6" fmla="*/ -2593 w 1025401"/>
                <a:gd name="connsiteY6" fmla="*/ 40132 h 960624"/>
                <a:gd name="connsiteX7" fmla="*/ 287265 w 1025401"/>
                <a:gd name="connsiteY7" fmla="*/ 1605 h 960624"/>
                <a:gd name="connsiteX8" fmla="*/ 305537 w 1025401"/>
                <a:gd name="connsiteY8" fmla="*/ 12653 h 960624"/>
                <a:gd name="connsiteX9" fmla="*/ 296472 w 1025401"/>
                <a:gd name="connsiteY9" fmla="*/ 115344 h 960624"/>
                <a:gd name="connsiteX10" fmla="*/ 303697 w 1025401"/>
                <a:gd name="connsiteY10" fmla="*/ 115344 h 960624"/>
                <a:gd name="connsiteX11" fmla="*/ 650502 w 1025401"/>
                <a:gd name="connsiteY11" fmla="*/ -237 h 960624"/>
                <a:gd name="connsiteX12" fmla="*/ 899983 w 1025401"/>
                <a:gd name="connsiteY12" fmla="*/ 243673 h 960624"/>
                <a:gd name="connsiteX13" fmla="*/ 899983 w 1025401"/>
                <a:gd name="connsiteY13" fmla="*/ 789849 h 960624"/>
                <a:gd name="connsiteX14" fmla="*/ 949425 w 1025401"/>
                <a:gd name="connsiteY14" fmla="*/ 885317 h 960624"/>
                <a:gd name="connsiteX15" fmla="*/ 1022809 w 1025401"/>
                <a:gd name="connsiteY15" fmla="*/ 905430 h 960624"/>
                <a:gd name="connsiteX16" fmla="*/ 1022809 w 1025401"/>
                <a:gd name="connsiteY16" fmla="*/ 960388 h 960624"/>
                <a:gd name="connsiteX17" fmla="*/ 593551 w 1025401"/>
                <a:gd name="connsiteY17" fmla="*/ 960388 h 960624"/>
                <a:gd name="connsiteX18" fmla="*/ 593551 w 1025401"/>
                <a:gd name="connsiteY18" fmla="*/ 905997 h 960624"/>
                <a:gd name="connsiteX19" fmla="*/ 668778 w 1025401"/>
                <a:gd name="connsiteY19" fmla="*/ 885883 h 960624"/>
                <a:gd name="connsiteX20" fmla="*/ 716519 w 1025401"/>
                <a:gd name="connsiteY20" fmla="*/ 790416 h 960624"/>
                <a:gd name="connsiteX21" fmla="*/ 716519 w 1025401"/>
                <a:gd name="connsiteY21" fmla="*/ 294665 h 960624"/>
                <a:gd name="connsiteX22" fmla="*/ 556858 w 1025401"/>
                <a:gd name="connsiteY22" fmla="*/ 120443 h 960624"/>
                <a:gd name="connsiteX23" fmla="*/ 305537 w 1025401"/>
                <a:gd name="connsiteY23" fmla="*/ 177100 h 960624"/>
                <a:gd name="connsiteX24" fmla="*/ 305537 w 1025401"/>
                <a:gd name="connsiteY24" fmla="*/ 789849 h 960624"/>
                <a:gd name="connsiteX25" fmla="*/ 353281 w 1025401"/>
                <a:gd name="connsiteY25" fmla="*/ 885317 h 960624"/>
                <a:gd name="connsiteX26" fmla="*/ 428508 w 1025401"/>
                <a:gd name="connsiteY26" fmla="*/ 905430 h 960624"/>
                <a:gd name="connsiteX27" fmla="*/ 428508 w 1025401"/>
                <a:gd name="connsiteY27" fmla="*/ 960388 h 960624"/>
                <a:gd name="connsiteX28" fmla="*/ -2593 w 1025401"/>
                <a:gd name="connsiteY28" fmla="*/ 960388 h 960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25401" h="960624">
                  <a:moveTo>
                    <a:pt x="-2593" y="905997"/>
                  </a:moveTo>
                  <a:lnTo>
                    <a:pt x="72634" y="885883"/>
                  </a:lnTo>
                  <a:cubicBezTo>
                    <a:pt x="109328" y="876677"/>
                    <a:pt x="122077" y="861946"/>
                    <a:pt x="122077" y="790416"/>
                  </a:cubicBezTo>
                  <a:lnTo>
                    <a:pt x="122077" y="221860"/>
                  </a:lnTo>
                  <a:cubicBezTo>
                    <a:pt x="122077" y="148489"/>
                    <a:pt x="113011" y="144806"/>
                    <a:pt x="67111" y="122709"/>
                  </a:cubicBezTo>
                  <a:lnTo>
                    <a:pt x="-2593" y="87865"/>
                  </a:lnTo>
                  <a:lnTo>
                    <a:pt x="-2593" y="40132"/>
                  </a:lnTo>
                  <a:lnTo>
                    <a:pt x="287265" y="1605"/>
                  </a:lnTo>
                  <a:lnTo>
                    <a:pt x="305537" y="12653"/>
                  </a:lnTo>
                  <a:lnTo>
                    <a:pt x="296472" y="115344"/>
                  </a:lnTo>
                  <a:lnTo>
                    <a:pt x="303697" y="115344"/>
                  </a:lnTo>
                  <a:cubicBezTo>
                    <a:pt x="395498" y="56704"/>
                    <a:pt x="533058" y="-237"/>
                    <a:pt x="650502" y="-237"/>
                  </a:cubicBezTo>
                  <a:cubicBezTo>
                    <a:pt x="835806" y="-237"/>
                    <a:pt x="899983" y="78659"/>
                    <a:pt x="899983" y="243673"/>
                  </a:cubicBezTo>
                  <a:lnTo>
                    <a:pt x="899983" y="789849"/>
                  </a:lnTo>
                  <a:cubicBezTo>
                    <a:pt x="899983" y="860671"/>
                    <a:pt x="914150" y="876110"/>
                    <a:pt x="949425" y="885317"/>
                  </a:cubicBezTo>
                  <a:lnTo>
                    <a:pt x="1022809" y="905430"/>
                  </a:lnTo>
                  <a:lnTo>
                    <a:pt x="1022809" y="960388"/>
                  </a:lnTo>
                  <a:lnTo>
                    <a:pt x="593551" y="960388"/>
                  </a:lnTo>
                  <a:lnTo>
                    <a:pt x="593551" y="905997"/>
                  </a:lnTo>
                  <a:lnTo>
                    <a:pt x="668778" y="885883"/>
                  </a:lnTo>
                  <a:cubicBezTo>
                    <a:pt x="705468" y="876677"/>
                    <a:pt x="716519" y="867470"/>
                    <a:pt x="716519" y="790416"/>
                  </a:cubicBezTo>
                  <a:lnTo>
                    <a:pt x="716519" y="294665"/>
                  </a:lnTo>
                  <a:cubicBezTo>
                    <a:pt x="716519" y="166336"/>
                    <a:pt x="674018" y="120443"/>
                    <a:pt x="556858" y="120443"/>
                  </a:cubicBezTo>
                  <a:cubicBezTo>
                    <a:pt x="467042" y="120443"/>
                    <a:pt x="358521" y="157129"/>
                    <a:pt x="305537" y="177100"/>
                  </a:cubicBezTo>
                  <a:lnTo>
                    <a:pt x="305537" y="789849"/>
                  </a:lnTo>
                  <a:cubicBezTo>
                    <a:pt x="305537" y="866903"/>
                    <a:pt x="316588" y="876110"/>
                    <a:pt x="353281" y="885317"/>
                  </a:cubicBezTo>
                  <a:lnTo>
                    <a:pt x="428508" y="905430"/>
                  </a:lnTo>
                  <a:lnTo>
                    <a:pt x="428508" y="960388"/>
                  </a:lnTo>
                  <a:lnTo>
                    <a:pt x="-2593" y="960388"/>
                  </a:lnTo>
                  <a:close/>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0" name="Freeform: Shape 9">
              <a:extLst>
                <a:ext uri="{FF2B5EF4-FFF2-40B4-BE49-F238E27FC236}">
                  <a16:creationId xmlns:a16="http://schemas.microsoft.com/office/drawing/2014/main" id="{0E7D2CBE-BF42-4862-8D62-893E7C002CF7}"/>
                </a:ext>
              </a:extLst>
            </p:cNvPr>
            <p:cNvSpPr/>
            <p:nvPr/>
          </p:nvSpPr>
          <p:spPr>
            <a:xfrm>
              <a:off x="3030141" y="1166081"/>
              <a:ext cx="827628" cy="984703"/>
            </a:xfrm>
            <a:custGeom>
              <a:avLst/>
              <a:gdLst>
                <a:gd name="connsiteX0" fmla="*/ 194326 w 827628"/>
                <a:gd name="connsiteY0" fmla="*/ 390415 h 984703"/>
                <a:gd name="connsiteX1" fmla="*/ 619332 w 827628"/>
                <a:gd name="connsiteY1" fmla="*/ 368461 h 984703"/>
                <a:gd name="connsiteX2" fmla="*/ 443097 w 827628"/>
                <a:gd name="connsiteY2" fmla="*/ 76817 h 984703"/>
                <a:gd name="connsiteX3" fmla="*/ 193620 w 827628"/>
                <a:gd name="connsiteY3" fmla="*/ 390415 h 984703"/>
                <a:gd name="connsiteX4" fmla="*/ -2593 w 827628"/>
                <a:gd name="connsiteY4" fmla="*/ 485883 h 984703"/>
                <a:gd name="connsiteX5" fmla="*/ 450748 w 827628"/>
                <a:gd name="connsiteY5" fmla="*/ -237 h 984703"/>
                <a:gd name="connsiteX6" fmla="*/ 825036 w 827628"/>
                <a:gd name="connsiteY6" fmla="*/ 467186 h 984703"/>
                <a:gd name="connsiteX7" fmla="*/ 192486 w 827628"/>
                <a:gd name="connsiteY7" fmla="*/ 467186 h 984703"/>
                <a:gd name="connsiteX8" fmla="*/ 511808 w 827628"/>
                <a:gd name="connsiteY8" fmla="*/ 867045 h 984703"/>
                <a:gd name="connsiteX9" fmla="*/ 807044 w 827628"/>
                <a:gd name="connsiteY9" fmla="*/ 789991 h 984703"/>
                <a:gd name="connsiteX10" fmla="*/ 807044 w 827628"/>
                <a:gd name="connsiteY10" fmla="*/ 863362 h 984703"/>
                <a:gd name="connsiteX11" fmla="*/ 451173 w 827628"/>
                <a:gd name="connsiteY11" fmla="*/ 984467 h 984703"/>
                <a:gd name="connsiteX12" fmla="*/ -2167 w 827628"/>
                <a:gd name="connsiteY12" fmla="*/ 485599 h 984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7628" h="984703">
                  <a:moveTo>
                    <a:pt x="194326" y="390415"/>
                  </a:moveTo>
                  <a:lnTo>
                    <a:pt x="619332" y="368461"/>
                  </a:lnTo>
                  <a:cubicBezTo>
                    <a:pt x="619332" y="157554"/>
                    <a:pt x="584482" y="76817"/>
                    <a:pt x="443097" y="76817"/>
                  </a:cubicBezTo>
                  <a:cubicBezTo>
                    <a:pt x="309221" y="76817"/>
                    <a:pt x="208354" y="173984"/>
                    <a:pt x="193620" y="390415"/>
                  </a:cubicBezTo>
                  <a:moveTo>
                    <a:pt x="-2593" y="485883"/>
                  </a:moveTo>
                  <a:cubicBezTo>
                    <a:pt x="-2593" y="192398"/>
                    <a:pt x="208354" y="-237"/>
                    <a:pt x="450748" y="-237"/>
                  </a:cubicBezTo>
                  <a:cubicBezTo>
                    <a:pt x="683793" y="-237"/>
                    <a:pt x="825036" y="126392"/>
                    <a:pt x="825036" y="467186"/>
                  </a:cubicBezTo>
                  <a:lnTo>
                    <a:pt x="192486" y="467186"/>
                  </a:lnTo>
                  <a:cubicBezTo>
                    <a:pt x="198009" y="746081"/>
                    <a:pt x="324664" y="867045"/>
                    <a:pt x="511808" y="867045"/>
                  </a:cubicBezTo>
                  <a:cubicBezTo>
                    <a:pt x="653477" y="867045"/>
                    <a:pt x="737344" y="822994"/>
                    <a:pt x="807044" y="789991"/>
                  </a:cubicBezTo>
                  <a:lnTo>
                    <a:pt x="807044" y="863362"/>
                  </a:lnTo>
                  <a:cubicBezTo>
                    <a:pt x="705043" y="941775"/>
                    <a:pt x="579952" y="984339"/>
                    <a:pt x="451173" y="984467"/>
                  </a:cubicBezTo>
                  <a:cubicBezTo>
                    <a:pt x="146727" y="984467"/>
                    <a:pt x="-2167" y="782625"/>
                    <a:pt x="-2167" y="485599"/>
                  </a:cubicBezTo>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1" name="Freeform: Shape 10">
              <a:extLst>
                <a:ext uri="{FF2B5EF4-FFF2-40B4-BE49-F238E27FC236}">
                  <a16:creationId xmlns:a16="http://schemas.microsoft.com/office/drawing/2014/main" id="{98277667-578C-452F-BEDC-F79A15656C7A}"/>
                </a:ext>
              </a:extLst>
            </p:cNvPr>
            <p:cNvSpPr/>
            <p:nvPr/>
          </p:nvSpPr>
          <p:spPr>
            <a:xfrm>
              <a:off x="4373105" y="718571"/>
              <a:ext cx="982759" cy="1407367"/>
            </a:xfrm>
            <a:custGeom>
              <a:avLst/>
              <a:gdLst>
                <a:gd name="connsiteX0" fmla="*/ 310213 w 982759"/>
                <a:gd name="connsiteY0" fmla="*/ 473418 h 1407367"/>
                <a:gd name="connsiteX1" fmla="*/ 647808 w 982759"/>
                <a:gd name="connsiteY1" fmla="*/ 473418 h 1407367"/>
                <a:gd name="connsiteX2" fmla="*/ 846145 w 982759"/>
                <a:gd name="connsiteY2" fmla="*/ 447781 h 1407367"/>
                <a:gd name="connsiteX3" fmla="*/ 866406 w 982759"/>
                <a:gd name="connsiteY3" fmla="*/ 458829 h 1407367"/>
                <a:gd name="connsiteX4" fmla="*/ 857195 w 982759"/>
                <a:gd name="connsiteY4" fmla="*/ 627526 h 1407367"/>
                <a:gd name="connsiteX5" fmla="*/ 857195 w 982759"/>
                <a:gd name="connsiteY5" fmla="*/ 1236592 h 1407367"/>
                <a:gd name="connsiteX6" fmla="*/ 904939 w 982759"/>
                <a:gd name="connsiteY6" fmla="*/ 1332060 h 1407367"/>
                <a:gd name="connsiteX7" fmla="*/ 980166 w 982759"/>
                <a:gd name="connsiteY7" fmla="*/ 1352173 h 1407367"/>
                <a:gd name="connsiteX8" fmla="*/ 980166 w 982759"/>
                <a:gd name="connsiteY8" fmla="*/ 1407130 h 1407367"/>
                <a:gd name="connsiteX9" fmla="*/ 555159 w 982759"/>
                <a:gd name="connsiteY9" fmla="*/ 1407130 h 1407367"/>
                <a:gd name="connsiteX10" fmla="*/ 555159 w 982759"/>
                <a:gd name="connsiteY10" fmla="*/ 1352031 h 1407367"/>
                <a:gd name="connsiteX11" fmla="*/ 624860 w 982759"/>
                <a:gd name="connsiteY11" fmla="*/ 1331918 h 1407367"/>
                <a:gd name="connsiteX12" fmla="*/ 674302 w 982759"/>
                <a:gd name="connsiteY12" fmla="*/ 1236451 h 1407367"/>
                <a:gd name="connsiteX13" fmla="*/ 674302 w 982759"/>
                <a:gd name="connsiteY13" fmla="*/ 667894 h 1407367"/>
                <a:gd name="connsiteX14" fmla="*/ 600918 w 982759"/>
                <a:gd name="connsiteY14" fmla="*/ 570727 h 1407367"/>
                <a:gd name="connsiteX15" fmla="*/ 311061 w 982759"/>
                <a:gd name="connsiteY15" fmla="*/ 570727 h 1407367"/>
                <a:gd name="connsiteX16" fmla="*/ 311061 w 982759"/>
                <a:gd name="connsiteY16" fmla="*/ 1227244 h 1407367"/>
                <a:gd name="connsiteX17" fmla="*/ 358805 w 982759"/>
                <a:gd name="connsiteY17" fmla="*/ 1331918 h 1407367"/>
                <a:gd name="connsiteX18" fmla="*/ 434032 w 982759"/>
                <a:gd name="connsiteY18" fmla="*/ 1352031 h 1407367"/>
                <a:gd name="connsiteX19" fmla="*/ 434032 w 982759"/>
                <a:gd name="connsiteY19" fmla="*/ 1406989 h 1407367"/>
                <a:gd name="connsiteX20" fmla="*/ 2931 w 982759"/>
                <a:gd name="connsiteY20" fmla="*/ 1406989 h 1407367"/>
                <a:gd name="connsiteX21" fmla="*/ 2931 w 982759"/>
                <a:gd name="connsiteY21" fmla="*/ 1352031 h 1407367"/>
                <a:gd name="connsiteX22" fmla="*/ 78158 w 982759"/>
                <a:gd name="connsiteY22" fmla="*/ 1331918 h 1407367"/>
                <a:gd name="connsiteX23" fmla="*/ 127600 w 982759"/>
                <a:gd name="connsiteY23" fmla="*/ 1236451 h 1407367"/>
                <a:gd name="connsiteX24" fmla="*/ 127600 w 982759"/>
                <a:gd name="connsiteY24" fmla="*/ 570161 h 1407367"/>
                <a:gd name="connsiteX25" fmla="*/ -2593 w 982759"/>
                <a:gd name="connsiteY25" fmla="*/ 570161 h 1407367"/>
                <a:gd name="connsiteX26" fmla="*/ -2593 w 982759"/>
                <a:gd name="connsiteY26" fmla="*/ 515061 h 1407367"/>
                <a:gd name="connsiteX27" fmla="*/ 127600 w 982759"/>
                <a:gd name="connsiteY27" fmla="*/ 471152 h 1407367"/>
                <a:gd name="connsiteX28" fmla="*/ 127600 w 982759"/>
                <a:gd name="connsiteY28" fmla="*/ 397781 h 1407367"/>
                <a:gd name="connsiteX29" fmla="*/ 567908 w 982759"/>
                <a:gd name="connsiteY29" fmla="*/ -237 h 1407367"/>
                <a:gd name="connsiteX30" fmla="*/ 778852 w 982759"/>
                <a:gd name="connsiteY30" fmla="*/ 115203 h 1407367"/>
                <a:gd name="connsiteX31" fmla="*/ 679684 w 982759"/>
                <a:gd name="connsiteY31" fmla="*/ 216194 h 1407367"/>
                <a:gd name="connsiteX32" fmla="*/ 566348 w 982759"/>
                <a:gd name="connsiteY32" fmla="*/ 113361 h 1407367"/>
                <a:gd name="connsiteX33" fmla="*/ 515066 w 982759"/>
                <a:gd name="connsiteY33" fmla="*/ 65769 h 1407367"/>
                <a:gd name="connsiteX34" fmla="*/ 311344 w 982759"/>
                <a:gd name="connsiteY34" fmla="*/ 300472 h 1407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82759" h="1407367">
                  <a:moveTo>
                    <a:pt x="310213" y="473418"/>
                  </a:moveTo>
                  <a:lnTo>
                    <a:pt x="647808" y="473418"/>
                  </a:lnTo>
                  <a:lnTo>
                    <a:pt x="846145" y="447781"/>
                  </a:lnTo>
                  <a:lnTo>
                    <a:pt x="866406" y="458829"/>
                  </a:lnTo>
                  <a:cubicBezTo>
                    <a:pt x="860311" y="514849"/>
                    <a:pt x="857195" y="571166"/>
                    <a:pt x="857195" y="627526"/>
                  </a:cubicBezTo>
                  <a:lnTo>
                    <a:pt x="857195" y="1236592"/>
                  </a:lnTo>
                  <a:cubicBezTo>
                    <a:pt x="857195" y="1313646"/>
                    <a:pt x="868246" y="1322853"/>
                    <a:pt x="904939" y="1332060"/>
                  </a:cubicBezTo>
                  <a:lnTo>
                    <a:pt x="980166" y="1352173"/>
                  </a:lnTo>
                  <a:lnTo>
                    <a:pt x="980166" y="1407130"/>
                  </a:lnTo>
                  <a:lnTo>
                    <a:pt x="555159" y="1407130"/>
                  </a:lnTo>
                  <a:lnTo>
                    <a:pt x="555159" y="1352031"/>
                  </a:lnTo>
                  <a:lnTo>
                    <a:pt x="624860" y="1331918"/>
                  </a:lnTo>
                  <a:cubicBezTo>
                    <a:pt x="659710" y="1322711"/>
                    <a:pt x="674302" y="1307980"/>
                    <a:pt x="674302" y="1236451"/>
                  </a:cubicBezTo>
                  <a:lnTo>
                    <a:pt x="674302" y="667894"/>
                  </a:lnTo>
                  <a:cubicBezTo>
                    <a:pt x="674302" y="594523"/>
                    <a:pt x="648659" y="570727"/>
                    <a:pt x="600918" y="570727"/>
                  </a:cubicBezTo>
                  <a:lnTo>
                    <a:pt x="311061" y="570727"/>
                  </a:lnTo>
                  <a:lnTo>
                    <a:pt x="311061" y="1227244"/>
                  </a:lnTo>
                  <a:cubicBezTo>
                    <a:pt x="311061" y="1313505"/>
                    <a:pt x="318428" y="1320870"/>
                    <a:pt x="358805" y="1331918"/>
                  </a:cubicBezTo>
                  <a:lnTo>
                    <a:pt x="434032" y="1352031"/>
                  </a:lnTo>
                  <a:lnTo>
                    <a:pt x="434032" y="1406989"/>
                  </a:lnTo>
                  <a:lnTo>
                    <a:pt x="2931" y="1406989"/>
                  </a:lnTo>
                  <a:lnTo>
                    <a:pt x="2931" y="1352031"/>
                  </a:lnTo>
                  <a:lnTo>
                    <a:pt x="78158" y="1331918"/>
                  </a:lnTo>
                  <a:cubicBezTo>
                    <a:pt x="114851" y="1322711"/>
                    <a:pt x="127600" y="1307980"/>
                    <a:pt x="127600" y="1236451"/>
                  </a:cubicBezTo>
                  <a:lnTo>
                    <a:pt x="127600" y="570161"/>
                  </a:lnTo>
                  <a:lnTo>
                    <a:pt x="-2593" y="570161"/>
                  </a:lnTo>
                  <a:lnTo>
                    <a:pt x="-2593" y="515061"/>
                  </a:lnTo>
                  <a:lnTo>
                    <a:pt x="127600" y="471152"/>
                  </a:lnTo>
                  <a:lnTo>
                    <a:pt x="127600" y="397781"/>
                  </a:lnTo>
                  <a:cubicBezTo>
                    <a:pt x="127600" y="142823"/>
                    <a:pt x="305537" y="-237"/>
                    <a:pt x="567908" y="-237"/>
                  </a:cubicBezTo>
                  <a:cubicBezTo>
                    <a:pt x="714675" y="-237"/>
                    <a:pt x="778852" y="51038"/>
                    <a:pt x="778852" y="115203"/>
                  </a:cubicBezTo>
                  <a:cubicBezTo>
                    <a:pt x="778852" y="184891"/>
                    <a:pt x="738620" y="216194"/>
                    <a:pt x="679684" y="216194"/>
                  </a:cubicBezTo>
                  <a:cubicBezTo>
                    <a:pt x="608144" y="216194"/>
                    <a:pt x="575134" y="175826"/>
                    <a:pt x="566348" y="113361"/>
                  </a:cubicBezTo>
                  <a:cubicBezTo>
                    <a:pt x="562665" y="84041"/>
                    <a:pt x="549916" y="65769"/>
                    <a:pt x="515066" y="65769"/>
                  </a:cubicBezTo>
                  <a:cubicBezTo>
                    <a:pt x="406829" y="65769"/>
                    <a:pt x="311344" y="109820"/>
                    <a:pt x="311344" y="300472"/>
                  </a:cubicBezTo>
                  <a:close/>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2" name="Freeform: Shape 11">
              <a:extLst>
                <a:ext uri="{FF2B5EF4-FFF2-40B4-BE49-F238E27FC236}">
                  <a16:creationId xmlns:a16="http://schemas.microsoft.com/office/drawing/2014/main" id="{BD499510-7205-4BBD-B3DB-C99AABA529EE}"/>
                </a:ext>
              </a:extLst>
            </p:cNvPr>
            <p:cNvSpPr/>
            <p:nvPr/>
          </p:nvSpPr>
          <p:spPr>
            <a:xfrm>
              <a:off x="5442055" y="1162197"/>
              <a:ext cx="697719" cy="963032"/>
            </a:xfrm>
            <a:custGeom>
              <a:avLst/>
              <a:gdLst>
                <a:gd name="connsiteX0" fmla="*/ -1600 w 697719"/>
                <a:gd name="connsiteY0" fmla="*/ 908405 h 963032"/>
                <a:gd name="connsiteX1" fmla="*/ 73627 w 697719"/>
                <a:gd name="connsiteY1" fmla="*/ 888291 h 963032"/>
                <a:gd name="connsiteX2" fmla="*/ 123211 w 697719"/>
                <a:gd name="connsiteY2" fmla="*/ 792824 h 963032"/>
                <a:gd name="connsiteX3" fmla="*/ 123211 w 697719"/>
                <a:gd name="connsiteY3" fmla="*/ 224268 h 963032"/>
                <a:gd name="connsiteX4" fmla="*/ 68100 w 697719"/>
                <a:gd name="connsiteY4" fmla="*/ 125118 h 963032"/>
                <a:gd name="connsiteX5" fmla="*/ -1600 w 697719"/>
                <a:gd name="connsiteY5" fmla="*/ 90273 h 963032"/>
                <a:gd name="connsiteX6" fmla="*/ -1600 w 697719"/>
                <a:gd name="connsiteY6" fmla="*/ 42540 h 963032"/>
                <a:gd name="connsiteX7" fmla="*/ 288254 w 697719"/>
                <a:gd name="connsiteY7" fmla="*/ 4013 h 963032"/>
                <a:gd name="connsiteX8" fmla="*/ 306672 w 697719"/>
                <a:gd name="connsiteY8" fmla="*/ 18177 h 963032"/>
                <a:gd name="connsiteX9" fmla="*/ 297461 w 697719"/>
                <a:gd name="connsiteY9" fmla="*/ 124551 h 963032"/>
                <a:gd name="connsiteX10" fmla="*/ 304828 w 697719"/>
                <a:gd name="connsiteY10" fmla="*/ 124551 h 963032"/>
                <a:gd name="connsiteX11" fmla="*/ 573999 w 697719"/>
                <a:gd name="connsiteY11" fmla="*/ -237 h 963032"/>
                <a:gd name="connsiteX12" fmla="*/ 695127 w 697719"/>
                <a:gd name="connsiteY12" fmla="*/ 109820 h 963032"/>
                <a:gd name="connsiteX13" fmla="*/ 595958 w 697719"/>
                <a:gd name="connsiteY13" fmla="*/ 212512 h 963032"/>
                <a:gd name="connsiteX14" fmla="*/ 491267 w 697719"/>
                <a:gd name="connsiteY14" fmla="*/ 153871 h 963032"/>
                <a:gd name="connsiteX15" fmla="*/ 448766 w 697719"/>
                <a:gd name="connsiteY15" fmla="*/ 122710 h 963032"/>
                <a:gd name="connsiteX16" fmla="*/ 305679 w 697719"/>
                <a:gd name="connsiteY16" fmla="*/ 203446 h 963032"/>
                <a:gd name="connsiteX17" fmla="*/ 305679 w 697719"/>
                <a:gd name="connsiteY17" fmla="*/ 792257 h 963032"/>
                <a:gd name="connsiteX18" fmla="*/ 353281 w 697719"/>
                <a:gd name="connsiteY18" fmla="*/ 887725 h 963032"/>
                <a:gd name="connsiteX19" fmla="*/ 446922 w 697719"/>
                <a:gd name="connsiteY19" fmla="*/ 907838 h 963032"/>
                <a:gd name="connsiteX20" fmla="*/ 446922 w 697719"/>
                <a:gd name="connsiteY20" fmla="*/ 962796 h 963032"/>
                <a:gd name="connsiteX21" fmla="*/ -2593 w 697719"/>
                <a:gd name="connsiteY21" fmla="*/ 962796 h 96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7719" h="963032">
                  <a:moveTo>
                    <a:pt x="-1600" y="908405"/>
                  </a:moveTo>
                  <a:lnTo>
                    <a:pt x="73627" y="888291"/>
                  </a:lnTo>
                  <a:cubicBezTo>
                    <a:pt x="110317" y="879085"/>
                    <a:pt x="123211" y="864354"/>
                    <a:pt x="123211" y="792824"/>
                  </a:cubicBezTo>
                  <a:lnTo>
                    <a:pt x="123211" y="224268"/>
                  </a:lnTo>
                  <a:cubicBezTo>
                    <a:pt x="123211" y="150897"/>
                    <a:pt x="114000" y="147214"/>
                    <a:pt x="68100" y="125118"/>
                  </a:cubicBezTo>
                  <a:lnTo>
                    <a:pt x="-1600" y="90273"/>
                  </a:lnTo>
                  <a:lnTo>
                    <a:pt x="-1600" y="42540"/>
                  </a:lnTo>
                  <a:lnTo>
                    <a:pt x="288254" y="4013"/>
                  </a:lnTo>
                  <a:lnTo>
                    <a:pt x="306672" y="18177"/>
                  </a:lnTo>
                  <a:lnTo>
                    <a:pt x="297461" y="124551"/>
                  </a:lnTo>
                  <a:lnTo>
                    <a:pt x="304828" y="124551"/>
                  </a:lnTo>
                  <a:cubicBezTo>
                    <a:pt x="369005" y="60387"/>
                    <a:pt x="482765" y="-237"/>
                    <a:pt x="573999" y="-237"/>
                  </a:cubicBezTo>
                  <a:cubicBezTo>
                    <a:pt x="649226" y="-237"/>
                    <a:pt x="695127" y="40132"/>
                    <a:pt x="695127" y="109820"/>
                  </a:cubicBezTo>
                  <a:cubicBezTo>
                    <a:pt x="695127" y="179509"/>
                    <a:pt x="649226" y="212512"/>
                    <a:pt x="595958" y="212512"/>
                  </a:cubicBezTo>
                  <a:cubicBezTo>
                    <a:pt x="527957" y="212512"/>
                    <a:pt x="507841" y="194240"/>
                    <a:pt x="491267" y="153871"/>
                  </a:cubicBezTo>
                  <a:cubicBezTo>
                    <a:pt x="480358" y="128234"/>
                    <a:pt x="467464" y="122710"/>
                    <a:pt x="448766" y="122710"/>
                  </a:cubicBezTo>
                  <a:cubicBezTo>
                    <a:pt x="412072" y="122710"/>
                    <a:pt x="338689" y="166761"/>
                    <a:pt x="305679" y="203446"/>
                  </a:cubicBezTo>
                  <a:lnTo>
                    <a:pt x="305679" y="792257"/>
                  </a:lnTo>
                  <a:cubicBezTo>
                    <a:pt x="305679" y="869311"/>
                    <a:pt x="316588" y="880359"/>
                    <a:pt x="353281" y="887725"/>
                  </a:cubicBezTo>
                  <a:lnTo>
                    <a:pt x="446922" y="907838"/>
                  </a:lnTo>
                  <a:lnTo>
                    <a:pt x="446922" y="962796"/>
                  </a:lnTo>
                  <a:lnTo>
                    <a:pt x="-2593" y="962796"/>
                  </a:lnTo>
                  <a:close/>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3" name="Freeform: Shape 12">
              <a:extLst>
                <a:ext uri="{FF2B5EF4-FFF2-40B4-BE49-F238E27FC236}">
                  <a16:creationId xmlns:a16="http://schemas.microsoft.com/office/drawing/2014/main" id="{588BD3B2-4F0C-4865-B0C2-18264B05F1DD}"/>
                </a:ext>
              </a:extLst>
            </p:cNvPr>
            <p:cNvSpPr/>
            <p:nvPr/>
          </p:nvSpPr>
          <p:spPr>
            <a:xfrm>
              <a:off x="6218809" y="1164181"/>
              <a:ext cx="1561616" cy="961757"/>
            </a:xfrm>
            <a:custGeom>
              <a:avLst/>
              <a:gdLst>
                <a:gd name="connsiteX0" fmla="*/ -2167 w 1561616"/>
                <a:gd name="connsiteY0" fmla="*/ 906422 h 961757"/>
                <a:gd name="connsiteX1" fmla="*/ 73060 w 1561616"/>
                <a:gd name="connsiteY1" fmla="*/ 886308 h 961757"/>
                <a:gd name="connsiteX2" fmla="*/ 122502 w 1561616"/>
                <a:gd name="connsiteY2" fmla="*/ 790841 h 961757"/>
                <a:gd name="connsiteX3" fmla="*/ 122502 w 1561616"/>
                <a:gd name="connsiteY3" fmla="*/ 222285 h 961757"/>
                <a:gd name="connsiteX4" fmla="*/ 67533 w 1561616"/>
                <a:gd name="connsiteY4" fmla="*/ 123134 h 961757"/>
                <a:gd name="connsiteX5" fmla="*/ -2167 w 1561616"/>
                <a:gd name="connsiteY5" fmla="*/ 88290 h 961757"/>
                <a:gd name="connsiteX6" fmla="*/ -2167 w 1561616"/>
                <a:gd name="connsiteY6" fmla="*/ 40557 h 961757"/>
                <a:gd name="connsiteX7" fmla="*/ 287687 w 1561616"/>
                <a:gd name="connsiteY7" fmla="*/ 2030 h 961757"/>
                <a:gd name="connsiteX8" fmla="*/ 305963 w 1561616"/>
                <a:gd name="connsiteY8" fmla="*/ 16194 h 961757"/>
                <a:gd name="connsiteX9" fmla="*/ 296894 w 1561616"/>
                <a:gd name="connsiteY9" fmla="*/ 115344 h 961757"/>
                <a:gd name="connsiteX10" fmla="*/ 304261 w 1561616"/>
                <a:gd name="connsiteY10" fmla="*/ 115344 h 961757"/>
                <a:gd name="connsiteX11" fmla="*/ 634350 w 1561616"/>
                <a:gd name="connsiteY11" fmla="*/ -237 h 961757"/>
                <a:gd name="connsiteX12" fmla="*/ 856348 w 1561616"/>
                <a:gd name="connsiteY12" fmla="*/ 119027 h 961757"/>
                <a:gd name="connsiteX13" fmla="*/ 863711 w 1561616"/>
                <a:gd name="connsiteY13" fmla="*/ 119027 h 961757"/>
                <a:gd name="connsiteX14" fmla="*/ 1212218 w 1561616"/>
                <a:gd name="connsiteY14" fmla="*/ -237 h 961757"/>
                <a:gd name="connsiteX15" fmla="*/ 1436056 w 1561616"/>
                <a:gd name="connsiteY15" fmla="*/ 245514 h 961757"/>
                <a:gd name="connsiteX16" fmla="*/ 1436056 w 1561616"/>
                <a:gd name="connsiteY16" fmla="*/ 790274 h 961757"/>
                <a:gd name="connsiteX17" fmla="*/ 1483797 w 1561616"/>
                <a:gd name="connsiteY17" fmla="*/ 885742 h 961757"/>
                <a:gd name="connsiteX18" fmla="*/ 1559024 w 1561616"/>
                <a:gd name="connsiteY18" fmla="*/ 905855 h 961757"/>
                <a:gd name="connsiteX19" fmla="*/ 1559024 w 1561616"/>
                <a:gd name="connsiteY19" fmla="*/ 960813 h 961757"/>
                <a:gd name="connsiteX20" fmla="*/ 1127359 w 1561616"/>
                <a:gd name="connsiteY20" fmla="*/ 960813 h 961757"/>
                <a:gd name="connsiteX21" fmla="*/ 1127359 w 1561616"/>
                <a:gd name="connsiteY21" fmla="*/ 906422 h 961757"/>
                <a:gd name="connsiteX22" fmla="*/ 1202586 w 1561616"/>
                <a:gd name="connsiteY22" fmla="*/ 886308 h 961757"/>
                <a:gd name="connsiteX23" fmla="*/ 1252170 w 1561616"/>
                <a:gd name="connsiteY23" fmla="*/ 790841 h 961757"/>
                <a:gd name="connsiteX24" fmla="*/ 1252170 w 1561616"/>
                <a:gd name="connsiteY24" fmla="*/ 297497 h 961757"/>
                <a:gd name="connsiteX25" fmla="*/ 1109083 w 1561616"/>
                <a:gd name="connsiteY25" fmla="*/ 121435 h 961757"/>
                <a:gd name="connsiteX26" fmla="*/ 870653 w 1561616"/>
                <a:gd name="connsiteY26" fmla="*/ 181916 h 961757"/>
                <a:gd name="connsiteX27" fmla="*/ 870653 w 1561616"/>
                <a:gd name="connsiteY27" fmla="*/ 790982 h 961757"/>
                <a:gd name="connsiteX28" fmla="*/ 918255 w 1561616"/>
                <a:gd name="connsiteY28" fmla="*/ 886450 h 961757"/>
                <a:gd name="connsiteX29" fmla="*/ 993482 w 1561616"/>
                <a:gd name="connsiteY29" fmla="*/ 906563 h 961757"/>
                <a:gd name="connsiteX30" fmla="*/ 993482 w 1561616"/>
                <a:gd name="connsiteY30" fmla="*/ 961521 h 961757"/>
                <a:gd name="connsiteX31" fmla="*/ 562385 w 1561616"/>
                <a:gd name="connsiteY31" fmla="*/ 961521 h 961757"/>
                <a:gd name="connsiteX32" fmla="*/ 562385 w 1561616"/>
                <a:gd name="connsiteY32" fmla="*/ 906422 h 961757"/>
                <a:gd name="connsiteX33" fmla="*/ 637608 w 1561616"/>
                <a:gd name="connsiteY33" fmla="*/ 886308 h 961757"/>
                <a:gd name="connsiteX34" fmla="*/ 687192 w 1561616"/>
                <a:gd name="connsiteY34" fmla="*/ 790841 h 961757"/>
                <a:gd name="connsiteX35" fmla="*/ 687192 w 1561616"/>
                <a:gd name="connsiteY35" fmla="*/ 297497 h 961757"/>
                <a:gd name="connsiteX36" fmla="*/ 544109 w 1561616"/>
                <a:gd name="connsiteY36" fmla="*/ 121435 h 961757"/>
                <a:gd name="connsiteX37" fmla="*/ 305537 w 1561616"/>
                <a:gd name="connsiteY37" fmla="*/ 178092 h 961757"/>
                <a:gd name="connsiteX38" fmla="*/ 305537 w 1561616"/>
                <a:gd name="connsiteY38" fmla="*/ 790274 h 961757"/>
                <a:gd name="connsiteX39" fmla="*/ 353281 w 1561616"/>
                <a:gd name="connsiteY39" fmla="*/ 885742 h 961757"/>
                <a:gd name="connsiteX40" fmla="*/ 428505 w 1561616"/>
                <a:gd name="connsiteY40" fmla="*/ 905855 h 961757"/>
                <a:gd name="connsiteX41" fmla="*/ 428505 w 1561616"/>
                <a:gd name="connsiteY41" fmla="*/ 960813 h 961757"/>
                <a:gd name="connsiteX42" fmla="*/ -2593 w 1561616"/>
                <a:gd name="connsiteY42" fmla="*/ 960813 h 96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561616" h="961757">
                  <a:moveTo>
                    <a:pt x="-2167" y="906422"/>
                  </a:moveTo>
                  <a:lnTo>
                    <a:pt x="73060" y="886308"/>
                  </a:lnTo>
                  <a:cubicBezTo>
                    <a:pt x="109750" y="877101"/>
                    <a:pt x="122502" y="862370"/>
                    <a:pt x="122502" y="790841"/>
                  </a:cubicBezTo>
                  <a:lnTo>
                    <a:pt x="122502" y="222285"/>
                  </a:lnTo>
                  <a:cubicBezTo>
                    <a:pt x="122502" y="148914"/>
                    <a:pt x="113433" y="145231"/>
                    <a:pt x="67533" y="123134"/>
                  </a:cubicBezTo>
                  <a:lnTo>
                    <a:pt x="-2167" y="88290"/>
                  </a:lnTo>
                  <a:lnTo>
                    <a:pt x="-2167" y="40557"/>
                  </a:lnTo>
                  <a:lnTo>
                    <a:pt x="287687" y="2030"/>
                  </a:lnTo>
                  <a:lnTo>
                    <a:pt x="305963" y="16194"/>
                  </a:lnTo>
                  <a:lnTo>
                    <a:pt x="296894" y="115344"/>
                  </a:lnTo>
                  <a:lnTo>
                    <a:pt x="304261" y="115344"/>
                  </a:lnTo>
                  <a:cubicBezTo>
                    <a:pt x="395924" y="56704"/>
                    <a:pt x="520590" y="-237"/>
                    <a:pt x="634350" y="-237"/>
                  </a:cubicBezTo>
                  <a:cubicBezTo>
                    <a:pt x="768368" y="-237"/>
                    <a:pt x="823338" y="43814"/>
                    <a:pt x="856348" y="119027"/>
                  </a:cubicBezTo>
                  <a:lnTo>
                    <a:pt x="863711" y="119027"/>
                  </a:lnTo>
                  <a:cubicBezTo>
                    <a:pt x="964581" y="60387"/>
                    <a:pt x="1076215" y="-237"/>
                    <a:pt x="1212218" y="-237"/>
                  </a:cubicBezTo>
                  <a:cubicBezTo>
                    <a:pt x="1373720" y="-237"/>
                    <a:pt x="1436056" y="80500"/>
                    <a:pt x="1436056" y="245514"/>
                  </a:cubicBezTo>
                  <a:lnTo>
                    <a:pt x="1436056" y="790274"/>
                  </a:lnTo>
                  <a:cubicBezTo>
                    <a:pt x="1436056" y="861096"/>
                    <a:pt x="1450223" y="876535"/>
                    <a:pt x="1483797" y="885742"/>
                  </a:cubicBezTo>
                  <a:lnTo>
                    <a:pt x="1559024" y="905855"/>
                  </a:lnTo>
                  <a:lnTo>
                    <a:pt x="1559024" y="960813"/>
                  </a:lnTo>
                  <a:lnTo>
                    <a:pt x="1127359" y="960813"/>
                  </a:lnTo>
                  <a:lnTo>
                    <a:pt x="1127359" y="906422"/>
                  </a:lnTo>
                  <a:lnTo>
                    <a:pt x="1202586" y="886308"/>
                  </a:lnTo>
                  <a:cubicBezTo>
                    <a:pt x="1241119" y="877101"/>
                    <a:pt x="1252170" y="867895"/>
                    <a:pt x="1252170" y="790841"/>
                  </a:cubicBezTo>
                  <a:lnTo>
                    <a:pt x="1252170" y="297497"/>
                  </a:lnTo>
                  <a:cubicBezTo>
                    <a:pt x="1252170" y="174551"/>
                    <a:pt x="1221004" y="121435"/>
                    <a:pt x="1109083" y="121435"/>
                  </a:cubicBezTo>
                  <a:cubicBezTo>
                    <a:pt x="1019267" y="121435"/>
                    <a:pt x="925622" y="156279"/>
                    <a:pt x="870653" y="181916"/>
                  </a:cubicBezTo>
                  <a:lnTo>
                    <a:pt x="870653" y="790982"/>
                  </a:lnTo>
                  <a:cubicBezTo>
                    <a:pt x="870653" y="861804"/>
                    <a:pt x="884820" y="877243"/>
                    <a:pt x="918255" y="886450"/>
                  </a:cubicBezTo>
                  <a:lnTo>
                    <a:pt x="993482" y="906563"/>
                  </a:lnTo>
                  <a:lnTo>
                    <a:pt x="993482" y="961521"/>
                  </a:lnTo>
                  <a:lnTo>
                    <a:pt x="562385" y="961521"/>
                  </a:lnTo>
                  <a:lnTo>
                    <a:pt x="562385" y="906422"/>
                  </a:lnTo>
                  <a:lnTo>
                    <a:pt x="637608" y="886308"/>
                  </a:lnTo>
                  <a:cubicBezTo>
                    <a:pt x="676142" y="877101"/>
                    <a:pt x="687192" y="867895"/>
                    <a:pt x="687192" y="790841"/>
                  </a:cubicBezTo>
                  <a:lnTo>
                    <a:pt x="687192" y="297497"/>
                  </a:lnTo>
                  <a:cubicBezTo>
                    <a:pt x="687192" y="176392"/>
                    <a:pt x="656026" y="121435"/>
                    <a:pt x="544109" y="121435"/>
                  </a:cubicBezTo>
                  <a:cubicBezTo>
                    <a:pt x="454148" y="121435"/>
                    <a:pt x="358805" y="156279"/>
                    <a:pt x="305537" y="178092"/>
                  </a:cubicBezTo>
                  <a:lnTo>
                    <a:pt x="305537" y="790274"/>
                  </a:lnTo>
                  <a:cubicBezTo>
                    <a:pt x="305537" y="867328"/>
                    <a:pt x="316588" y="876535"/>
                    <a:pt x="353281" y="885742"/>
                  </a:cubicBezTo>
                  <a:lnTo>
                    <a:pt x="428505" y="905855"/>
                  </a:lnTo>
                  <a:lnTo>
                    <a:pt x="428505" y="960813"/>
                  </a:lnTo>
                  <a:lnTo>
                    <a:pt x="-2593" y="960813"/>
                  </a:lnTo>
                  <a:close/>
                </a:path>
              </a:pathLst>
            </a:custGeom>
            <a:solidFill>
              <a:schemeClr val="tx1"/>
            </a:solidFill>
            <a:ln w="14153" cap="flat">
              <a:noFill/>
              <a:prstDash val="solid"/>
              <a:miter/>
            </a:ln>
          </p:spPr>
          <p:txBody>
            <a:bodyPr rtlCol="0" anchor="ctr"/>
            <a:lstStyle/>
            <a:p>
              <a:endParaRPr lang="en-GB" dirty="0">
                <a:solidFill>
                  <a:schemeClr val="tx1"/>
                </a:solidFill>
              </a:endParaRPr>
            </a:p>
          </p:txBody>
        </p:sp>
        <p:sp>
          <p:nvSpPr>
            <p:cNvPr id="14" name="Freeform: Shape 13">
              <a:extLst>
                <a:ext uri="{FF2B5EF4-FFF2-40B4-BE49-F238E27FC236}">
                  <a16:creationId xmlns:a16="http://schemas.microsoft.com/office/drawing/2014/main" id="{BFF832B6-3402-4CD7-8CD9-DBF06FA7A041}"/>
                </a:ext>
              </a:extLst>
            </p:cNvPr>
            <p:cNvSpPr/>
            <p:nvPr userDrawn="1"/>
          </p:nvSpPr>
          <p:spPr>
            <a:xfrm>
              <a:off x="7853110" y="1875449"/>
              <a:ext cx="266363" cy="266347"/>
            </a:xfrm>
            <a:custGeom>
              <a:avLst/>
              <a:gdLst>
                <a:gd name="connsiteX0" fmla="*/ -2527 w 230343"/>
                <a:gd name="connsiteY0" fmla="*/ 118884 h 230329"/>
                <a:gd name="connsiteX1" fmla="*/ 108684 w 230343"/>
                <a:gd name="connsiteY1" fmla="*/ -167 h 230329"/>
                <a:gd name="connsiteX2" fmla="*/ 227685 w 230343"/>
                <a:gd name="connsiteY2" fmla="*/ 110952 h 230329"/>
                <a:gd name="connsiteX3" fmla="*/ 116477 w 230343"/>
                <a:gd name="connsiteY3" fmla="*/ 230003 h 230329"/>
                <a:gd name="connsiteX4" fmla="*/ 111801 w 230343"/>
                <a:gd name="connsiteY4" fmla="*/ 230074 h 230329"/>
                <a:gd name="connsiteX5" fmla="*/ -2527 w 230343"/>
                <a:gd name="connsiteY5" fmla="*/ 119762 h 230329"/>
                <a:gd name="connsiteX6" fmla="*/ -2527 w 230343"/>
                <a:gd name="connsiteY6" fmla="*/ 118884 h 230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343" h="230329">
                  <a:moveTo>
                    <a:pt x="-2527" y="118884"/>
                  </a:moveTo>
                  <a:cubicBezTo>
                    <a:pt x="-4651" y="55329"/>
                    <a:pt x="45075" y="2029"/>
                    <a:pt x="108684" y="-167"/>
                  </a:cubicBezTo>
                  <a:cubicBezTo>
                    <a:pt x="172152" y="-2362"/>
                    <a:pt x="225561" y="47397"/>
                    <a:pt x="227685" y="110952"/>
                  </a:cubicBezTo>
                  <a:cubicBezTo>
                    <a:pt x="229812" y="174522"/>
                    <a:pt x="180086" y="227822"/>
                    <a:pt x="116477" y="230003"/>
                  </a:cubicBezTo>
                  <a:cubicBezTo>
                    <a:pt x="114917" y="230060"/>
                    <a:pt x="113360" y="230088"/>
                    <a:pt x="111801" y="230074"/>
                  </a:cubicBezTo>
                  <a:cubicBezTo>
                    <a:pt x="49748" y="231179"/>
                    <a:pt x="-1393" y="181788"/>
                    <a:pt x="-2527" y="119762"/>
                  </a:cubicBezTo>
                  <a:cubicBezTo>
                    <a:pt x="-2527" y="119465"/>
                    <a:pt x="-2527" y="119182"/>
                    <a:pt x="-2527" y="118884"/>
                  </a:cubicBezTo>
                </a:path>
              </a:pathLst>
            </a:custGeom>
            <a:solidFill>
              <a:schemeClr val="tx1"/>
            </a:solidFill>
            <a:ln w="14153" cap="flat">
              <a:noFill/>
              <a:prstDash val="solid"/>
              <a:miter/>
            </a:ln>
          </p:spPr>
          <p:txBody>
            <a:bodyPr rtlCol="0" anchor="ctr"/>
            <a:lstStyle/>
            <a:p>
              <a:endParaRPr lang="en-GB">
                <a:solidFill>
                  <a:schemeClr val="tx1"/>
                </a:solidFill>
              </a:endParaRPr>
            </a:p>
          </p:txBody>
        </p:sp>
      </p:grpSp>
      <p:grpSp>
        <p:nvGrpSpPr>
          <p:cNvPr id="2" name="Group 1">
            <a:extLst>
              <a:ext uri="{FF2B5EF4-FFF2-40B4-BE49-F238E27FC236}">
                <a16:creationId xmlns:a16="http://schemas.microsoft.com/office/drawing/2014/main" id="{FF6A65B9-ADDA-482F-9F23-565796B0C61B}"/>
              </a:ext>
            </a:extLst>
          </p:cNvPr>
          <p:cNvGrpSpPr/>
          <p:nvPr userDrawn="1"/>
        </p:nvGrpSpPr>
        <p:grpSpPr>
          <a:xfrm>
            <a:off x="709879" y="2561771"/>
            <a:ext cx="8016437" cy="1431305"/>
            <a:chOff x="709879" y="2561771"/>
            <a:chExt cx="8016437" cy="1431305"/>
          </a:xfrm>
        </p:grpSpPr>
        <p:sp>
          <p:nvSpPr>
            <p:cNvPr id="15" name="Freeform: Shape 14">
              <a:extLst>
                <a:ext uri="{FF2B5EF4-FFF2-40B4-BE49-F238E27FC236}">
                  <a16:creationId xmlns:a16="http://schemas.microsoft.com/office/drawing/2014/main" id="{2842B283-E38F-4698-A84D-EFA2E277B030}"/>
                </a:ext>
              </a:extLst>
            </p:cNvPr>
            <p:cNvSpPr/>
            <p:nvPr/>
          </p:nvSpPr>
          <p:spPr>
            <a:xfrm>
              <a:off x="709879" y="2697323"/>
              <a:ext cx="1139300" cy="1271389"/>
            </a:xfrm>
            <a:custGeom>
              <a:avLst/>
              <a:gdLst>
                <a:gd name="connsiteX0" fmla="*/ 329762 w 1139300"/>
                <a:gd name="connsiteY0" fmla="*/ 1214071 h 1271389"/>
                <a:gd name="connsiteX1" fmla="*/ 419581 w 1139300"/>
                <a:gd name="connsiteY1" fmla="*/ 1197499 h 1271389"/>
                <a:gd name="connsiteX2" fmla="*/ 476249 w 1139300"/>
                <a:gd name="connsiteY2" fmla="*/ 1087442 h 1271389"/>
                <a:gd name="connsiteX3" fmla="*/ 476249 w 1139300"/>
                <a:gd name="connsiteY3" fmla="*/ 757271 h 1271389"/>
                <a:gd name="connsiteX4" fmla="*/ 188235 w 1139300"/>
                <a:gd name="connsiteY4" fmla="*/ 230925 h 1271389"/>
                <a:gd name="connsiteX5" fmla="*/ 43308 w 1139300"/>
                <a:gd name="connsiteY5" fmla="*/ 67752 h 1271389"/>
                <a:gd name="connsiteX6" fmla="*/ -2593 w 1139300"/>
                <a:gd name="connsiteY6" fmla="*/ 54863 h 1271389"/>
                <a:gd name="connsiteX7" fmla="*/ -2593 w 1139300"/>
                <a:gd name="connsiteY7" fmla="*/ -237 h 1271389"/>
                <a:gd name="connsiteX8" fmla="*/ 479932 w 1139300"/>
                <a:gd name="connsiteY8" fmla="*/ -237 h 1271389"/>
                <a:gd name="connsiteX9" fmla="*/ 479932 w 1139300"/>
                <a:gd name="connsiteY9" fmla="*/ 54863 h 1271389"/>
                <a:gd name="connsiteX10" fmla="*/ 434032 w 1139300"/>
                <a:gd name="connsiteY10" fmla="*/ 65911 h 1271389"/>
                <a:gd name="connsiteX11" fmla="*/ 356961 w 1139300"/>
                <a:gd name="connsiteY11" fmla="*/ 131917 h 1271389"/>
                <a:gd name="connsiteX12" fmla="*/ 397338 w 1139300"/>
                <a:gd name="connsiteY12" fmla="*/ 231067 h 1271389"/>
                <a:gd name="connsiteX13" fmla="*/ 617776 w 1139300"/>
                <a:gd name="connsiteY13" fmla="*/ 653305 h 1271389"/>
                <a:gd name="connsiteX14" fmla="*/ 625143 w 1139300"/>
                <a:gd name="connsiteY14" fmla="*/ 653305 h 1271389"/>
                <a:gd name="connsiteX15" fmla="*/ 837647 w 1139300"/>
                <a:gd name="connsiteY15" fmla="*/ 231492 h 1271389"/>
                <a:gd name="connsiteX16" fmla="*/ 868813 w 1139300"/>
                <a:gd name="connsiteY16" fmla="*/ 132342 h 1271389"/>
                <a:gd name="connsiteX17" fmla="*/ 802793 w 1139300"/>
                <a:gd name="connsiteY17" fmla="*/ 68177 h 1271389"/>
                <a:gd name="connsiteX18" fmla="*/ 744002 w 1139300"/>
                <a:gd name="connsiteY18" fmla="*/ 55288 h 1271389"/>
                <a:gd name="connsiteX19" fmla="*/ 744002 w 1139300"/>
                <a:gd name="connsiteY19" fmla="*/ 189 h 1271389"/>
                <a:gd name="connsiteX20" fmla="*/ 1136708 w 1139300"/>
                <a:gd name="connsiteY20" fmla="*/ 189 h 1271389"/>
                <a:gd name="connsiteX21" fmla="*/ 1136708 w 1139300"/>
                <a:gd name="connsiteY21" fmla="*/ 55288 h 1271389"/>
                <a:gd name="connsiteX22" fmla="*/ 1096334 w 1139300"/>
                <a:gd name="connsiteY22" fmla="*/ 68177 h 1271389"/>
                <a:gd name="connsiteX23" fmla="*/ 931146 w 1139300"/>
                <a:gd name="connsiteY23" fmla="*/ 256987 h 1271389"/>
                <a:gd name="connsiteX24" fmla="*/ 676142 w 1139300"/>
                <a:gd name="connsiteY24" fmla="*/ 743107 h 1271389"/>
                <a:gd name="connsiteX25" fmla="*/ 676142 w 1139300"/>
                <a:gd name="connsiteY25" fmla="*/ 1087867 h 1271389"/>
                <a:gd name="connsiteX26" fmla="*/ 734937 w 1139300"/>
                <a:gd name="connsiteY26" fmla="*/ 1197924 h 1271389"/>
                <a:gd name="connsiteX27" fmla="*/ 824752 w 1139300"/>
                <a:gd name="connsiteY27" fmla="*/ 1214496 h 1271389"/>
                <a:gd name="connsiteX28" fmla="*/ 824752 w 1139300"/>
                <a:gd name="connsiteY28" fmla="*/ 1271153 h 1271389"/>
                <a:gd name="connsiteX29" fmla="*/ 328911 w 1139300"/>
                <a:gd name="connsiteY29" fmla="*/ 1271153 h 1271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39300" h="1271389">
                  <a:moveTo>
                    <a:pt x="329762" y="1214071"/>
                  </a:moveTo>
                  <a:lnTo>
                    <a:pt x="419581" y="1197499"/>
                  </a:lnTo>
                  <a:cubicBezTo>
                    <a:pt x="463638" y="1188292"/>
                    <a:pt x="476249" y="1179227"/>
                    <a:pt x="476249" y="1087442"/>
                  </a:cubicBezTo>
                  <a:lnTo>
                    <a:pt x="476249" y="757271"/>
                  </a:lnTo>
                  <a:lnTo>
                    <a:pt x="188235" y="230925"/>
                  </a:lnTo>
                  <a:cubicBezTo>
                    <a:pt x="122218" y="113503"/>
                    <a:pt x="94590" y="82341"/>
                    <a:pt x="43308" y="67752"/>
                  </a:cubicBezTo>
                  <a:lnTo>
                    <a:pt x="-2593" y="54863"/>
                  </a:lnTo>
                  <a:lnTo>
                    <a:pt x="-2593" y="-237"/>
                  </a:lnTo>
                  <a:lnTo>
                    <a:pt x="479932" y="-237"/>
                  </a:lnTo>
                  <a:lnTo>
                    <a:pt x="479932" y="54863"/>
                  </a:lnTo>
                  <a:lnTo>
                    <a:pt x="434032" y="65911"/>
                  </a:lnTo>
                  <a:cubicBezTo>
                    <a:pt x="375379" y="78659"/>
                    <a:pt x="356961" y="98913"/>
                    <a:pt x="356961" y="131917"/>
                  </a:cubicBezTo>
                  <a:cubicBezTo>
                    <a:pt x="356961" y="155713"/>
                    <a:pt x="373539" y="185033"/>
                    <a:pt x="397338" y="231067"/>
                  </a:cubicBezTo>
                  <a:lnTo>
                    <a:pt x="617776" y="653305"/>
                  </a:lnTo>
                  <a:lnTo>
                    <a:pt x="625143" y="653305"/>
                  </a:lnTo>
                  <a:lnTo>
                    <a:pt x="837647" y="231492"/>
                  </a:lnTo>
                  <a:cubicBezTo>
                    <a:pt x="859602" y="185600"/>
                    <a:pt x="868813" y="156279"/>
                    <a:pt x="868813" y="132342"/>
                  </a:cubicBezTo>
                  <a:cubicBezTo>
                    <a:pt x="868813" y="97497"/>
                    <a:pt x="848694" y="79084"/>
                    <a:pt x="802793" y="68177"/>
                  </a:cubicBezTo>
                  <a:lnTo>
                    <a:pt x="744002" y="55288"/>
                  </a:lnTo>
                  <a:lnTo>
                    <a:pt x="744002" y="189"/>
                  </a:lnTo>
                  <a:lnTo>
                    <a:pt x="1136708" y="189"/>
                  </a:lnTo>
                  <a:lnTo>
                    <a:pt x="1136708" y="55288"/>
                  </a:lnTo>
                  <a:lnTo>
                    <a:pt x="1096334" y="68177"/>
                  </a:lnTo>
                  <a:cubicBezTo>
                    <a:pt x="1033856" y="88290"/>
                    <a:pt x="1002689" y="113928"/>
                    <a:pt x="931146" y="256987"/>
                  </a:cubicBezTo>
                  <a:lnTo>
                    <a:pt x="676142" y="743107"/>
                  </a:lnTo>
                  <a:lnTo>
                    <a:pt x="676142" y="1087867"/>
                  </a:lnTo>
                  <a:cubicBezTo>
                    <a:pt x="676142" y="1179652"/>
                    <a:pt x="683509" y="1188717"/>
                    <a:pt x="734937" y="1197924"/>
                  </a:cubicBezTo>
                  <a:lnTo>
                    <a:pt x="824752" y="1214496"/>
                  </a:lnTo>
                  <a:lnTo>
                    <a:pt x="824752" y="1271153"/>
                  </a:lnTo>
                  <a:lnTo>
                    <a:pt x="328911" y="1271153"/>
                  </a:ln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6" name="Freeform: Shape 15">
              <a:extLst>
                <a:ext uri="{FF2B5EF4-FFF2-40B4-BE49-F238E27FC236}">
                  <a16:creationId xmlns:a16="http://schemas.microsoft.com/office/drawing/2014/main" id="{536ADBA9-BD5E-4F5B-B3C6-6727491B57EA}"/>
                </a:ext>
              </a:extLst>
            </p:cNvPr>
            <p:cNvSpPr/>
            <p:nvPr/>
          </p:nvSpPr>
          <p:spPr>
            <a:xfrm>
              <a:off x="1721900" y="3006248"/>
              <a:ext cx="926375" cy="986828"/>
            </a:xfrm>
            <a:custGeom>
              <a:avLst/>
              <a:gdLst>
                <a:gd name="connsiteX0" fmla="*/ 722610 w 926375"/>
                <a:gd name="connsiteY0" fmla="*/ 508970 h 986828"/>
                <a:gd name="connsiteX1" fmla="*/ 454715 w 926375"/>
                <a:gd name="connsiteY1" fmla="*/ 76109 h 986828"/>
                <a:gd name="connsiteX2" fmla="*/ 199711 w 926375"/>
                <a:gd name="connsiteY2" fmla="*/ 468602 h 986828"/>
                <a:gd name="connsiteX3" fmla="*/ 468882 w 926375"/>
                <a:gd name="connsiteY3" fmla="*/ 907696 h 986828"/>
                <a:gd name="connsiteX4" fmla="*/ 722046 w 926375"/>
                <a:gd name="connsiteY4" fmla="*/ 509679 h 986828"/>
                <a:gd name="connsiteX5" fmla="*/ -2593 w 926375"/>
                <a:gd name="connsiteY5" fmla="*/ 495515 h 986828"/>
                <a:gd name="connsiteX6" fmla="*/ 461515 w 926375"/>
                <a:gd name="connsiteY6" fmla="*/ -237 h 986828"/>
                <a:gd name="connsiteX7" fmla="*/ 923782 w 926375"/>
                <a:gd name="connsiteY7" fmla="*/ 483900 h 986828"/>
                <a:gd name="connsiteX8" fmla="*/ 461515 w 926375"/>
                <a:gd name="connsiteY8" fmla="*/ 986591 h 986828"/>
                <a:gd name="connsiteX9" fmla="*/ -2593 w 926375"/>
                <a:gd name="connsiteY9" fmla="*/ 494948 h 986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6375" h="986828">
                  <a:moveTo>
                    <a:pt x="722610" y="508970"/>
                  </a:moveTo>
                  <a:cubicBezTo>
                    <a:pt x="722610" y="197355"/>
                    <a:pt x="634492" y="76109"/>
                    <a:pt x="454715" y="76109"/>
                  </a:cubicBezTo>
                  <a:cubicBezTo>
                    <a:pt x="289672" y="76109"/>
                    <a:pt x="199711" y="193531"/>
                    <a:pt x="199711" y="468602"/>
                  </a:cubicBezTo>
                  <a:cubicBezTo>
                    <a:pt x="199711" y="780217"/>
                    <a:pt x="289672" y="907696"/>
                    <a:pt x="468882" y="907696"/>
                  </a:cubicBezTo>
                  <a:cubicBezTo>
                    <a:pt x="633925" y="907696"/>
                    <a:pt x="722046" y="784750"/>
                    <a:pt x="722046" y="509679"/>
                  </a:cubicBezTo>
                  <a:moveTo>
                    <a:pt x="-2593" y="495515"/>
                  </a:moveTo>
                  <a:cubicBezTo>
                    <a:pt x="-2593" y="174551"/>
                    <a:pt x="221245" y="-237"/>
                    <a:pt x="461515" y="-237"/>
                  </a:cubicBezTo>
                  <a:cubicBezTo>
                    <a:pt x="722046" y="-237"/>
                    <a:pt x="923782" y="159253"/>
                    <a:pt x="923782" y="483900"/>
                  </a:cubicBezTo>
                  <a:cubicBezTo>
                    <a:pt x="923782" y="805005"/>
                    <a:pt x="699945" y="986591"/>
                    <a:pt x="461515" y="986591"/>
                  </a:cubicBezTo>
                  <a:cubicBezTo>
                    <a:pt x="199144" y="986591"/>
                    <a:pt x="-2593" y="819594"/>
                    <a:pt x="-2593" y="494948"/>
                  </a:cubicBezTo>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7" name="Freeform: Shape 16">
              <a:extLst>
                <a:ext uri="{FF2B5EF4-FFF2-40B4-BE49-F238E27FC236}">
                  <a16:creationId xmlns:a16="http://schemas.microsoft.com/office/drawing/2014/main" id="{D5AA8B4A-9A21-4C86-ABC7-8AD2968130E6}"/>
                </a:ext>
              </a:extLst>
            </p:cNvPr>
            <p:cNvSpPr/>
            <p:nvPr/>
          </p:nvSpPr>
          <p:spPr>
            <a:xfrm>
              <a:off x="2689950" y="3009222"/>
              <a:ext cx="1025401" cy="981446"/>
            </a:xfrm>
            <a:custGeom>
              <a:avLst/>
              <a:gdLst>
                <a:gd name="connsiteX0" fmla="*/ 122077 w 1025401"/>
                <a:gd name="connsiteY0" fmla="*/ 740699 h 981446"/>
                <a:gd name="connsiteX1" fmla="*/ 122077 w 1025401"/>
                <a:gd name="connsiteY1" fmla="*/ 201463 h 981446"/>
                <a:gd name="connsiteX2" fmla="*/ 72634 w 1025401"/>
                <a:gd name="connsiteY2" fmla="*/ 113503 h 981446"/>
                <a:gd name="connsiteX3" fmla="*/ -2593 w 1025401"/>
                <a:gd name="connsiteY3" fmla="*/ 80500 h 981446"/>
                <a:gd name="connsiteX4" fmla="*/ -2593 w 1025401"/>
                <a:gd name="connsiteY4" fmla="*/ 30924 h 981446"/>
                <a:gd name="connsiteX5" fmla="*/ 278054 w 1025401"/>
                <a:gd name="connsiteY5" fmla="*/ -237 h 981446"/>
                <a:gd name="connsiteX6" fmla="*/ 305537 w 1025401"/>
                <a:gd name="connsiteY6" fmla="*/ 18035 h 981446"/>
                <a:gd name="connsiteX7" fmla="*/ 305537 w 1025401"/>
                <a:gd name="connsiteY7" fmla="*/ 697923 h 981446"/>
                <a:gd name="connsiteX8" fmla="*/ 463358 w 1025401"/>
                <a:gd name="connsiteY8" fmla="*/ 861238 h 981446"/>
                <a:gd name="connsiteX9" fmla="*/ 716519 w 1025401"/>
                <a:gd name="connsiteY9" fmla="*/ 793390 h 981446"/>
                <a:gd name="connsiteX10" fmla="*/ 716519 w 1025401"/>
                <a:gd name="connsiteY10" fmla="*/ 201463 h 981446"/>
                <a:gd name="connsiteX11" fmla="*/ 666935 w 1025401"/>
                <a:gd name="connsiteY11" fmla="*/ 113503 h 981446"/>
                <a:gd name="connsiteX12" fmla="*/ 593551 w 1025401"/>
                <a:gd name="connsiteY12" fmla="*/ 80500 h 981446"/>
                <a:gd name="connsiteX13" fmla="*/ 593551 w 1025401"/>
                <a:gd name="connsiteY13" fmla="*/ 30924 h 981446"/>
                <a:gd name="connsiteX14" fmla="*/ 874337 w 1025401"/>
                <a:gd name="connsiteY14" fmla="*/ -237 h 981446"/>
                <a:gd name="connsiteX15" fmla="*/ 899979 w 1025401"/>
                <a:gd name="connsiteY15" fmla="*/ 18035 h 981446"/>
                <a:gd name="connsiteX16" fmla="*/ 899979 w 1025401"/>
                <a:gd name="connsiteY16" fmla="*/ 748064 h 981446"/>
                <a:gd name="connsiteX17" fmla="*/ 954949 w 1025401"/>
                <a:gd name="connsiteY17" fmla="*/ 861379 h 981446"/>
                <a:gd name="connsiteX18" fmla="*/ 1022809 w 1025401"/>
                <a:gd name="connsiteY18" fmla="*/ 892541 h 981446"/>
                <a:gd name="connsiteX19" fmla="*/ 1022809 w 1025401"/>
                <a:gd name="connsiteY19" fmla="*/ 942116 h 981446"/>
                <a:gd name="connsiteX20" fmla="*/ 736635 w 1025401"/>
                <a:gd name="connsiteY20" fmla="*/ 980643 h 981446"/>
                <a:gd name="connsiteX21" fmla="*/ 716519 w 1025401"/>
                <a:gd name="connsiteY21" fmla="*/ 966478 h 981446"/>
                <a:gd name="connsiteX22" fmla="*/ 725726 w 1025401"/>
                <a:gd name="connsiteY22" fmla="*/ 856421 h 981446"/>
                <a:gd name="connsiteX23" fmla="*/ 718362 w 1025401"/>
                <a:gd name="connsiteY23" fmla="*/ 856421 h 981446"/>
                <a:gd name="connsiteX24" fmla="*/ 369855 w 1025401"/>
                <a:gd name="connsiteY24" fmla="*/ 981209 h 981446"/>
                <a:gd name="connsiteX25" fmla="*/ 122077 w 1025401"/>
                <a:gd name="connsiteY25" fmla="*/ 740416 h 981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25401" h="981446">
                  <a:moveTo>
                    <a:pt x="122077" y="740699"/>
                  </a:moveTo>
                  <a:lnTo>
                    <a:pt x="122077" y="201463"/>
                  </a:lnTo>
                  <a:cubicBezTo>
                    <a:pt x="122077" y="133616"/>
                    <a:pt x="114851" y="131775"/>
                    <a:pt x="72634" y="113503"/>
                  </a:cubicBezTo>
                  <a:lnTo>
                    <a:pt x="-2593" y="80500"/>
                  </a:lnTo>
                  <a:lnTo>
                    <a:pt x="-2593" y="30924"/>
                  </a:lnTo>
                  <a:lnTo>
                    <a:pt x="278054" y="-237"/>
                  </a:lnTo>
                  <a:lnTo>
                    <a:pt x="305537" y="18035"/>
                  </a:lnTo>
                  <a:lnTo>
                    <a:pt x="305537" y="697923"/>
                  </a:lnTo>
                  <a:cubicBezTo>
                    <a:pt x="305537" y="804297"/>
                    <a:pt x="353281" y="861238"/>
                    <a:pt x="463358" y="861238"/>
                  </a:cubicBezTo>
                  <a:cubicBezTo>
                    <a:pt x="553174" y="861238"/>
                    <a:pt x="648659" y="822711"/>
                    <a:pt x="716519" y="793390"/>
                  </a:cubicBezTo>
                  <a:lnTo>
                    <a:pt x="716519" y="201463"/>
                  </a:lnTo>
                  <a:cubicBezTo>
                    <a:pt x="716519" y="133616"/>
                    <a:pt x="710995" y="131775"/>
                    <a:pt x="666935" y="113503"/>
                  </a:cubicBezTo>
                  <a:lnTo>
                    <a:pt x="593551" y="80500"/>
                  </a:lnTo>
                  <a:lnTo>
                    <a:pt x="593551" y="30924"/>
                  </a:lnTo>
                  <a:lnTo>
                    <a:pt x="874337" y="-237"/>
                  </a:lnTo>
                  <a:lnTo>
                    <a:pt x="899979" y="18035"/>
                  </a:lnTo>
                  <a:lnTo>
                    <a:pt x="899979" y="748064"/>
                  </a:lnTo>
                  <a:cubicBezTo>
                    <a:pt x="899979" y="830643"/>
                    <a:pt x="911030" y="841549"/>
                    <a:pt x="954949" y="861379"/>
                  </a:cubicBezTo>
                  <a:lnTo>
                    <a:pt x="1022809" y="892541"/>
                  </a:lnTo>
                  <a:lnTo>
                    <a:pt x="1022809" y="942116"/>
                  </a:lnTo>
                  <a:lnTo>
                    <a:pt x="736635" y="980643"/>
                  </a:lnTo>
                  <a:lnTo>
                    <a:pt x="716519" y="966478"/>
                  </a:lnTo>
                  <a:lnTo>
                    <a:pt x="725726" y="856421"/>
                  </a:lnTo>
                  <a:lnTo>
                    <a:pt x="718362" y="856421"/>
                  </a:lnTo>
                  <a:cubicBezTo>
                    <a:pt x="621176" y="920586"/>
                    <a:pt x="498208" y="981209"/>
                    <a:pt x="369855" y="981209"/>
                  </a:cubicBezTo>
                  <a:cubicBezTo>
                    <a:pt x="215718" y="981209"/>
                    <a:pt x="122077" y="896223"/>
                    <a:pt x="122077" y="740416"/>
                  </a:cubicBezTo>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8" name="Freeform: Shape 17">
              <a:extLst>
                <a:ext uri="{FF2B5EF4-FFF2-40B4-BE49-F238E27FC236}">
                  <a16:creationId xmlns:a16="http://schemas.microsoft.com/office/drawing/2014/main" id="{946FCCF5-48EF-48E2-87BE-2AD683778623}"/>
                </a:ext>
              </a:extLst>
            </p:cNvPr>
            <p:cNvSpPr/>
            <p:nvPr/>
          </p:nvSpPr>
          <p:spPr>
            <a:xfrm>
              <a:off x="3797828" y="3005114"/>
              <a:ext cx="697435" cy="962890"/>
            </a:xfrm>
            <a:custGeom>
              <a:avLst/>
              <a:gdLst>
                <a:gd name="connsiteX0" fmla="*/ -1745 w 697435"/>
                <a:gd name="connsiteY0" fmla="*/ 908121 h 962890"/>
                <a:gd name="connsiteX1" fmla="*/ 73482 w 697435"/>
                <a:gd name="connsiteY1" fmla="*/ 887867 h 962890"/>
                <a:gd name="connsiteX2" fmla="*/ 122924 w 697435"/>
                <a:gd name="connsiteY2" fmla="*/ 792540 h 962890"/>
                <a:gd name="connsiteX3" fmla="*/ 122924 w 697435"/>
                <a:gd name="connsiteY3" fmla="*/ 223985 h 962890"/>
                <a:gd name="connsiteX4" fmla="*/ 67958 w 697435"/>
                <a:gd name="connsiteY4" fmla="*/ 124834 h 962890"/>
                <a:gd name="connsiteX5" fmla="*/ -1745 w 697435"/>
                <a:gd name="connsiteY5" fmla="*/ 89990 h 962890"/>
                <a:gd name="connsiteX6" fmla="*/ -1745 w 697435"/>
                <a:gd name="connsiteY6" fmla="*/ 42398 h 962890"/>
                <a:gd name="connsiteX7" fmla="*/ 288109 w 697435"/>
                <a:gd name="connsiteY7" fmla="*/ 3871 h 962890"/>
                <a:gd name="connsiteX8" fmla="*/ 306385 w 697435"/>
                <a:gd name="connsiteY8" fmla="*/ 18035 h 962890"/>
                <a:gd name="connsiteX9" fmla="*/ 297319 w 697435"/>
                <a:gd name="connsiteY9" fmla="*/ 124410 h 962890"/>
                <a:gd name="connsiteX10" fmla="*/ 304544 w 697435"/>
                <a:gd name="connsiteY10" fmla="*/ 124410 h 962890"/>
                <a:gd name="connsiteX11" fmla="*/ 573716 w 697435"/>
                <a:gd name="connsiteY11" fmla="*/ -237 h 962890"/>
                <a:gd name="connsiteX12" fmla="*/ 694843 w 697435"/>
                <a:gd name="connsiteY12" fmla="*/ 109820 h 962890"/>
                <a:gd name="connsiteX13" fmla="*/ 595675 w 697435"/>
                <a:gd name="connsiteY13" fmla="*/ 212511 h 962890"/>
                <a:gd name="connsiteX14" fmla="*/ 491121 w 697435"/>
                <a:gd name="connsiteY14" fmla="*/ 153871 h 962890"/>
                <a:gd name="connsiteX15" fmla="*/ 448621 w 697435"/>
                <a:gd name="connsiteY15" fmla="*/ 122568 h 962890"/>
                <a:gd name="connsiteX16" fmla="*/ 305537 w 697435"/>
                <a:gd name="connsiteY16" fmla="*/ 203304 h 962890"/>
                <a:gd name="connsiteX17" fmla="*/ 305537 w 697435"/>
                <a:gd name="connsiteY17" fmla="*/ 792116 h 962890"/>
                <a:gd name="connsiteX18" fmla="*/ 353278 w 697435"/>
                <a:gd name="connsiteY18" fmla="*/ 887442 h 962890"/>
                <a:gd name="connsiteX19" fmla="*/ 446781 w 697435"/>
                <a:gd name="connsiteY19" fmla="*/ 907696 h 962890"/>
                <a:gd name="connsiteX20" fmla="*/ 446781 w 697435"/>
                <a:gd name="connsiteY20" fmla="*/ 962654 h 962890"/>
                <a:gd name="connsiteX21" fmla="*/ -2593 w 697435"/>
                <a:gd name="connsiteY21" fmla="*/ 962654 h 962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7435" h="962890">
                  <a:moveTo>
                    <a:pt x="-1745" y="908121"/>
                  </a:moveTo>
                  <a:lnTo>
                    <a:pt x="73482" y="887867"/>
                  </a:lnTo>
                  <a:cubicBezTo>
                    <a:pt x="110175" y="878660"/>
                    <a:pt x="122924" y="864070"/>
                    <a:pt x="122924" y="792540"/>
                  </a:cubicBezTo>
                  <a:lnTo>
                    <a:pt x="122924" y="223985"/>
                  </a:lnTo>
                  <a:cubicBezTo>
                    <a:pt x="122924" y="150613"/>
                    <a:pt x="113859" y="146931"/>
                    <a:pt x="67958" y="124834"/>
                  </a:cubicBezTo>
                  <a:lnTo>
                    <a:pt x="-1745" y="89990"/>
                  </a:lnTo>
                  <a:lnTo>
                    <a:pt x="-1745" y="42398"/>
                  </a:lnTo>
                  <a:lnTo>
                    <a:pt x="288109" y="3871"/>
                  </a:lnTo>
                  <a:lnTo>
                    <a:pt x="306385" y="18035"/>
                  </a:lnTo>
                  <a:lnTo>
                    <a:pt x="297319" y="124410"/>
                  </a:lnTo>
                  <a:lnTo>
                    <a:pt x="304544" y="124410"/>
                  </a:lnTo>
                  <a:cubicBezTo>
                    <a:pt x="368863" y="60245"/>
                    <a:pt x="482482" y="-237"/>
                    <a:pt x="573716" y="-237"/>
                  </a:cubicBezTo>
                  <a:cubicBezTo>
                    <a:pt x="648943" y="-237"/>
                    <a:pt x="694843" y="40132"/>
                    <a:pt x="694843" y="109820"/>
                  </a:cubicBezTo>
                  <a:cubicBezTo>
                    <a:pt x="694843" y="179509"/>
                    <a:pt x="648943" y="212511"/>
                    <a:pt x="595675" y="212511"/>
                  </a:cubicBezTo>
                  <a:cubicBezTo>
                    <a:pt x="527815" y="212511"/>
                    <a:pt x="507696" y="194098"/>
                    <a:pt x="491121" y="153871"/>
                  </a:cubicBezTo>
                  <a:cubicBezTo>
                    <a:pt x="480213" y="128092"/>
                    <a:pt x="467322" y="122568"/>
                    <a:pt x="448621" y="122568"/>
                  </a:cubicBezTo>
                  <a:cubicBezTo>
                    <a:pt x="411927" y="122568"/>
                    <a:pt x="338544" y="166619"/>
                    <a:pt x="305537" y="203304"/>
                  </a:cubicBezTo>
                  <a:lnTo>
                    <a:pt x="305537" y="792116"/>
                  </a:lnTo>
                  <a:cubicBezTo>
                    <a:pt x="305537" y="869170"/>
                    <a:pt x="316584" y="880076"/>
                    <a:pt x="353278" y="887442"/>
                  </a:cubicBezTo>
                  <a:lnTo>
                    <a:pt x="446781" y="907696"/>
                  </a:lnTo>
                  <a:lnTo>
                    <a:pt x="446781" y="962654"/>
                  </a:lnTo>
                  <a:lnTo>
                    <a:pt x="-2593" y="962654"/>
                  </a:ln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9" name="Freeform: Shape 18">
              <a:extLst>
                <a:ext uri="{FF2B5EF4-FFF2-40B4-BE49-F238E27FC236}">
                  <a16:creationId xmlns:a16="http://schemas.microsoft.com/office/drawing/2014/main" id="{E6C9BFD1-C9BB-438B-AD5A-1A227956C157}"/>
                </a:ext>
              </a:extLst>
            </p:cNvPr>
            <p:cNvSpPr/>
            <p:nvPr/>
          </p:nvSpPr>
          <p:spPr>
            <a:xfrm>
              <a:off x="4980338" y="2561771"/>
              <a:ext cx="982613" cy="1406800"/>
            </a:xfrm>
            <a:custGeom>
              <a:avLst/>
              <a:gdLst>
                <a:gd name="connsiteX0" fmla="*/ 310777 w 982613"/>
                <a:gd name="connsiteY0" fmla="*/ 472852 h 1406800"/>
                <a:gd name="connsiteX1" fmla="*/ 647808 w 982613"/>
                <a:gd name="connsiteY1" fmla="*/ 472852 h 1406800"/>
                <a:gd name="connsiteX2" fmla="*/ 846145 w 982613"/>
                <a:gd name="connsiteY2" fmla="*/ 447214 h 1406800"/>
                <a:gd name="connsiteX3" fmla="*/ 866260 w 982613"/>
                <a:gd name="connsiteY3" fmla="*/ 458121 h 1406800"/>
                <a:gd name="connsiteX4" fmla="*/ 857195 w 982613"/>
                <a:gd name="connsiteY4" fmla="*/ 626959 h 1406800"/>
                <a:gd name="connsiteX5" fmla="*/ 857195 w 982613"/>
                <a:gd name="connsiteY5" fmla="*/ 1236025 h 1406800"/>
                <a:gd name="connsiteX6" fmla="*/ 904794 w 982613"/>
                <a:gd name="connsiteY6" fmla="*/ 1331351 h 1406800"/>
                <a:gd name="connsiteX7" fmla="*/ 980021 w 982613"/>
                <a:gd name="connsiteY7" fmla="*/ 1351606 h 1406800"/>
                <a:gd name="connsiteX8" fmla="*/ 980021 w 982613"/>
                <a:gd name="connsiteY8" fmla="*/ 1406564 h 1406800"/>
                <a:gd name="connsiteX9" fmla="*/ 555014 w 982613"/>
                <a:gd name="connsiteY9" fmla="*/ 1406564 h 1406800"/>
                <a:gd name="connsiteX10" fmla="*/ 555014 w 982613"/>
                <a:gd name="connsiteY10" fmla="*/ 1351606 h 1406800"/>
                <a:gd name="connsiteX11" fmla="*/ 624718 w 982613"/>
                <a:gd name="connsiteY11" fmla="*/ 1331351 h 1406800"/>
                <a:gd name="connsiteX12" fmla="*/ 674302 w 982613"/>
                <a:gd name="connsiteY12" fmla="*/ 1236025 h 1406800"/>
                <a:gd name="connsiteX13" fmla="*/ 674302 w 982613"/>
                <a:gd name="connsiteY13" fmla="*/ 667328 h 1406800"/>
                <a:gd name="connsiteX14" fmla="*/ 600915 w 982613"/>
                <a:gd name="connsiteY14" fmla="*/ 570019 h 1406800"/>
                <a:gd name="connsiteX15" fmla="*/ 311061 w 982613"/>
                <a:gd name="connsiteY15" fmla="*/ 570019 h 1406800"/>
                <a:gd name="connsiteX16" fmla="*/ 311061 w 982613"/>
                <a:gd name="connsiteY16" fmla="*/ 1226677 h 1406800"/>
                <a:gd name="connsiteX17" fmla="*/ 358805 w 982613"/>
                <a:gd name="connsiteY17" fmla="*/ 1331210 h 1406800"/>
                <a:gd name="connsiteX18" fmla="*/ 434028 w 982613"/>
                <a:gd name="connsiteY18" fmla="*/ 1351465 h 1406800"/>
                <a:gd name="connsiteX19" fmla="*/ 434028 w 982613"/>
                <a:gd name="connsiteY19" fmla="*/ 1406422 h 1406800"/>
                <a:gd name="connsiteX20" fmla="*/ 2789 w 982613"/>
                <a:gd name="connsiteY20" fmla="*/ 1406422 h 1406800"/>
                <a:gd name="connsiteX21" fmla="*/ 2789 w 982613"/>
                <a:gd name="connsiteY21" fmla="*/ 1351465 h 1406800"/>
                <a:gd name="connsiteX22" fmla="*/ 78016 w 982613"/>
                <a:gd name="connsiteY22" fmla="*/ 1331210 h 1406800"/>
                <a:gd name="connsiteX23" fmla="*/ 127600 w 982613"/>
                <a:gd name="connsiteY23" fmla="*/ 1235884 h 1406800"/>
                <a:gd name="connsiteX24" fmla="*/ 127600 w 982613"/>
                <a:gd name="connsiteY24" fmla="*/ 570160 h 1406800"/>
                <a:gd name="connsiteX25" fmla="*/ -2593 w 982613"/>
                <a:gd name="connsiteY25" fmla="*/ 570160 h 1406800"/>
                <a:gd name="connsiteX26" fmla="*/ -2593 w 982613"/>
                <a:gd name="connsiteY26" fmla="*/ 515203 h 1406800"/>
                <a:gd name="connsiteX27" fmla="*/ 127600 w 982613"/>
                <a:gd name="connsiteY27" fmla="*/ 471152 h 1406800"/>
                <a:gd name="connsiteX28" fmla="*/ 127600 w 982613"/>
                <a:gd name="connsiteY28" fmla="*/ 397781 h 1406800"/>
                <a:gd name="connsiteX29" fmla="*/ 567908 w 982613"/>
                <a:gd name="connsiteY29" fmla="*/ -237 h 1406800"/>
                <a:gd name="connsiteX30" fmla="*/ 778852 w 982613"/>
                <a:gd name="connsiteY30" fmla="*/ 115344 h 1406800"/>
                <a:gd name="connsiteX31" fmla="*/ 679684 w 982613"/>
                <a:gd name="connsiteY31" fmla="*/ 216194 h 1406800"/>
                <a:gd name="connsiteX32" fmla="*/ 566348 w 982613"/>
                <a:gd name="connsiteY32" fmla="*/ 113503 h 1406800"/>
                <a:gd name="connsiteX33" fmla="*/ 514924 w 982613"/>
                <a:gd name="connsiteY33" fmla="*/ 65769 h 1406800"/>
                <a:gd name="connsiteX34" fmla="*/ 311344 w 982613"/>
                <a:gd name="connsiteY34" fmla="*/ 300613 h 140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82613" h="1406800">
                  <a:moveTo>
                    <a:pt x="310777" y="472852"/>
                  </a:moveTo>
                  <a:lnTo>
                    <a:pt x="647808" y="472852"/>
                  </a:lnTo>
                  <a:lnTo>
                    <a:pt x="846145" y="447214"/>
                  </a:lnTo>
                  <a:lnTo>
                    <a:pt x="866260" y="458121"/>
                  </a:lnTo>
                  <a:cubicBezTo>
                    <a:pt x="860170" y="514197"/>
                    <a:pt x="857195" y="570557"/>
                    <a:pt x="857195" y="626959"/>
                  </a:cubicBezTo>
                  <a:lnTo>
                    <a:pt x="857195" y="1236025"/>
                  </a:lnTo>
                  <a:cubicBezTo>
                    <a:pt x="857195" y="1313079"/>
                    <a:pt x="868104" y="1322286"/>
                    <a:pt x="904794" y="1331351"/>
                  </a:cubicBezTo>
                  <a:lnTo>
                    <a:pt x="980021" y="1351606"/>
                  </a:lnTo>
                  <a:lnTo>
                    <a:pt x="980021" y="1406564"/>
                  </a:lnTo>
                  <a:lnTo>
                    <a:pt x="555014" y="1406564"/>
                  </a:lnTo>
                  <a:lnTo>
                    <a:pt x="555014" y="1351606"/>
                  </a:lnTo>
                  <a:lnTo>
                    <a:pt x="624718" y="1331351"/>
                  </a:lnTo>
                  <a:cubicBezTo>
                    <a:pt x="659568" y="1322286"/>
                    <a:pt x="674302" y="1307555"/>
                    <a:pt x="674302" y="1236025"/>
                  </a:cubicBezTo>
                  <a:lnTo>
                    <a:pt x="674302" y="667328"/>
                  </a:lnTo>
                  <a:cubicBezTo>
                    <a:pt x="674302" y="593956"/>
                    <a:pt x="648517" y="570019"/>
                    <a:pt x="600915" y="570019"/>
                  </a:cubicBezTo>
                  <a:lnTo>
                    <a:pt x="311061" y="570019"/>
                  </a:lnTo>
                  <a:lnTo>
                    <a:pt x="311061" y="1226677"/>
                  </a:lnTo>
                  <a:cubicBezTo>
                    <a:pt x="311061" y="1312938"/>
                    <a:pt x="318428" y="1320303"/>
                    <a:pt x="358805" y="1331210"/>
                  </a:cubicBezTo>
                  <a:lnTo>
                    <a:pt x="434028" y="1351465"/>
                  </a:lnTo>
                  <a:lnTo>
                    <a:pt x="434028" y="1406422"/>
                  </a:lnTo>
                  <a:lnTo>
                    <a:pt x="2789" y="1406422"/>
                  </a:lnTo>
                  <a:lnTo>
                    <a:pt x="2789" y="1351465"/>
                  </a:lnTo>
                  <a:lnTo>
                    <a:pt x="78016" y="1331210"/>
                  </a:lnTo>
                  <a:cubicBezTo>
                    <a:pt x="114709" y="1322144"/>
                    <a:pt x="127600" y="1307413"/>
                    <a:pt x="127600" y="1235884"/>
                  </a:cubicBezTo>
                  <a:lnTo>
                    <a:pt x="127600" y="570160"/>
                  </a:lnTo>
                  <a:lnTo>
                    <a:pt x="-2593" y="570160"/>
                  </a:lnTo>
                  <a:lnTo>
                    <a:pt x="-2593" y="515203"/>
                  </a:lnTo>
                  <a:lnTo>
                    <a:pt x="127600" y="471152"/>
                  </a:lnTo>
                  <a:lnTo>
                    <a:pt x="127600" y="397781"/>
                  </a:lnTo>
                  <a:cubicBezTo>
                    <a:pt x="127600" y="142823"/>
                    <a:pt x="305537" y="-237"/>
                    <a:pt x="567908" y="-237"/>
                  </a:cubicBezTo>
                  <a:cubicBezTo>
                    <a:pt x="714675" y="-237"/>
                    <a:pt x="778852" y="51180"/>
                    <a:pt x="778852" y="115344"/>
                  </a:cubicBezTo>
                  <a:cubicBezTo>
                    <a:pt x="778852" y="185032"/>
                    <a:pt x="738475" y="216194"/>
                    <a:pt x="679684" y="216194"/>
                  </a:cubicBezTo>
                  <a:cubicBezTo>
                    <a:pt x="608849" y="216194"/>
                    <a:pt x="574992" y="175826"/>
                    <a:pt x="566348" y="113503"/>
                  </a:cubicBezTo>
                  <a:cubicBezTo>
                    <a:pt x="562665" y="84182"/>
                    <a:pt x="549774" y="65769"/>
                    <a:pt x="514924" y="65769"/>
                  </a:cubicBezTo>
                  <a:cubicBezTo>
                    <a:pt x="406687" y="65769"/>
                    <a:pt x="311344" y="109820"/>
                    <a:pt x="311344" y="300613"/>
                  </a:cubicBez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20" name="Freeform: Shape 19">
              <a:extLst>
                <a:ext uri="{FF2B5EF4-FFF2-40B4-BE49-F238E27FC236}">
                  <a16:creationId xmlns:a16="http://schemas.microsoft.com/office/drawing/2014/main" id="{46279AA3-3300-4D7C-937A-A489B7CA46EA}"/>
                </a:ext>
              </a:extLst>
            </p:cNvPr>
            <p:cNvSpPr/>
            <p:nvPr/>
          </p:nvSpPr>
          <p:spPr>
            <a:xfrm>
              <a:off x="6051098" y="3005114"/>
              <a:ext cx="697435" cy="962890"/>
            </a:xfrm>
            <a:custGeom>
              <a:avLst/>
              <a:gdLst>
                <a:gd name="connsiteX0" fmla="*/ -1604 w 697435"/>
                <a:gd name="connsiteY0" fmla="*/ 908121 h 962890"/>
                <a:gd name="connsiteX1" fmla="*/ 73623 w 697435"/>
                <a:gd name="connsiteY1" fmla="*/ 887867 h 962890"/>
                <a:gd name="connsiteX2" fmla="*/ 123066 w 697435"/>
                <a:gd name="connsiteY2" fmla="*/ 792540 h 962890"/>
                <a:gd name="connsiteX3" fmla="*/ 123066 w 697435"/>
                <a:gd name="connsiteY3" fmla="*/ 223985 h 962890"/>
                <a:gd name="connsiteX4" fmla="*/ 68100 w 697435"/>
                <a:gd name="connsiteY4" fmla="*/ 124834 h 962890"/>
                <a:gd name="connsiteX5" fmla="*/ -1604 w 697435"/>
                <a:gd name="connsiteY5" fmla="*/ 89990 h 962890"/>
                <a:gd name="connsiteX6" fmla="*/ -1604 w 697435"/>
                <a:gd name="connsiteY6" fmla="*/ 42398 h 962890"/>
                <a:gd name="connsiteX7" fmla="*/ 288250 w 697435"/>
                <a:gd name="connsiteY7" fmla="*/ 3871 h 962890"/>
                <a:gd name="connsiteX8" fmla="*/ 306526 w 697435"/>
                <a:gd name="connsiteY8" fmla="*/ 18035 h 962890"/>
                <a:gd name="connsiteX9" fmla="*/ 297319 w 697435"/>
                <a:gd name="connsiteY9" fmla="*/ 124410 h 962890"/>
                <a:gd name="connsiteX10" fmla="*/ 304686 w 697435"/>
                <a:gd name="connsiteY10" fmla="*/ 124410 h 962890"/>
                <a:gd name="connsiteX11" fmla="*/ 573857 w 697435"/>
                <a:gd name="connsiteY11" fmla="*/ -237 h 962890"/>
                <a:gd name="connsiteX12" fmla="*/ 694843 w 697435"/>
                <a:gd name="connsiteY12" fmla="*/ 109820 h 962890"/>
                <a:gd name="connsiteX13" fmla="*/ 595675 w 697435"/>
                <a:gd name="connsiteY13" fmla="*/ 212511 h 962890"/>
                <a:gd name="connsiteX14" fmla="*/ 491121 w 697435"/>
                <a:gd name="connsiteY14" fmla="*/ 153871 h 962890"/>
                <a:gd name="connsiteX15" fmla="*/ 448621 w 697435"/>
                <a:gd name="connsiteY15" fmla="*/ 122568 h 962890"/>
                <a:gd name="connsiteX16" fmla="*/ 305537 w 697435"/>
                <a:gd name="connsiteY16" fmla="*/ 203304 h 962890"/>
                <a:gd name="connsiteX17" fmla="*/ 305537 w 697435"/>
                <a:gd name="connsiteY17" fmla="*/ 792116 h 962890"/>
                <a:gd name="connsiteX18" fmla="*/ 353278 w 697435"/>
                <a:gd name="connsiteY18" fmla="*/ 887442 h 962890"/>
                <a:gd name="connsiteX19" fmla="*/ 446781 w 697435"/>
                <a:gd name="connsiteY19" fmla="*/ 907696 h 962890"/>
                <a:gd name="connsiteX20" fmla="*/ 446781 w 697435"/>
                <a:gd name="connsiteY20" fmla="*/ 962654 h 962890"/>
                <a:gd name="connsiteX21" fmla="*/ -2593 w 697435"/>
                <a:gd name="connsiteY21" fmla="*/ 962654 h 962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7435" h="962890">
                  <a:moveTo>
                    <a:pt x="-1604" y="908121"/>
                  </a:moveTo>
                  <a:lnTo>
                    <a:pt x="73623" y="887867"/>
                  </a:lnTo>
                  <a:cubicBezTo>
                    <a:pt x="110317" y="878660"/>
                    <a:pt x="123066" y="864070"/>
                    <a:pt x="123066" y="792540"/>
                  </a:cubicBezTo>
                  <a:lnTo>
                    <a:pt x="123066" y="223985"/>
                  </a:lnTo>
                  <a:cubicBezTo>
                    <a:pt x="123066" y="150613"/>
                    <a:pt x="113859" y="146931"/>
                    <a:pt x="68100" y="124834"/>
                  </a:cubicBezTo>
                  <a:lnTo>
                    <a:pt x="-1604" y="89990"/>
                  </a:lnTo>
                  <a:lnTo>
                    <a:pt x="-1604" y="42398"/>
                  </a:lnTo>
                  <a:lnTo>
                    <a:pt x="288250" y="3871"/>
                  </a:lnTo>
                  <a:lnTo>
                    <a:pt x="306526" y="18035"/>
                  </a:lnTo>
                  <a:lnTo>
                    <a:pt x="297319" y="124410"/>
                  </a:lnTo>
                  <a:lnTo>
                    <a:pt x="304686" y="124410"/>
                  </a:lnTo>
                  <a:cubicBezTo>
                    <a:pt x="368863" y="60245"/>
                    <a:pt x="482623" y="-237"/>
                    <a:pt x="573857" y="-237"/>
                  </a:cubicBezTo>
                  <a:cubicBezTo>
                    <a:pt x="649084" y="-237"/>
                    <a:pt x="694843" y="40132"/>
                    <a:pt x="694843" y="109820"/>
                  </a:cubicBezTo>
                  <a:cubicBezTo>
                    <a:pt x="694843" y="179509"/>
                    <a:pt x="649084" y="212511"/>
                    <a:pt x="595675" y="212511"/>
                  </a:cubicBezTo>
                  <a:cubicBezTo>
                    <a:pt x="527815" y="212511"/>
                    <a:pt x="507696" y="194098"/>
                    <a:pt x="491121" y="153871"/>
                  </a:cubicBezTo>
                  <a:cubicBezTo>
                    <a:pt x="480071" y="128092"/>
                    <a:pt x="467322" y="122568"/>
                    <a:pt x="448621" y="122568"/>
                  </a:cubicBezTo>
                  <a:cubicBezTo>
                    <a:pt x="411931" y="122568"/>
                    <a:pt x="338544" y="166619"/>
                    <a:pt x="305537" y="203304"/>
                  </a:cubicBezTo>
                  <a:lnTo>
                    <a:pt x="305537" y="792116"/>
                  </a:lnTo>
                  <a:cubicBezTo>
                    <a:pt x="305537" y="869170"/>
                    <a:pt x="316584" y="880076"/>
                    <a:pt x="353278" y="887442"/>
                  </a:cubicBezTo>
                  <a:lnTo>
                    <a:pt x="446781" y="907696"/>
                  </a:lnTo>
                  <a:lnTo>
                    <a:pt x="446781" y="962654"/>
                  </a:lnTo>
                  <a:lnTo>
                    <a:pt x="-2593" y="962654"/>
                  </a:ln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21" name="Freeform: Shape 20">
              <a:extLst>
                <a:ext uri="{FF2B5EF4-FFF2-40B4-BE49-F238E27FC236}">
                  <a16:creationId xmlns:a16="http://schemas.microsoft.com/office/drawing/2014/main" id="{B5E217A5-A8A8-44A5-ACCB-4BA33AF862DA}"/>
                </a:ext>
              </a:extLst>
            </p:cNvPr>
            <p:cNvSpPr/>
            <p:nvPr/>
          </p:nvSpPr>
          <p:spPr>
            <a:xfrm>
              <a:off x="6823717" y="3006956"/>
              <a:ext cx="1561052" cy="961615"/>
            </a:xfrm>
            <a:custGeom>
              <a:avLst/>
              <a:gdLst>
                <a:gd name="connsiteX0" fmla="*/ -2593 w 1561052"/>
                <a:gd name="connsiteY0" fmla="*/ 906280 h 961615"/>
                <a:gd name="connsiteX1" fmla="*/ 72492 w 1561052"/>
                <a:gd name="connsiteY1" fmla="*/ 886025 h 961615"/>
                <a:gd name="connsiteX2" fmla="*/ 122077 w 1561052"/>
                <a:gd name="connsiteY2" fmla="*/ 790699 h 961615"/>
                <a:gd name="connsiteX3" fmla="*/ 122077 w 1561052"/>
                <a:gd name="connsiteY3" fmla="*/ 222143 h 961615"/>
                <a:gd name="connsiteX4" fmla="*/ 66969 w 1561052"/>
                <a:gd name="connsiteY4" fmla="*/ 122993 h 961615"/>
                <a:gd name="connsiteX5" fmla="*/ -2593 w 1561052"/>
                <a:gd name="connsiteY5" fmla="*/ 88148 h 961615"/>
                <a:gd name="connsiteX6" fmla="*/ -2593 w 1561052"/>
                <a:gd name="connsiteY6" fmla="*/ 40557 h 961615"/>
                <a:gd name="connsiteX7" fmla="*/ 287123 w 1561052"/>
                <a:gd name="connsiteY7" fmla="*/ 2030 h 961615"/>
                <a:gd name="connsiteX8" fmla="*/ 305537 w 1561052"/>
                <a:gd name="connsiteY8" fmla="*/ 16194 h 961615"/>
                <a:gd name="connsiteX9" fmla="*/ 296330 w 1561052"/>
                <a:gd name="connsiteY9" fmla="*/ 115344 h 961615"/>
                <a:gd name="connsiteX10" fmla="*/ 303697 w 1561052"/>
                <a:gd name="connsiteY10" fmla="*/ 115344 h 961615"/>
                <a:gd name="connsiteX11" fmla="*/ 633928 w 1561052"/>
                <a:gd name="connsiteY11" fmla="*/ -237 h 961615"/>
                <a:gd name="connsiteX12" fmla="*/ 855922 w 1561052"/>
                <a:gd name="connsiteY12" fmla="*/ 118885 h 961615"/>
                <a:gd name="connsiteX13" fmla="*/ 863148 w 1561052"/>
                <a:gd name="connsiteY13" fmla="*/ 118885 h 961615"/>
                <a:gd name="connsiteX14" fmla="*/ 1211796 w 1561052"/>
                <a:gd name="connsiteY14" fmla="*/ -237 h 961615"/>
                <a:gd name="connsiteX15" fmla="*/ 1435489 w 1561052"/>
                <a:gd name="connsiteY15" fmla="*/ 245514 h 961615"/>
                <a:gd name="connsiteX16" fmla="*/ 1435489 w 1561052"/>
                <a:gd name="connsiteY16" fmla="*/ 790274 h 961615"/>
                <a:gd name="connsiteX17" fmla="*/ 1483233 w 1561052"/>
                <a:gd name="connsiteY17" fmla="*/ 885600 h 961615"/>
                <a:gd name="connsiteX18" fmla="*/ 1558460 w 1561052"/>
                <a:gd name="connsiteY18" fmla="*/ 905855 h 961615"/>
                <a:gd name="connsiteX19" fmla="*/ 1558460 w 1561052"/>
                <a:gd name="connsiteY19" fmla="*/ 960813 h 961615"/>
                <a:gd name="connsiteX20" fmla="*/ 1127359 w 1561052"/>
                <a:gd name="connsiteY20" fmla="*/ 960813 h 961615"/>
                <a:gd name="connsiteX21" fmla="*/ 1127359 w 1561052"/>
                <a:gd name="connsiteY21" fmla="*/ 905855 h 961615"/>
                <a:gd name="connsiteX22" fmla="*/ 1202586 w 1561052"/>
                <a:gd name="connsiteY22" fmla="*/ 885600 h 961615"/>
                <a:gd name="connsiteX23" fmla="*/ 1252170 w 1561052"/>
                <a:gd name="connsiteY23" fmla="*/ 790274 h 961615"/>
                <a:gd name="connsiteX24" fmla="*/ 1252170 w 1561052"/>
                <a:gd name="connsiteY24" fmla="*/ 297356 h 961615"/>
                <a:gd name="connsiteX25" fmla="*/ 1109086 w 1561052"/>
                <a:gd name="connsiteY25" fmla="*/ 121152 h 961615"/>
                <a:gd name="connsiteX26" fmla="*/ 870515 w 1561052"/>
                <a:gd name="connsiteY26" fmla="*/ 181775 h 961615"/>
                <a:gd name="connsiteX27" fmla="*/ 870515 w 1561052"/>
                <a:gd name="connsiteY27" fmla="*/ 790841 h 961615"/>
                <a:gd name="connsiteX28" fmla="*/ 918255 w 1561052"/>
                <a:gd name="connsiteY28" fmla="*/ 886166 h 961615"/>
                <a:gd name="connsiteX29" fmla="*/ 993482 w 1561052"/>
                <a:gd name="connsiteY29" fmla="*/ 906422 h 961615"/>
                <a:gd name="connsiteX30" fmla="*/ 993482 w 1561052"/>
                <a:gd name="connsiteY30" fmla="*/ 961379 h 961615"/>
                <a:gd name="connsiteX31" fmla="*/ 562385 w 1561052"/>
                <a:gd name="connsiteY31" fmla="*/ 961379 h 961615"/>
                <a:gd name="connsiteX32" fmla="*/ 562385 w 1561052"/>
                <a:gd name="connsiteY32" fmla="*/ 906422 h 961615"/>
                <a:gd name="connsiteX33" fmla="*/ 637612 w 1561052"/>
                <a:gd name="connsiteY33" fmla="*/ 886166 h 961615"/>
                <a:gd name="connsiteX34" fmla="*/ 687054 w 1561052"/>
                <a:gd name="connsiteY34" fmla="*/ 790841 h 961615"/>
                <a:gd name="connsiteX35" fmla="*/ 687054 w 1561052"/>
                <a:gd name="connsiteY35" fmla="*/ 297356 h 961615"/>
                <a:gd name="connsiteX36" fmla="*/ 543967 w 1561052"/>
                <a:gd name="connsiteY36" fmla="*/ 121152 h 961615"/>
                <a:gd name="connsiteX37" fmla="*/ 305537 w 1561052"/>
                <a:gd name="connsiteY37" fmla="*/ 177809 h 961615"/>
                <a:gd name="connsiteX38" fmla="*/ 305537 w 1561052"/>
                <a:gd name="connsiteY38" fmla="*/ 790416 h 961615"/>
                <a:gd name="connsiteX39" fmla="*/ 353281 w 1561052"/>
                <a:gd name="connsiteY39" fmla="*/ 885742 h 961615"/>
                <a:gd name="connsiteX40" fmla="*/ 428366 w 1561052"/>
                <a:gd name="connsiteY40" fmla="*/ 905997 h 961615"/>
                <a:gd name="connsiteX41" fmla="*/ 428366 w 1561052"/>
                <a:gd name="connsiteY41" fmla="*/ 960954 h 961615"/>
                <a:gd name="connsiteX42" fmla="*/ -2593 w 1561052"/>
                <a:gd name="connsiteY42" fmla="*/ 960954 h 961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561052" h="961615">
                  <a:moveTo>
                    <a:pt x="-2593" y="906280"/>
                  </a:moveTo>
                  <a:lnTo>
                    <a:pt x="72492" y="886025"/>
                  </a:lnTo>
                  <a:cubicBezTo>
                    <a:pt x="109186" y="876818"/>
                    <a:pt x="122077" y="862229"/>
                    <a:pt x="122077" y="790699"/>
                  </a:cubicBezTo>
                  <a:lnTo>
                    <a:pt x="122077" y="222143"/>
                  </a:lnTo>
                  <a:cubicBezTo>
                    <a:pt x="122077" y="148772"/>
                    <a:pt x="112869" y="145089"/>
                    <a:pt x="66969" y="122993"/>
                  </a:cubicBezTo>
                  <a:lnTo>
                    <a:pt x="-2593" y="88148"/>
                  </a:lnTo>
                  <a:lnTo>
                    <a:pt x="-2593" y="40557"/>
                  </a:lnTo>
                  <a:lnTo>
                    <a:pt x="287123" y="2030"/>
                  </a:lnTo>
                  <a:lnTo>
                    <a:pt x="305537" y="16194"/>
                  </a:lnTo>
                  <a:lnTo>
                    <a:pt x="296330" y="115344"/>
                  </a:lnTo>
                  <a:lnTo>
                    <a:pt x="303697" y="115344"/>
                  </a:lnTo>
                  <a:cubicBezTo>
                    <a:pt x="395357" y="56562"/>
                    <a:pt x="520168" y="-237"/>
                    <a:pt x="633928" y="-237"/>
                  </a:cubicBezTo>
                  <a:cubicBezTo>
                    <a:pt x="767805" y="-237"/>
                    <a:pt x="822912" y="43814"/>
                    <a:pt x="855922" y="118885"/>
                  </a:cubicBezTo>
                  <a:lnTo>
                    <a:pt x="863148" y="118885"/>
                  </a:lnTo>
                  <a:cubicBezTo>
                    <a:pt x="964156" y="60245"/>
                    <a:pt x="1075651" y="-237"/>
                    <a:pt x="1211796" y="-237"/>
                  </a:cubicBezTo>
                  <a:cubicBezTo>
                    <a:pt x="1373156" y="-237"/>
                    <a:pt x="1435489" y="80500"/>
                    <a:pt x="1435489" y="245514"/>
                  </a:cubicBezTo>
                  <a:lnTo>
                    <a:pt x="1435489" y="790274"/>
                  </a:lnTo>
                  <a:cubicBezTo>
                    <a:pt x="1435489" y="861804"/>
                    <a:pt x="1449656" y="876393"/>
                    <a:pt x="1483233" y="885600"/>
                  </a:cubicBezTo>
                  <a:lnTo>
                    <a:pt x="1558460" y="905855"/>
                  </a:lnTo>
                  <a:lnTo>
                    <a:pt x="1558460" y="960813"/>
                  </a:lnTo>
                  <a:lnTo>
                    <a:pt x="1127359" y="960813"/>
                  </a:lnTo>
                  <a:lnTo>
                    <a:pt x="1127359" y="905855"/>
                  </a:lnTo>
                  <a:lnTo>
                    <a:pt x="1202586" y="885600"/>
                  </a:lnTo>
                  <a:cubicBezTo>
                    <a:pt x="1241119" y="876393"/>
                    <a:pt x="1252170" y="867328"/>
                    <a:pt x="1252170" y="790274"/>
                  </a:cubicBezTo>
                  <a:lnTo>
                    <a:pt x="1252170" y="297356"/>
                  </a:lnTo>
                  <a:cubicBezTo>
                    <a:pt x="1252170" y="174409"/>
                    <a:pt x="1220862" y="121152"/>
                    <a:pt x="1109086" y="121152"/>
                  </a:cubicBezTo>
                  <a:cubicBezTo>
                    <a:pt x="1019125" y="121152"/>
                    <a:pt x="925622" y="155996"/>
                    <a:pt x="870515" y="181775"/>
                  </a:cubicBezTo>
                  <a:lnTo>
                    <a:pt x="870515" y="790841"/>
                  </a:lnTo>
                  <a:cubicBezTo>
                    <a:pt x="870515" y="862370"/>
                    <a:pt x="884682" y="876960"/>
                    <a:pt x="918255" y="886166"/>
                  </a:cubicBezTo>
                  <a:lnTo>
                    <a:pt x="993482" y="906422"/>
                  </a:lnTo>
                  <a:lnTo>
                    <a:pt x="993482" y="961379"/>
                  </a:lnTo>
                  <a:lnTo>
                    <a:pt x="562385" y="961379"/>
                  </a:lnTo>
                  <a:lnTo>
                    <a:pt x="562385" y="906422"/>
                  </a:lnTo>
                  <a:lnTo>
                    <a:pt x="637612" y="886166"/>
                  </a:lnTo>
                  <a:cubicBezTo>
                    <a:pt x="676145" y="876960"/>
                    <a:pt x="687054" y="867895"/>
                    <a:pt x="687054" y="790841"/>
                  </a:cubicBezTo>
                  <a:lnTo>
                    <a:pt x="687054" y="297356"/>
                  </a:lnTo>
                  <a:cubicBezTo>
                    <a:pt x="687054" y="176251"/>
                    <a:pt x="655884" y="121152"/>
                    <a:pt x="543967" y="121152"/>
                  </a:cubicBezTo>
                  <a:cubicBezTo>
                    <a:pt x="454148" y="121152"/>
                    <a:pt x="358663" y="155996"/>
                    <a:pt x="305537" y="177809"/>
                  </a:cubicBezTo>
                  <a:lnTo>
                    <a:pt x="305537" y="790416"/>
                  </a:lnTo>
                  <a:cubicBezTo>
                    <a:pt x="305537" y="867470"/>
                    <a:pt x="316588" y="876535"/>
                    <a:pt x="353281" y="885742"/>
                  </a:cubicBezTo>
                  <a:lnTo>
                    <a:pt x="428366" y="905997"/>
                  </a:lnTo>
                  <a:lnTo>
                    <a:pt x="428366" y="960954"/>
                  </a:lnTo>
                  <a:lnTo>
                    <a:pt x="-2593" y="960954"/>
                  </a:lnTo>
                  <a:close/>
                </a:path>
              </a:pathLst>
            </a:custGeom>
            <a:solidFill>
              <a:schemeClr val="tx1"/>
            </a:solidFill>
            <a:ln w="14153" cap="flat">
              <a:noFill/>
              <a:prstDash val="solid"/>
              <a:miter/>
            </a:ln>
          </p:spPr>
          <p:txBody>
            <a:bodyPr rtlCol="0" anchor="ctr"/>
            <a:lstStyle/>
            <a:p>
              <a:endParaRPr lang="en-GB" dirty="0">
                <a:solidFill>
                  <a:schemeClr val="tx1">
                    <a:alpha val="47000"/>
                  </a:schemeClr>
                </a:solidFill>
              </a:endParaRPr>
            </a:p>
          </p:txBody>
        </p:sp>
        <p:sp>
          <p:nvSpPr>
            <p:cNvPr id="22" name="Freeform: Shape 21">
              <a:extLst>
                <a:ext uri="{FF2B5EF4-FFF2-40B4-BE49-F238E27FC236}">
                  <a16:creationId xmlns:a16="http://schemas.microsoft.com/office/drawing/2014/main" id="{71F2EC77-E8CE-465C-896A-E7D0576B4689}"/>
                </a:ext>
              </a:extLst>
            </p:cNvPr>
            <p:cNvSpPr/>
            <p:nvPr/>
          </p:nvSpPr>
          <p:spPr>
            <a:xfrm>
              <a:off x="8459953" y="3722418"/>
              <a:ext cx="266363" cy="266339"/>
            </a:xfrm>
            <a:custGeom>
              <a:avLst/>
              <a:gdLst>
                <a:gd name="connsiteX0" fmla="*/ -2527 w 230352"/>
                <a:gd name="connsiteY0" fmla="*/ 118884 h 230331"/>
                <a:gd name="connsiteX1" fmla="*/ 108681 w 230352"/>
                <a:gd name="connsiteY1" fmla="*/ -167 h 230331"/>
                <a:gd name="connsiteX2" fmla="*/ 227685 w 230352"/>
                <a:gd name="connsiteY2" fmla="*/ 110952 h 230331"/>
                <a:gd name="connsiteX3" fmla="*/ 116615 w 230352"/>
                <a:gd name="connsiteY3" fmla="*/ 230003 h 230331"/>
                <a:gd name="connsiteX4" fmla="*/ 111797 w 230352"/>
                <a:gd name="connsiteY4" fmla="*/ 230074 h 230331"/>
                <a:gd name="connsiteX5" fmla="*/ -2527 w 230352"/>
                <a:gd name="connsiteY5" fmla="*/ 120046 h 230331"/>
                <a:gd name="connsiteX6" fmla="*/ -2527 w 230352"/>
                <a:gd name="connsiteY6" fmla="*/ 118884 h 23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352" h="230331">
                  <a:moveTo>
                    <a:pt x="-2527" y="118884"/>
                  </a:moveTo>
                  <a:cubicBezTo>
                    <a:pt x="-4654" y="55329"/>
                    <a:pt x="45072" y="2029"/>
                    <a:pt x="108681" y="-167"/>
                  </a:cubicBezTo>
                  <a:cubicBezTo>
                    <a:pt x="172148" y="-2363"/>
                    <a:pt x="225558" y="47397"/>
                    <a:pt x="227685" y="110952"/>
                  </a:cubicBezTo>
                  <a:cubicBezTo>
                    <a:pt x="229950" y="174521"/>
                    <a:pt x="180083" y="227822"/>
                    <a:pt x="116615" y="230003"/>
                  </a:cubicBezTo>
                  <a:cubicBezTo>
                    <a:pt x="114917" y="230060"/>
                    <a:pt x="113357" y="230088"/>
                    <a:pt x="111797" y="230074"/>
                  </a:cubicBezTo>
                  <a:cubicBezTo>
                    <a:pt x="49890" y="231250"/>
                    <a:pt x="-1396" y="181986"/>
                    <a:pt x="-2527" y="120046"/>
                  </a:cubicBezTo>
                  <a:cubicBezTo>
                    <a:pt x="-2527" y="119649"/>
                    <a:pt x="-2527" y="119266"/>
                    <a:pt x="-2527" y="118884"/>
                  </a:cubicBezTo>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grpSp>
    </p:spTree>
    <p:extLst>
      <p:ext uri="{BB962C8B-B14F-4D97-AF65-F5344CB8AC3E}">
        <p14:creationId xmlns:p14="http://schemas.microsoft.com/office/powerpoint/2010/main" val="32283758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250"/>
                                        <p:tgtEl>
                                          <p:spTgt spid="6"/>
                                        </p:tgtEl>
                                      </p:cBhvr>
                                    </p:animEffect>
                                  </p:childTnLst>
                                </p:cTn>
                              </p:par>
                            </p:childTnLst>
                          </p:cTn>
                        </p:par>
                        <p:par>
                          <p:cTn id="8" fill="hold">
                            <p:stCondLst>
                              <p:cond delay="1250"/>
                            </p:stCondLst>
                            <p:childTnLst>
                              <p:par>
                                <p:cTn id="9" presetID="10"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1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One firm. Your firm. strapline">
    <p:bg>
      <p:bgPr>
        <a:solidFill>
          <a:schemeClr val="accent6"/>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D630D50-65BD-46EF-9EC1-1626560F227F}"/>
              </a:ext>
            </a:extLst>
          </p:cNvPr>
          <p:cNvSpPr>
            <a:spLocks noGrp="1"/>
          </p:cNvSpPr>
          <p:nvPr>
            <p:ph type="dt" sz="half" idx="10"/>
          </p:nvPr>
        </p:nvSpPr>
        <p:spPr/>
        <p:txBody>
          <a:bodyPr/>
          <a:lstStyle/>
          <a:p>
            <a:r>
              <a:rPr lang="en-US" noProof="0"/>
              <a:t>dd Month 2021</a:t>
            </a:r>
            <a:endParaRPr lang="en-GB" noProof="0" dirty="0"/>
          </a:p>
        </p:txBody>
      </p:sp>
      <p:sp>
        <p:nvSpPr>
          <p:cNvPr id="4" name="Footer Placeholder 3">
            <a:extLst>
              <a:ext uri="{FF2B5EF4-FFF2-40B4-BE49-F238E27FC236}">
                <a16:creationId xmlns:a16="http://schemas.microsoft.com/office/drawing/2014/main" id="{C279FB16-6C48-410F-9726-482986FC7A89}"/>
              </a:ext>
            </a:extLst>
          </p:cNvPr>
          <p:cNvSpPr>
            <a:spLocks noGrp="1"/>
          </p:cNvSpPr>
          <p:nvPr>
            <p:ph type="ftr" sz="quarter" idx="11"/>
          </p:nvPr>
        </p:nvSpPr>
        <p:spPr/>
        <p:txBody>
          <a:bodyPr/>
          <a:lstStyle/>
          <a:p>
            <a:r>
              <a:rPr lang="en-GB" noProof="0"/>
              <a:t>Update Footer to add the Document title</a:t>
            </a:r>
            <a:endParaRPr lang="en-GB" noProof="0" dirty="0"/>
          </a:p>
        </p:txBody>
      </p:sp>
      <p:grpSp>
        <p:nvGrpSpPr>
          <p:cNvPr id="6" name="Group 5">
            <a:extLst>
              <a:ext uri="{FF2B5EF4-FFF2-40B4-BE49-F238E27FC236}">
                <a16:creationId xmlns:a16="http://schemas.microsoft.com/office/drawing/2014/main" id="{09EDC675-7209-4569-9F65-274519B2E492}"/>
              </a:ext>
            </a:extLst>
          </p:cNvPr>
          <p:cNvGrpSpPr/>
          <p:nvPr userDrawn="1"/>
        </p:nvGrpSpPr>
        <p:grpSpPr>
          <a:xfrm>
            <a:off x="709879" y="2215726"/>
            <a:ext cx="7409594" cy="1432213"/>
            <a:chOff x="709879" y="718571"/>
            <a:chExt cx="7409594" cy="1432213"/>
          </a:xfrm>
        </p:grpSpPr>
        <p:sp>
          <p:nvSpPr>
            <p:cNvPr id="8" name="Freeform: Shape 7">
              <a:extLst>
                <a:ext uri="{FF2B5EF4-FFF2-40B4-BE49-F238E27FC236}">
                  <a16:creationId xmlns:a16="http://schemas.microsoft.com/office/drawing/2014/main" id="{377A88E0-DF56-4A5E-A11B-8EE905C14401}"/>
                </a:ext>
              </a:extLst>
            </p:cNvPr>
            <p:cNvSpPr/>
            <p:nvPr/>
          </p:nvSpPr>
          <p:spPr>
            <a:xfrm>
              <a:off x="709879" y="832169"/>
              <a:ext cx="1166783" cy="1315015"/>
            </a:xfrm>
            <a:custGeom>
              <a:avLst/>
              <a:gdLst>
                <a:gd name="connsiteX0" fmla="*/ 955513 w 1166783"/>
                <a:gd name="connsiteY0" fmla="*/ 680926 h 1315015"/>
                <a:gd name="connsiteX1" fmla="*/ 573857 w 1166783"/>
                <a:gd name="connsiteY1" fmla="*/ 88432 h 1315015"/>
                <a:gd name="connsiteX2" fmla="*/ 207078 w 1166783"/>
                <a:gd name="connsiteY2" fmla="*/ 644240 h 1315015"/>
                <a:gd name="connsiteX3" fmla="*/ 586748 w 1166783"/>
                <a:gd name="connsiteY3" fmla="*/ 1224977 h 1315015"/>
                <a:gd name="connsiteX4" fmla="*/ 955087 w 1166783"/>
                <a:gd name="connsiteY4" fmla="*/ 680359 h 1315015"/>
                <a:gd name="connsiteX5" fmla="*/ -2593 w 1166783"/>
                <a:gd name="connsiteY5" fmla="*/ 674835 h 1315015"/>
                <a:gd name="connsiteX6" fmla="*/ 590010 w 1166783"/>
                <a:gd name="connsiteY6" fmla="*/ -237 h 1315015"/>
                <a:gd name="connsiteX7" fmla="*/ 1164191 w 1166783"/>
                <a:gd name="connsiteY7" fmla="*/ 649056 h 1315015"/>
                <a:gd name="connsiteX8" fmla="*/ 571592 w 1166783"/>
                <a:gd name="connsiteY8" fmla="*/ 1314779 h 1315015"/>
                <a:gd name="connsiteX9" fmla="*/ -2593 w 1166783"/>
                <a:gd name="connsiteY9" fmla="*/ 674693 h 1315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6783" h="1315015">
                  <a:moveTo>
                    <a:pt x="955513" y="680926"/>
                  </a:moveTo>
                  <a:cubicBezTo>
                    <a:pt x="955513" y="387441"/>
                    <a:pt x="872922" y="88432"/>
                    <a:pt x="573857" y="88432"/>
                  </a:cubicBezTo>
                  <a:cubicBezTo>
                    <a:pt x="320697" y="88432"/>
                    <a:pt x="207078" y="251605"/>
                    <a:pt x="207078" y="644240"/>
                  </a:cubicBezTo>
                  <a:cubicBezTo>
                    <a:pt x="207078" y="937583"/>
                    <a:pt x="289527" y="1224977"/>
                    <a:pt x="586748" y="1224977"/>
                  </a:cubicBezTo>
                  <a:cubicBezTo>
                    <a:pt x="839912" y="1224977"/>
                    <a:pt x="955087" y="1072853"/>
                    <a:pt x="955087" y="680359"/>
                  </a:cubicBezTo>
                  <a:moveTo>
                    <a:pt x="-2593" y="674835"/>
                  </a:moveTo>
                  <a:cubicBezTo>
                    <a:pt x="-2593" y="199763"/>
                    <a:pt x="285421" y="-237"/>
                    <a:pt x="590010" y="-237"/>
                  </a:cubicBezTo>
                  <a:cubicBezTo>
                    <a:pt x="911030" y="-237"/>
                    <a:pt x="1164191" y="229084"/>
                    <a:pt x="1164191" y="649056"/>
                  </a:cubicBezTo>
                  <a:cubicBezTo>
                    <a:pt x="1164191" y="1124127"/>
                    <a:pt x="876180" y="1314779"/>
                    <a:pt x="571592" y="1314779"/>
                  </a:cubicBezTo>
                  <a:cubicBezTo>
                    <a:pt x="248728" y="1314779"/>
                    <a:pt x="-2593" y="1094665"/>
                    <a:pt x="-2593" y="674693"/>
                  </a:cubicBezTo>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9" name="Freeform: Shape 8">
              <a:extLst>
                <a:ext uri="{FF2B5EF4-FFF2-40B4-BE49-F238E27FC236}">
                  <a16:creationId xmlns:a16="http://schemas.microsoft.com/office/drawing/2014/main" id="{0472ACF6-2B20-4903-91CE-C924E4F04259}"/>
                </a:ext>
              </a:extLst>
            </p:cNvPr>
            <p:cNvSpPr/>
            <p:nvPr/>
          </p:nvSpPr>
          <p:spPr>
            <a:xfrm>
              <a:off x="1956373" y="1164605"/>
              <a:ext cx="1025401" cy="960624"/>
            </a:xfrm>
            <a:custGeom>
              <a:avLst/>
              <a:gdLst>
                <a:gd name="connsiteX0" fmla="*/ -2593 w 1025401"/>
                <a:gd name="connsiteY0" fmla="*/ 905997 h 960624"/>
                <a:gd name="connsiteX1" fmla="*/ 72634 w 1025401"/>
                <a:gd name="connsiteY1" fmla="*/ 885883 h 960624"/>
                <a:gd name="connsiteX2" fmla="*/ 122077 w 1025401"/>
                <a:gd name="connsiteY2" fmla="*/ 790416 h 960624"/>
                <a:gd name="connsiteX3" fmla="*/ 122077 w 1025401"/>
                <a:gd name="connsiteY3" fmla="*/ 221860 h 960624"/>
                <a:gd name="connsiteX4" fmla="*/ 67111 w 1025401"/>
                <a:gd name="connsiteY4" fmla="*/ 122709 h 960624"/>
                <a:gd name="connsiteX5" fmla="*/ -2593 w 1025401"/>
                <a:gd name="connsiteY5" fmla="*/ 87865 h 960624"/>
                <a:gd name="connsiteX6" fmla="*/ -2593 w 1025401"/>
                <a:gd name="connsiteY6" fmla="*/ 40132 h 960624"/>
                <a:gd name="connsiteX7" fmla="*/ 287265 w 1025401"/>
                <a:gd name="connsiteY7" fmla="*/ 1605 h 960624"/>
                <a:gd name="connsiteX8" fmla="*/ 305537 w 1025401"/>
                <a:gd name="connsiteY8" fmla="*/ 12653 h 960624"/>
                <a:gd name="connsiteX9" fmla="*/ 296472 w 1025401"/>
                <a:gd name="connsiteY9" fmla="*/ 115344 h 960624"/>
                <a:gd name="connsiteX10" fmla="*/ 303697 w 1025401"/>
                <a:gd name="connsiteY10" fmla="*/ 115344 h 960624"/>
                <a:gd name="connsiteX11" fmla="*/ 650502 w 1025401"/>
                <a:gd name="connsiteY11" fmla="*/ -237 h 960624"/>
                <a:gd name="connsiteX12" fmla="*/ 899983 w 1025401"/>
                <a:gd name="connsiteY12" fmla="*/ 243673 h 960624"/>
                <a:gd name="connsiteX13" fmla="*/ 899983 w 1025401"/>
                <a:gd name="connsiteY13" fmla="*/ 789849 h 960624"/>
                <a:gd name="connsiteX14" fmla="*/ 949425 w 1025401"/>
                <a:gd name="connsiteY14" fmla="*/ 885317 h 960624"/>
                <a:gd name="connsiteX15" fmla="*/ 1022809 w 1025401"/>
                <a:gd name="connsiteY15" fmla="*/ 905430 h 960624"/>
                <a:gd name="connsiteX16" fmla="*/ 1022809 w 1025401"/>
                <a:gd name="connsiteY16" fmla="*/ 960388 h 960624"/>
                <a:gd name="connsiteX17" fmla="*/ 593551 w 1025401"/>
                <a:gd name="connsiteY17" fmla="*/ 960388 h 960624"/>
                <a:gd name="connsiteX18" fmla="*/ 593551 w 1025401"/>
                <a:gd name="connsiteY18" fmla="*/ 905997 h 960624"/>
                <a:gd name="connsiteX19" fmla="*/ 668778 w 1025401"/>
                <a:gd name="connsiteY19" fmla="*/ 885883 h 960624"/>
                <a:gd name="connsiteX20" fmla="*/ 716519 w 1025401"/>
                <a:gd name="connsiteY20" fmla="*/ 790416 h 960624"/>
                <a:gd name="connsiteX21" fmla="*/ 716519 w 1025401"/>
                <a:gd name="connsiteY21" fmla="*/ 294665 h 960624"/>
                <a:gd name="connsiteX22" fmla="*/ 556858 w 1025401"/>
                <a:gd name="connsiteY22" fmla="*/ 120443 h 960624"/>
                <a:gd name="connsiteX23" fmla="*/ 305537 w 1025401"/>
                <a:gd name="connsiteY23" fmla="*/ 177100 h 960624"/>
                <a:gd name="connsiteX24" fmla="*/ 305537 w 1025401"/>
                <a:gd name="connsiteY24" fmla="*/ 789849 h 960624"/>
                <a:gd name="connsiteX25" fmla="*/ 353281 w 1025401"/>
                <a:gd name="connsiteY25" fmla="*/ 885317 h 960624"/>
                <a:gd name="connsiteX26" fmla="*/ 428508 w 1025401"/>
                <a:gd name="connsiteY26" fmla="*/ 905430 h 960624"/>
                <a:gd name="connsiteX27" fmla="*/ 428508 w 1025401"/>
                <a:gd name="connsiteY27" fmla="*/ 960388 h 960624"/>
                <a:gd name="connsiteX28" fmla="*/ -2593 w 1025401"/>
                <a:gd name="connsiteY28" fmla="*/ 960388 h 960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25401" h="960624">
                  <a:moveTo>
                    <a:pt x="-2593" y="905997"/>
                  </a:moveTo>
                  <a:lnTo>
                    <a:pt x="72634" y="885883"/>
                  </a:lnTo>
                  <a:cubicBezTo>
                    <a:pt x="109328" y="876677"/>
                    <a:pt x="122077" y="861946"/>
                    <a:pt x="122077" y="790416"/>
                  </a:cubicBezTo>
                  <a:lnTo>
                    <a:pt x="122077" y="221860"/>
                  </a:lnTo>
                  <a:cubicBezTo>
                    <a:pt x="122077" y="148489"/>
                    <a:pt x="113011" y="144806"/>
                    <a:pt x="67111" y="122709"/>
                  </a:cubicBezTo>
                  <a:lnTo>
                    <a:pt x="-2593" y="87865"/>
                  </a:lnTo>
                  <a:lnTo>
                    <a:pt x="-2593" y="40132"/>
                  </a:lnTo>
                  <a:lnTo>
                    <a:pt x="287265" y="1605"/>
                  </a:lnTo>
                  <a:lnTo>
                    <a:pt x="305537" y="12653"/>
                  </a:lnTo>
                  <a:lnTo>
                    <a:pt x="296472" y="115344"/>
                  </a:lnTo>
                  <a:lnTo>
                    <a:pt x="303697" y="115344"/>
                  </a:lnTo>
                  <a:cubicBezTo>
                    <a:pt x="395498" y="56704"/>
                    <a:pt x="533058" y="-237"/>
                    <a:pt x="650502" y="-237"/>
                  </a:cubicBezTo>
                  <a:cubicBezTo>
                    <a:pt x="835806" y="-237"/>
                    <a:pt x="899983" y="78659"/>
                    <a:pt x="899983" y="243673"/>
                  </a:cubicBezTo>
                  <a:lnTo>
                    <a:pt x="899983" y="789849"/>
                  </a:lnTo>
                  <a:cubicBezTo>
                    <a:pt x="899983" y="860671"/>
                    <a:pt x="914150" y="876110"/>
                    <a:pt x="949425" y="885317"/>
                  </a:cubicBezTo>
                  <a:lnTo>
                    <a:pt x="1022809" y="905430"/>
                  </a:lnTo>
                  <a:lnTo>
                    <a:pt x="1022809" y="960388"/>
                  </a:lnTo>
                  <a:lnTo>
                    <a:pt x="593551" y="960388"/>
                  </a:lnTo>
                  <a:lnTo>
                    <a:pt x="593551" y="905997"/>
                  </a:lnTo>
                  <a:lnTo>
                    <a:pt x="668778" y="885883"/>
                  </a:lnTo>
                  <a:cubicBezTo>
                    <a:pt x="705468" y="876677"/>
                    <a:pt x="716519" y="867470"/>
                    <a:pt x="716519" y="790416"/>
                  </a:cubicBezTo>
                  <a:lnTo>
                    <a:pt x="716519" y="294665"/>
                  </a:lnTo>
                  <a:cubicBezTo>
                    <a:pt x="716519" y="166336"/>
                    <a:pt x="674018" y="120443"/>
                    <a:pt x="556858" y="120443"/>
                  </a:cubicBezTo>
                  <a:cubicBezTo>
                    <a:pt x="467042" y="120443"/>
                    <a:pt x="358521" y="157129"/>
                    <a:pt x="305537" y="177100"/>
                  </a:cubicBezTo>
                  <a:lnTo>
                    <a:pt x="305537" y="789849"/>
                  </a:lnTo>
                  <a:cubicBezTo>
                    <a:pt x="305537" y="866903"/>
                    <a:pt x="316588" y="876110"/>
                    <a:pt x="353281" y="885317"/>
                  </a:cubicBezTo>
                  <a:lnTo>
                    <a:pt x="428508" y="905430"/>
                  </a:lnTo>
                  <a:lnTo>
                    <a:pt x="428508" y="960388"/>
                  </a:lnTo>
                  <a:lnTo>
                    <a:pt x="-2593" y="960388"/>
                  </a:lnTo>
                  <a:close/>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0" name="Freeform: Shape 9">
              <a:extLst>
                <a:ext uri="{FF2B5EF4-FFF2-40B4-BE49-F238E27FC236}">
                  <a16:creationId xmlns:a16="http://schemas.microsoft.com/office/drawing/2014/main" id="{0E7D2CBE-BF42-4862-8D62-893E7C002CF7}"/>
                </a:ext>
              </a:extLst>
            </p:cNvPr>
            <p:cNvSpPr/>
            <p:nvPr/>
          </p:nvSpPr>
          <p:spPr>
            <a:xfrm>
              <a:off x="3030141" y="1166081"/>
              <a:ext cx="827628" cy="984703"/>
            </a:xfrm>
            <a:custGeom>
              <a:avLst/>
              <a:gdLst>
                <a:gd name="connsiteX0" fmla="*/ 194326 w 827628"/>
                <a:gd name="connsiteY0" fmla="*/ 390415 h 984703"/>
                <a:gd name="connsiteX1" fmla="*/ 619332 w 827628"/>
                <a:gd name="connsiteY1" fmla="*/ 368461 h 984703"/>
                <a:gd name="connsiteX2" fmla="*/ 443097 w 827628"/>
                <a:gd name="connsiteY2" fmla="*/ 76817 h 984703"/>
                <a:gd name="connsiteX3" fmla="*/ 193620 w 827628"/>
                <a:gd name="connsiteY3" fmla="*/ 390415 h 984703"/>
                <a:gd name="connsiteX4" fmla="*/ -2593 w 827628"/>
                <a:gd name="connsiteY4" fmla="*/ 485883 h 984703"/>
                <a:gd name="connsiteX5" fmla="*/ 450748 w 827628"/>
                <a:gd name="connsiteY5" fmla="*/ -237 h 984703"/>
                <a:gd name="connsiteX6" fmla="*/ 825036 w 827628"/>
                <a:gd name="connsiteY6" fmla="*/ 467186 h 984703"/>
                <a:gd name="connsiteX7" fmla="*/ 192486 w 827628"/>
                <a:gd name="connsiteY7" fmla="*/ 467186 h 984703"/>
                <a:gd name="connsiteX8" fmla="*/ 511808 w 827628"/>
                <a:gd name="connsiteY8" fmla="*/ 867045 h 984703"/>
                <a:gd name="connsiteX9" fmla="*/ 807044 w 827628"/>
                <a:gd name="connsiteY9" fmla="*/ 789991 h 984703"/>
                <a:gd name="connsiteX10" fmla="*/ 807044 w 827628"/>
                <a:gd name="connsiteY10" fmla="*/ 863362 h 984703"/>
                <a:gd name="connsiteX11" fmla="*/ 451173 w 827628"/>
                <a:gd name="connsiteY11" fmla="*/ 984467 h 984703"/>
                <a:gd name="connsiteX12" fmla="*/ -2167 w 827628"/>
                <a:gd name="connsiteY12" fmla="*/ 485599 h 9847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827628" h="984703">
                  <a:moveTo>
                    <a:pt x="194326" y="390415"/>
                  </a:moveTo>
                  <a:lnTo>
                    <a:pt x="619332" y="368461"/>
                  </a:lnTo>
                  <a:cubicBezTo>
                    <a:pt x="619332" y="157554"/>
                    <a:pt x="584482" y="76817"/>
                    <a:pt x="443097" y="76817"/>
                  </a:cubicBezTo>
                  <a:cubicBezTo>
                    <a:pt x="309221" y="76817"/>
                    <a:pt x="208354" y="173984"/>
                    <a:pt x="193620" y="390415"/>
                  </a:cubicBezTo>
                  <a:moveTo>
                    <a:pt x="-2593" y="485883"/>
                  </a:moveTo>
                  <a:cubicBezTo>
                    <a:pt x="-2593" y="192398"/>
                    <a:pt x="208354" y="-237"/>
                    <a:pt x="450748" y="-237"/>
                  </a:cubicBezTo>
                  <a:cubicBezTo>
                    <a:pt x="683793" y="-237"/>
                    <a:pt x="825036" y="126392"/>
                    <a:pt x="825036" y="467186"/>
                  </a:cubicBezTo>
                  <a:lnTo>
                    <a:pt x="192486" y="467186"/>
                  </a:lnTo>
                  <a:cubicBezTo>
                    <a:pt x="198009" y="746081"/>
                    <a:pt x="324664" y="867045"/>
                    <a:pt x="511808" y="867045"/>
                  </a:cubicBezTo>
                  <a:cubicBezTo>
                    <a:pt x="653477" y="867045"/>
                    <a:pt x="737344" y="822994"/>
                    <a:pt x="807044" y="789991"/>
                  </a:cubicBezTo>
                  <a:lnTo>
                    <a:pt x="807044" y="863362"/>
                  </a:lnTo>
                  <a:cubicBezTo>
                    <a:pt x="705043" y="941775"/>
                    <a:pt x="579952" y="984339"/>
                    <a:pt x="451173" y="984467"/>
                  </a:cubicBezTo>
                  <a:cubicBezTo>
                    <a:pt x="146727" y="984467"/>
                    <a:pt x="-2167" y="782625"/>
                    <a:pt x="-2167" y="485599"/>
                  </a:cubicBezTo>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1" name="Freeform: Shape 10">
              <a:extLst>
                <a:ext uri="{FF2B5EF4-FFF2-40B4-BE49-F238E27FC236}">
                  <a16:creationId xmlns:a16="http://schemas.microsoft.com/office/drawing/2014/main" id="{98277667-578C-452F-BEDC-F79A15656C7A}"/>
                </a:ext>
              </a:extLst>
            </p:cNvPr>
            <p:cNvSpPr/>
            <p:nvPr/>
          </p:nvSpPr>
          <p:spPr>
            <a:xfrm>
              <a:off x="4373105" y="718571"/>
              <a:ext cx="982759" cy="1407367"/>
            </a:xfrm>
            <a:custGeom>
              <a:avLst/>
              <a:gdLst>
                <a:gd name="connsiteX0" fmla="*/ 310213 w 982759"/>
                <a:gd name="connsiteY0" fmla="*/ 473418 h 1407367"/>
                <a:gd name="connsiteX1" fmla="*/ 647808 w 982759"/>
                <a:gd name="connsiteY1" fmla="*/ 473418 h 1407367"/>
                <a:gd name="connsiteX2" fmla="*/ 846145 w 982759"/>
                <a:gd name="connsiteY2" fmla="*/ 447781 h 1407367"/>
                <a:gd name="connsiteX3" fmla="*/ 866406 w 982759"/>
                <a:gd name="connsiteY3" fmla="*/ 458829 h 1407367"/>
                <a:gd name="connsiteX4" fmla="*/ 857195 w 982759"/>
                <a:gd name="connsiteY4" fmla="*/ 627526 h 1407367"/>
                <a:gd name="connsiteX5" fmla="*/ 857195 w 982759"/>
                <a:gd name="connsiteY5" fmla="*/ 1236592 h 1407367"/>
                <a:gd name="connsiteX6" fmla="*/ 904939 w 982759"/>
                <a:gd name="connsiteY6" fmla="*/ 1332060 h 1407367"/>
                <a:gd name="connsiteX7" fmla="*/ 980166 w 982759"/>
                <a:gd name="connsiteY7" fmla="*/ 1352173 h 1407367"/>
                <a:gd name="connsiteX8" fmla="*/ 980166 w 982759"/>
                <a:gd name="connsiteY8" fmla="*/ 1407130 h 1407367"/>
                <a:gd name="connsiteX9" fmla="*/ 555159 w 982759"/>
                <a:gd name="connsiteY9" fmla="*/ 1407130 h 1407367"/>
                <a:gd name="connsiteX10" fmla="*/ 555159 w 982759"/>
                <a:gd name="connsiteY10" fmla="*/ 1352031 h 1407367"/>
                <a:gd name="connsiteX11" fmla="*/ 624860 w 982759"/>
                <a:gd name="connsiteY11" fmla="*/ 1331918 h 1407367"/>
                <a:gd name="connsiteX12" fmla="*/ 674302 w 982759"/>
                <a:gd name="connsiteY12" fmla="*/ 1236451 h 1407367"/>
                <a:gd name="connsiteX13" fmla="*/ 674302 w 982759"/>
                <a:gd name="connsiteY13" fmla="*/ 667894 h 1407367"/>
                <a:gd name="connsiteX14" fmla="*/ 600918 w 982759"/>
                <a:gd name="connsiteY14" fmla="*/ 570727 h 1407367"/>
                <a:gd name="connsiteX15" fmla="*/ 311061 w 982759"/>
                <a:gd name="connsiteY15" fmla="*/ 570727 h 1407367"/>
                <a:gd name="connsiteX16" fmla="*/ 311061 w 982759"/>
                <a:gd name="connsiteY16" fmla="*/ 1227244 h 1407367"/>
                <a:gd name="connsiteX17" fmla="*/ 358805 w 982759"/>
                <a:gd name="connsiteY17" fmla="*/ 1331918 h 1407367"/>
                <a:gd name="connsiteX18" fmla="*/ 434032 w 982759"/>
                <a:gd name="connsiteY18" fmla="*/ 1352031 h 1407367"/>
                <a:gd name="connsiteX19" fmla="*/ 434032 w 982759"/>
                <a:gd name="connsiteY19" fmla="*/ 1406989 h 1407367"/>
                <a:gd name="connsiteX20" fmla="*/ 2931 w 982759"/>
                <a:gd name="connsiteY20" fmla="*/ 1406989 h 1407367"/>
                <a:gd name="connsiteX21" fmla="*/ 2931 w 982759"/>
                <a:gd name="connsiteY21" fmla="*/ 1352031 h 1407367"/>
                <a:gd name="connsiteX22" fmla="*/ 78158 w 982759"/>
                <a:gd name="connsiteY22" fmla="*/ 1331918 h 1407367"/>
                <a:gd name="connsiteX23" fmla="*/ 127600 w 982759"/>
                <a:gd name="connsiteY23" fmla="*/ 1236451 h 1407367"/>
                <a:gd name="connsiteX24" fmla="*/ 127600 w 982759"/>
                <a:gd name="connsiteY24" fmla="*/ 570161 h 1407367"/>
                <a:gd name="connsiteX25" fmla="*/ -2593 w 982759"/>
                <a:gd name="connsiteY25" fmla="*/ 570161 h 1407367"/>
                <a:gd name="connsiteX26" fmla="*/ -2593 w 982759"/>
                <a:gd name="connsiteY26" fmla="*/ 515061 h 1407367"/>
                <a:gd name="connsiteX27" fmla="*/ 127600 w 982759"/>
                <a:gd name="connsiteY27" fmla="*/ 471152 h 1407367"/>
                <a:gd name="connsiteX28" fmla="*/ 127600 w 982759"/>
                <a:gd name="connsiteY28" fmla="*/ 397781 h 1407367"/>
                <a:gd name="connsiteX29" fmla="*/ 567908 w 982759"/>
                <a:gd name="connsiteY29" fmla="*/ -237 h 1407367"/>
                <a:gd name="connsiteX30" fmla="*/ 778852 w 982759"/>
                <a:gd name="connsiteY30" fmla="*/ 115203 h 1407367"/>
                <a:gd name="connsiteX31" fmla="*/ 679684 w 982759"/>
                <a:gd name="connsiteY31" fmla="*/ 216194 h 1407367"/>
                <a:gd name="connsiteX32" fmla="*/ 566348 w 982759"/>
                <a:gd name="connsiteY32" fmla="*/ 113361 h 1407367"/>
                <a:gd name="connsiteX33" fmla="*/ 515066 w 982759"/>
                <a:gd name="connsiteY33" fmla="*/ 65769 h 1407367"/>
                <a:gd name="connsiteX34" fmla="*/ 311344 w 982759"/>
                <a:gd name="connsiteY34" fmla="*/ 300472 h 1407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82759" h="1407367">
                  <a:moveTo>
                    <a:pt x="310213" y="473418"/>
                  </a:moveTo>
                  <a:lnTo>
                    <a:pt x="647808" y="473418"/>
                  </a:lnTo>
                  <a:lnTo>
                    <a:pt x="846145" y="447781"/>
                  </a:lnTo>
                  <a:lnTo>
                    <a:pt x="866406" y="458829"/>
                  </a:lnTo>
                  <a:cubicBezTo>
                    <a:pt x="860311" y="514849"/>
                    <a:pt x="857195" y="571166"/>
                    <a:pt x="857195" y="627526"/>
                  </a:cubicBezTo>
                  <a:lnTo>
                    <a:pt x="857195" y="1236592"/>
                  </a:lnTo>
                  <a:cubicBezTo>
                    <a:pt x="857195" y="1313646"/>
                    <a:pt x="868246" y="1322853"/>
                    <a:pt x="904939" y="1332060"/>
                  </a:cubicBezTo>
                  <a:lnTo>
                    <a:pt x="980166" y="1352173"/>
                  </a:lnTo>
                  <a:lnTo>
                    <a:pt x="980166" y="1407130"/>
                  </a:lnTo>
                  <a:lnTo>
                    <a:pt x="555159" y="1407130"/>
                  </a:lnTo>
                  <a:lnTo>
                    <a:pt x="555159" y="1352031"/>
                  </a:lnTo>
                  <a:lnTo>
                    <a:pt x="624860" y="1331918"/>
                  </a:lnTo>
                  <a:cubicBezTo>
                    <a:pt x="659710" y="1322711"/>
                    <a:pt x="674302" y="1307980"/>
                    <a:pt x="674302" y="1236451"/>
                  </a:cubicBezTo>
                  <a:lnTo>
                    <a:pt x="674302" y="667894"/>
                  </a:lnTo>
                  <a:cubicBezTo>
                    <a:pt x="674302" y="594523"/>
                    <a:pt x="648659" y="570727"/>
                    <a:pt x="600918" y="570727"/>
                  </a:cubicBezTo>
                  <a:lnTo>
                    <a:pt x="311061" y="570727"/>
                  </a:lnTo>
                  <a:lnTo>
                    <a:pt x="311061" y="1227244"/>
                  </a:lnTo>
                  <a:cubicBezTo>
                    <a:pt x="311061" y="1313505"/>
                    <a:pt x="318428" y="1320870"/>
                    <a:pt x="358805" y="1331918"/>
                  </a:cubicBezTo>
                  <a:lnTo>
                    <a:pt x="434032" y="1352031"/>
                  </a:lnTo>
                  <a:lnTo>
                    <a:pt x="434032" y="1406989"/>
                  </a:lnTo>
                  <a:lnTo>
                    <a:pt x="2931" y="1406989"/>
                  </a:lnTo>
                  <a:lnTo>
                    <a:pt x="2931" y="1352031"/>
                  </a:lnTo>
                  <a:lnTo>
                    <a:pt x="78158" y="1331918"/>
                  </a:lnTo>
                  <a:cubicBezTo>
                    <a:pt x="114851" y="1322711"/>
                    <a:pt x="127600" y="1307980"/>
                    <a:pt x="127600" y="1236451"/>
                  </a:cubicBezTo>
                  <a:lnTo>
                    <a:pt x="127600" y="570161"/>
                  </a:lnTo>
                  <a:lnTo>
                    <a:pt x="-2593" y="570161"/>
                  </a:lnTo>
                  <a:lnTo>
                    <a:pt x="-2593" y="515061"/>
                  </a:lnTo>
                  <a:lnTo>
                    <a:pt x="127600" y="471152"/>
                  </a:lnTo>
                  <a:lnTo>
                    <a:pt x="127600" y="397781"/>
                  </a:lnTo>
                  <a:cubicBezTo>
                    <a:pt x="127600" y="142823"/>
                    <a:pt x="305537" y="-237"/>
                    <a:pt x="567908" y="-237"/>
                  </a:cubicBezTo>
                  <a:cubicBezTo>
                    <a:pt x="714675" y="-237"/>
                    <a:pt x="778852" y="51038"/>
                    <a:pt x="778852" y="115203"/>
                  </a:cubicBezTo>
                  <a:cubicBezTo>
                    <a:pt x="778852" y="184891"/>
                    <a:pt x="738620" y="216194"/>
                    <a:pt x="679684" y="216194"/>
                  </a:cubicBezTo>
                  <a:cubicBezTo>
                    <a:pt x="608144" y="216194"/>
                    <a:pt x="575134" y="175826"/>
                    <a:pt x="566348" y="113361"/>
                  </a:cubicBezTo>
                  <a:cubicBezTo>
                    <a:pt x="562665" y="84041"/>
                    <a:pt x="549916" y="65769"/>
                    <a:pt x="515066" y="65769"/>
                  </a:cubicBezTo>
                  <a:cubicBezTo>
                    <a:pt x="406829" y="65769"/>
                    <a:pt x="311344" y="109820"/>
                    <a:pt x="311344" y="300472"/>
                  </a:cubicBezTo>
                  <a:close/>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2" name="Freeform: Shape 11">
              <a:extLst>
                <a:ext uri="{FF2B5EF4-FFF2-40B4-BE49-F238E27FC236}">
                  <a16:creationId xmlns:a16="http://schemas.microsoft.com/office/drawing/2014/main" id="{BD499510-7205-4BBD-B3DB-C99AABA529EE}"/>
                </a:ext>
              </a:extLst>
            </p:cNvPr>
            <p:cNvSpPr/>
            <p:nvPr/>
          </p:nvSpPr>
          <p:spPr>
            <a:xfrm>
              <a:off x="5442055" y="1162197"/>
              <a:ext cx="697719" cy="963032"/>
            </a:xfrm>
            <a:custGeom>
              <a:avLst/>
              <a:gdLst>
                <a:gd name="connsiteX0" fmla="*/ -1600 w 697719"/>
                <a:gd name="connsiteY0" fmla="*/ 908405 h 963032"/>
                <a:gd name="connsiteX1" fmla="*/ 73627 w 697719"/>
                <a:gd name="connsiteY1" fmla="*/ 888291 h 963032"/>
                <a:gd name="connsiteX2" fmla="*/ 123211 w 697719"/>
                <a:gd name="connsiteY2" fmla="*/ 792824 h 963032"/>
                <a:gd name="connsiteX3" fmla="*/ 123211 w 697719"/>
                <a:gd name="connsiteY3" fmla="*/ 224268 h 963032"/>
                <a:gd name="connsiteX4" fmla="*/ 68100 w 697719"/>
                <a:gd name="connsiteY4" fmla="*/ 125118 h 963032"/>
                <a:gd name="connsiteX5" fmla="*/ -1600 w 697719"/>
                <a:gd name="connsiteY5" fmla="*/ 90273 h 963032"/>
                <a:gd name="connsiteX6" fmla="*/ -1600 w 697719"/>
                <a:gd name="connsiteY6" fmla="*/ 42540 h 963032"/>
                <a:gd name="connsiteX7" fmla="*/ 288254 w 697719"/>
                <a:gd name="connsiteY7" fmla="*/ 4013 h 963032"/>
                <a:gd name="connsiteX8" fmla="*/ 306672 w 697719"/>
                <a:gd name="connsiteY8" fmla="*/ 18177 h 963032"/>
                <a:gd name="connsiteX9" fmla="*/ 297461 w 697719"/>
                <a:gd name="connsiteY9" fmla="*/ 124551 h 963032"/>
                <a:gd name="connsiteX10" fmla="*/ 304828 w 697719"/>
                <a:gd name="connsiteY10" fmla="*/ 124551 h 963032"/>
                <a:gd name="connsiteX11" fmla="*/ 573999 w 697719"/>
                <a:gd name="connsiteY11" fmla="*/ -237 h 963032"/>
                <a:gd name="connsiteX12" fmla="*/ 695127 w 697719"/>
                <a:gd name="connsiteY12" fmla="*/ 109820 h 963032"/>
                <a:gd name="connsiteX13" fmla="*/ 595958 w 697719"/>
                <a:gd name="connsiteY13" fmla="*/ 212512 h 963032"/>
                <a:gd name="connsiteX14" fmla="*/ 491267 w 697719"/>
                <a:gd name="connsiteY14" fmla="*/ 153871 h 963032"/>
                <a:gd name="connsiteX15" fmla="*/ 448766 w 697719"/>
                <a:gd name="connsiteY15" fmla="*/ 122710 h 963032"/>
                <a:gd name="connsiteX16" fmla="*/ 305679 w 697719"/>
                <a:gd name="connsiteY16" fmla="*/ 203446 h 963032"/>
                <a:gd name="connsiteX17" fmla="*/ 305679 w 697719"/>
                <a:gd name="connsiteY17" fmla="*/ 792257 h 963032"/>
                <a:gd name="connsiteX18" fmla="*/ 353281 w 697719"/>
                <a:gd name="connsiteY18" fmla="*/ 887725 h 963032"/>
                <a:gd name="connsiteX19" fmla="*/ 446922 w 697719"/>
                <a:gd name="connsiteY19" fmla="*/ 907838 h 963032"/>
                <a:gd name="connsiteX20" fmla="*/ 446922 w 697719"/>
                <a:gd name="connsiteY20" fmla="*/ 962796 h 963032"/>
                <a:gd name="connsiteX21" fmla="*/ -2593 w 697719"/>
                <a:gd name="connsiteY21" fmla="*/ 962796 h 96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7719" h="963032">
                  <a:moveTo>
                    <a:pt x="-1600" y="908405"/>
                  </a:moveTo>
                  <a:lnTo>
                    <a:pt x="73627" y="888291"/>
                  </a:lnTo>
                  <a:cubicBezTo>
                    <a:pt x="110317" y="879085"/>
                    <a:pt x="123211" y="864354"/>
                    <a:pt x="123211" y="792824"/>
                  </a:cubicBezTo>
                  <a:lnTo>
                    <a:pt x="123211" y="224268"/>
                  </a:lnTo>
                  <a:cubicBezTo>
                    <a:pt x="123211" y="150897"/>
                    <a:pt x="114000" y="147214"/>
                    <a:pt x="68100" y="125118"/>
                  </a:cubicBezTo>
                  <a:lnTo>
                    <a:pt x="-1600" y="90273"/>
                  </a:lnTo>
                  <a:lnTo>
                    <a:pt x="-1600" y="42540"/>
                  </a:lnTo>
                  <a:lnTo>
                    <a:pt x="288254" y="4013"/>
                  </a:lnTo>
                  <a:lnTo>
                    <a:pt x="306672" y="18177"/>
                  </a:lnTo>
                  <a:lnTo>
                    <a:pt x="297461" y="124551"/>
                  </a:lnTo>
                  <a:lnTo>
                    <a:pt x="304828" y="124551"/>
                  </a:lnTo>
                  <a:cubicBezTo>
                    <a:pt x="369005" y="60387"/>
                    <a:pt x="482765" y="-237"/>
                    <a:pt x="573999" y="-237"/>
                  </a:cubicBezTo>
                  <a:cubicBezTo>
                    <a:pt x="649226" y="-237"/>
                    <a:pt x="695127" y="40132"/>
                    <a:pt x="695127" y="109820"/>
                  </a:cubicBezTo>
                  <a:cubicBezTo>
                    <a:pt x="695127" y="179509"/>
                    <a:pt x="649226" y="212512"/>
                    <a:pt x="595958" y="212512"/>
                  </a:cubicBezTo>
                  <a:cubicBezTo>
                    <a:pt x="527957" y="212512"/>
                    <a:pt x="507841" y="194240"/>
                    <a:pt x="491267" y="153871"/>
                  </a:cubicBezTo>
                  <a:cubicBezTo>
                    <a:pt x="480358" y="128234"/>
                    <a:pt x="467464" y="122710"/>
                    <a:pt x="448766" y="122710"/>
                  </a:cubicBezTo>
                  <a:cubicBezTo>
                    <a:pt x="412072" y="122710"/>
                    <a:pt x="338689" y="166761"/>
                    <a:pt x="305679" y="203446"/>
                  </a:cubicBezTo>
                  <a:lnTo>
                    <a:pt x="305679" y="792257"/>
                  </a:lnTo>
                  <a:cubicBezTo>
                    <a:pt x="305679" y="869311"/>
                    <a:pt x="316588" y="880359"/>
                    <a:pt x="353281" y="887725"/>
                  </a:cubicBezTo>
                  <a:lnTo>
                    <a:pt x="446922" y="907838"/>
                  </a:lnTo>
                  <a:lnTo>
                    <a:pt x="446922" y="962796"/>
                  </a:lnTo>
                  <a:lnTo>
                    <a:pt x="-2593" y="962796"/>
                  </a:lnTo>
                  <a:close/>
                </a:path>
              </a:pathLst>
            </a:custGeom>
            <a:solidFill>
              <a:schemeClr val="tx1"/>
            </a:solidFill>
            <a:ln w="14153" cap="flat">
              <a:noFill/>
              <a:prstDash val="solid"/>
              <a:miter/>
            </a:ln>
          </p:spPr>
          <p:txBody>
            <a:bodyPr rtlCol="0" anchor="ctr"/>
            <a:lstStyle/>
            <a:p>
              <a:endParaRPr lang="en-GB">
                <a:solidFill>
                  <a:schemeClr val="tx1"/>
                </a:solidFill>
              </a:endParaRPr>
            </a:p>
          </p:txBody>
        </p:sp>
        <p:sp>
          <p:nvSpPr>
            <p:cNvPr id="13" name="Freeform: Shape 12">
              <a:extLst>
                <a:ext uri="{FF2B5EF4-FFF2-40B4-BE49-F238E27FC236}">
                  <a16:creationId xmlns:a16="http://schemas.microsoft.com/office/drawing/2014/main" id="{588BD3B2-4F0C-4865-B0C2-18264B05F1DD}"/>
                </a:ext>
              </a:extLst>
            </p:cNvPr>
            <p:cNvSpPr/>
            <p:nvPr/>
          </p:nvSpPr>
          <p:spPr>
            <a:xfrm>
              <a:off x="6218809" y="1164181"/>
              <a:ext cx="1561616" cy="961757"/>
            </a:xfrm>
            <a:custGeom>
              <a:avLst/>
              <a:gdLst>
                <a:gd name="connsiteX0" fmla="*/ -2167 w 1561616"/>
                <a:gd name="connsiteY0" fmla="*/ 906422 h 961757"/>
                <a:gd name="connsiteX1" fmla="*/ 73060 w 1561616"/>
                <a:gd name="connsiteY1" fmla="*/ 886308 h 961757"/>
                <a:gd name="connsiteX2" fmla="*/ 122502 w 1561616"/>
                <a:gd name="connsiteY2" fmla="*/ 790841 h 961757"/>
                <a:gd name="connsiteX3" fmla="*/ 122502 w 1561616"/>
                <a:gd name="connsiteY3" fmla="*/ 222285 h 961757"/>
                <a:gd name="connsiteX4" fmla="*/ 67533 w 1561616"/>
                <a:gd name="connsiteY4" fmla="*/ 123134 h 961757"/>
                <a:gd name="connsiteX5" fmla="*/ -2167 w 1561616"/>
                <a:gd name="connsiteY5" fmla="*/ 88290 h 961757"/>
                <a:gd name="connsiteX6" fmla="*/ -2167 w 1561616"/>
                <a:gd name="connsiteY6" fmla="*/ 40557 h 961757"/>
                <a:gd name="connsiteX7" fmla="*/ 287687 w 1561616"/>
                <a:gd name="connsiteY7" fmla="*/ 2030 h 961757"/>
                <a:gd name="connsiteX8" fmla="*/ 305963 w 1561616"/>
                <a:gd name="connsiteY8" fmla="*/ 16194 h 961757"/>
                <a:gd name="connsiteX9" fmla="*/ 296894 w 1561616"/>
                <a:gd name="connsiteY9" fmla="*/ 115344 h 961757"/>
                <a:gd name="connsiteX10" fmla="*/ 304261 w 1561616"/>
                <a:gd name="connsiteY10" fmla="*/ 115344 h 961757"/>
                <a:gd name="connsiteX11" fmla="*/ 634350 w 1561616"/>
                <a:gd name="connsiteY11" fmla="*/ -237 h 961757"/>
                <a:gd name="connsiteX12" fmla="*/ 856348 w 1561616"/>
                <a:gd name="connsiteY12" fmla="*/ 119027 h 961757"/>
                <a:gd name="connsiteX13" fmla="*/ 863711 w 1561616"/>
                <a:gd name="connsiteY13" fmla="*/ 119027 h 961757"/>
                <a:gd name="connsiteX14" fmla="*/ 1212218 w 1561616"/>
                <a:gd name="connsiteY14" fmla="*/ -237 h 961757"/>
                <a:gd name="connsiteX15" fmla="*/ 1436056 w 1561616"/>
                <a:gd name="connsiteY15" fmla="*/ 245514 h 961757"/>
                <a:gd name="connsiteX16" fmla="*/ 1436056 w 1561616"/>
                <a:gd name="connsiteY16" fmla="*/ 790274 h 961757"/>
                <a:gd name="connsiteX17" fmla="*/ 1483797 w 1561616"/>
                <a:gd name="connsiteY17" fmla="*/ 885742 h 961757"/>
                <a:gd name="connsiteX18" fmla="*/ 1559024 w 1561616"/>
                <a:gd name="connsiteY18" fmla="*/ 905855 h 961757"/>
                <a:gd name="connsiteX19" fmla="*/ 1559024 w 1561616"/>
                <a:gd name="connsiteY19" fmla="*/ 960813 h 961757"/>
                <a:gd name="connsiteX20" fmla="*/ 1127359 w 1561616"/>
                <a:gd name="connsiteY20" fmla="*/ 960813 h 961757"/>
                <a:gd name="connsiteX21" fmla="*/ 1127359 w 1561616"/>
                <a:gd name="connsiteY21" fmla="*/ 906422 h 961757"/>
                <a:gd name="connsiteX22" fmla="*/ 1202586 w 1561616"/>
                <a:gd name="connsiteY22" fmla="*/ 886308 h 961757"/>
                <a:gd name="connsiteX23" fmla="*/ 1252170 w 1561616"/>
                <a:gd name="connsiteY23" fmla="*/ 790841 h 961757"/>
                <a:gd name="connsiteX24" fmla="*/ 1252170 w 1561616"/>
                <a:gd name="connsiteY24" fmla="*/ 297497 h 961757"/>
                <a:gd name="connsiteX25" fmla="*/ 1109083 w 1561616"/>
                <a:gd name="connsiteY25" fmla="*/ 121435 h 961757"/>
                <a:gd name="connsiteX26" fmla="*/ 870653 w 1561616"/>
                <a:gd name="connsiteY26" fmla="*/ 181916 h 961757"/>
                <a:gd name="connsiteX27" fmla="*/ 870653 w 1561616"/>
                <a:gd name="connsiteY27" fmla="*/ 790982 h 961757"/>
                <a:gd name="connsiteX28" fmla="*/ 918255 w 1561616"/>
                <a:gd name="connsiteY28" fmla="*/ 886450 h 961757"/>
                <a:gd name="connsiteX29" fmla="*/ 993482 w 1561616"/>
                <a:gd name="connsiteY29" fmla="*/ 906563 h 961757"/>
                <a:gd name="connsiteX30" fmla="*/ 993482 w 1561616"/>
                <a:gd name="connsiteY30" fmla="*/ 961521 h 961757"/>
                <a:gd name="connsiteX31" fmla="*/ 562385 w 1561616"/>
                <a:gd name="connsiteY31" fmla="*/ 961521 h 961757"/>
                <a:gd name="connsiteX32" fmla="*/ 562385 w 1561616"/>
                <a:gd name="connsiteY32" fmla="*/ 906422 h 961757"/>
                <a:gd name="connsiteX33" fmla="*/ 637608 w 1561616"/>
                <a:gd name="connsiteY33" fmla="*/ 886308 h 961757"/>
                <a:gd name="connsiteX34" fmla="*/ 687192 w 1561616"/>
                <a:gd name="connsiteY34" fmla="*/ 790841 h 961757"/>
                <a:gd name="connsiteX35" fmla="*/ 687192 w 1561616"/>
                <a:gd name="connsiteY35" fmla="*/ 297497 h 961757"/>
                <a:gd name="connsiteX36" fmla="*/ 544109 w 1561616"/>
                <a:gd name="connsiteY36" fmla="*/ 121435 h 961757"/>
                <a:gd name="connsiteX37" fmla="*/ 305537 w 1561616"/>
                <a:gd name="connsiteY37" fmla="*/ 178092 h 961757"/>
                <a:gd name="connsiteX38" fmla="*/ 305537 w 1561616"/>
                <a:gd name="connsiteY38" fmla="*/ 790274 h 961757"/>
                <a:gd name="connsiteX39" fmla="*/ 353281 w 1561616"/>
                <a:gd name="connsiteY39" fmla="*/ 885742 h 961757"/>
                <a:gd name="connsiteX40" fmla="*/ 428505 w 1561616"/>
                <a:gd name="connsiteY40" fmla="*/ 905855 h 961757"/>
                <a:gd name="connsiteX41" fmla="*/ 428505 w 1561616"/>
                <a:gd name="connsiteY41" fmla="*/ 960813 h 961757"/>
                <a:gd name="connsiteX42" fmla="*/ -2593 w 1561616"/>
                <a:gd name="connsiteY42" fmla="*/ 960813 h 961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561616" h="961757">
                  <a:moveTo>
                    <a:pt x="-2167" y="906422"/>
                  </a:moveTo>
                  <a:lnTo>
                    <a:pt x="73060" y="886308"/>
                  </a:lnTo>
                  <a:cubicBezTo>
                    <a:pt x="109750" y="877101"/>
                    <a:pt x="122502" y="862370"/>
                    <a:pt x="122502" y="790841"/>
                  </a:cubicBezTo>
                  <a:lnTo>
                    <a:pt x="122502" y="222285"/>
                  </a:lnTo>
                  <a:cubicBezTo>
                    <a:pt x="122502" y="148914"/>
                    <a:pt x="113433" y="145231"/>
                    <a:pt x="67533" y="123134"/>
                  </a:cubicBezTo>
                  <a:lnTo>
                    <a:pt x="-2167" y="88290"/>
                  </a:lnTo>
                  <a:lnTo>
                    <a:pt x="-2167" y="40557"/>
                  </a:lnTo>
                  <a:lnTo>
                    <a:pt x="287687" y="2030"/>
                  </a:lnTo>
                  <a:lnTo>
                    <a:pt x="305963" y="16194"/>
                  </a:lnTo>
                  <a:lnTo>
                    <a:pt x="296894" y="115344"/>
                  </a:lnTo>
                  <a:lnTo>
                    <a:pt x="304261" y="115344"/>
                  </a:lnTo>
                  <a:cubicBezTo>
                    <a:pt x="395924" y="56704"/>
                    <a:pt x="520590" y="-237"/>
                    <a:pt x="634350" y="-237"/>
                  </a:cubicBezTo>
                  <a:cubicBezTo>
                    <a:pt x="768368" y="-237"/>
                    <a:pt x="823338" y="43814"/>
                    <a:pt x="856348" y="119027"/>
                  </a:cubicBezTo>
                  <a:lnTo>
                    <a:pt x="863711" y="119027"/>
                  </a:lnTo>
                  <a:cubicBezTo>
                    <a:pt x="964581" y="60387"/>
                    <a:pt x="1076215" y="-237"/>
                    <a:pt x="1212218" y="-237"/>
                  </a:cubicBezTo>
                  <a:cubicBezTo>
                    <a:pt x="1373720" y="-237"/>
                    <a:pt x="1436056" y="80500"/>
                    <a:pt x="1436056" y="245514"/>
                  </a:cubicBezTo>
                  <a:lnTo>
                    <a:pt x="1436056" y="790274"/>
                  </a:lnTo>
                  <a:cubicBezTo>
                    <a:pt x="1436056" y="861096"/>
                    <a:pt x="1450223" y="876535"/>
                    <a:pt x="1483797" y="885742"/>
                  </a:cubicBezTo>
                  <a:lnTo>
                    <a:pt x="1559024" y="905855"/>
                  </a:lnTo>
                  <a:lnTo>
                    <a:pt x="1559024" y="960813"/>
                  </a:lnTo>
                  <a:lnTo>
                    <a:pt x="1127359" y="960813"/>
                  </a:lnTo>
                  <a:lnTo>
                    <a:pt x="1127359" y="906422"/>
                  </a:lnTo>
                  <a:lnTo>
                    <a:pt x="1202586" y="886308"/>
                  </a:lnTo>
                  <a:cubicBezTo>
                    <a:pt x="1241119" y="877101"/>
                    <a:pt x="1252170" y="867895"/>
                    <a:pt x="1252170" y="790841"/>
                  </a:cubicBezTo>
                  <a:lnTo>
                    <a:pt x="1252170" y="297497"/>
                  </a:lnTo>
                  <a:cubicBezTo>
                    <a:pt x="1252170" y="174551"/>
                    <a:pt x="1221004" y="121435"/>
                    <a:pt x="1109083" y="121435"/>
                  </a:cubicBezTo>
                  <a:cubicBezTo>
                    <a:pt x="1019267" y="121435"/>
                    <a:pt x="925622" y="156279"/>
                    <a:pt x="870653" y="181916"/>
                  </a:cubicBezTo>
                  <a:lnTo>
                    <a:pt x="870653" y="790982"/>
                  </a:lnTo>
                  <a:cubicBezTo>
                    <a:pt x="870653" y="861804"/>
                    <a:pt x="884820" y="877243"/>
                    <a:pt x="918255" y="886450"/>
                  </a:cubicBezTo>
                  <a:lnTo>
                    <a:pt x="993482" y="906563"/>
                  </a:lnTo>
                  <a:lnTo>
                    <a:pt x="993482" y="961521"/>
                  </a:lnTo>
                  <a:lnTo>
                    <a:pt x="562385" y="961521"/>
                  </a:lnTo>
                  <a:lnTo>
                    <a:pt x="562385" y="906422"/>
                  </a:lnTo>
                  <a:lnTo>
                    <a:pt x="637608" y="886308"/>
                  </a:lnTo>
                  <a:cubicBezTo>
                    <a:pt x="676142" y="877101"/>
                    <a:pt x="687192" y="867895"/>
                    <a:pt x="687192" y="790841"/>
                  </a:cubicBezTo>
                  <a:lnTo>
                    <a:pt x="687192" y="297497"/>
                  </a:lnTo>
                  <a:cubicBezTo>
                    <a:pt x="687192" y="176392"/>
                    <a:pt x="656026" y="121435"/>
                    <a:pt x="544109" y="121435"/>
                  </a:cubicBezTo>
                  <a:cubicBezTo>
                    <a:pt x="454148" y="121435"/>
                    <a:pt x="358805" y="156279"/>
                    <a:pt x="305537" y="178092"/>
                  </a:cubicBezTo>
                  <a:lnTo>
                    <a:pt x="305537" y="790274"/>
                  </a:lnTo>
                  <a:cubicBezTo>
                    <a:pt x="305537" y="867328"/>
                    <a:pt x="316588" y="876535"/>
                    <a:pt x="353281" y="885742"/>
                  </a:cubicBezTo>
                  <a:lnTo>
                    <a:pt x="428505" y="905855"/>
                  </a:lnTo>
                  <a:lnTo>
                    <a:pt x="428505" y="960813"/>
                  </a:lnTo>
                  <a:lnTo>
                    <a:pt x="-2593" y="960813"/>
                  </a:lnTo>
                  <a:close/>
                </a:path>
              </a:pathLst>
            </a:custGeom>
            <a:solidFill>
              <a:schemeClr val="tx1"/>
            </a:solidFill>
            <a:ln w="14153" cap="flat">
              <a:noFill/>
              <a:prstDash val="solid"/>
              <a:miter/>
            </a:ln>
          </p:spPr>
          <p:txBody>
            <a:bodyPr rtlCol="0" anchor="ctr"/>
            <a:lstStyle/>
            <a:p>
              <a:endParaRPr lang="en-GB" dirty="0">
                <a:solidFill>
                  <a:schemeClr val="tx1"/>
                </a:solidFill>
              </a:endParaRPr>
            </a:p>
          </p:txBody>
        </p:sp>
        <p:sp>
          <p:nvSpPr>
            <p:cNvPr id="14" name="Freeform: Shape 13">
              <a:extLst>
                <a:ext uri="{FF2B5EF4-FFF2-40B4-BE49-F238E27FC236}">
                  <a16:creationId xmlns:a16="http://schemas.microsoft.com/office/drawing/2014/main" id="{BFF832B6-3402-4CD7-8CD9-DBF06FA7A041}"/>
                </a:ext>
              </a:extLst>
            </p:cNvPr>
            <p:cNvSpPr/>
            <p:nvPr userDrawn="1"/>
          </p:nvSpPr>
          <p:spPr>
            <a:xfrm>
              <a:off x="7853110" y="1875449"/>
              <a:ext cx="266363" cy="266347"/>
            </a:xfrm>
            <a:custGeom>
              <a:avLst/>
              <a:gdLst>
                <a:gd name="connsiteX0" fmla="*/ -2527 w 230343"/>
                <a:gd name="connsiteY0" fmla="*/ 118884 h 230329"/>
                <a:gd name="connsiteX1" fmla="*/ 108684 w 230343"/>
                <a:gd name="connsiteY1" fmla="*/ -167 h 230329"/>
                <a:gd name="connsiteX2" fmla="*/ 227685 w 230343"/>
                <a:gd name="connsiteY2" fmla="*/ 110952 h 230329"/>
                <a:gd name="connsiteX3" fmla="*/ 116477 w 230343"/>
                <a:gd name="connsiteY3" fmla="*/ 230003 h 230329"/>
                <a:gd name="connsiteX4" fmla="*/ 111801 w 230343"/>
                <a:gd name="connsiteY4" fmla="*/ 230074 h 230329"/>
                <a:gd name="connsiteX5" fmla="*/ -2527 w 230343"/>
                <a:gd name="connsiteY5" fmla="*/ 119762 h 230329"/>
                <a:gd name="connsiteX6" fmla="*/ -2527 w 230343"/>
                <a:gd name="connsiteY6" fmla="*/ 118884 h 230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343" h="230329">
                  <a:moveTo>
                    <a:pt x="-2527" y="118884"/>
                  </a:moveTo>
                  <a:cubicBezTo>
                    <a:pt x="-4651" y="55329"/>
                    <a:pt x="45075" y="2029"/>
                    <a:pt x="108684" y="-167"/>
                  </a:cubicBezTo>
                  <a:cubicBezTo>
                    <a:pt x="172152" y="-2362"/>
                    <a:pt x="225561" y="47397"/>
                    <a:pt x="227685" y="110952"/>
                  </a:cubicBezTo>
                  <a:cubicBezTo>
                    <a:pt x="229812" y="174522"/>
                    <a:pt x="180086" y="227822"/>
                    <a:pt x="116477" y="230003"/>
                  </a:cubicBezTo>
                  <a:cubicBezTo>
                    <a:pt x="114917" y="230060"/>
                    <a:pt x="113360" y="230088"/>
                    <a:pt x="111801" y="230074"/>
                  </a:cubicBezTo>
                  <a:cubicBezTo>
                    <a:pt x="49748" y="231179"/>
                    <a:pt x="-1393" y="181788"/>
                    <a:pt x="-2527" y="119762"/>
                  </a:cubicBezTo>
                  <a:cubicBezTo>
                    <a:pt x="-2527" y="119465"/>
                    <a:pt x="-2527" y="119182"/>
                    <a:pt x="-2527" y="118884"/>
                  </a:cubicBezTo>
                </a:path>
              </a:pathLst>
            </a:custGeom>
            <a:solidFill>
              <a:schemeClr val="tx1"/>
            </a:solidFill>
            <a:ln w="14153" cap="flat">
              <a:noFill/>
              <a:prstDash val="solid"/>
              <a:miter/>
            </a:ln>
          </p:spPr>
          <p:txBody>
            <a:bodyPr rtlCol="0" anchor="ctr"/>
            <a:lstStyle/>
            <a:p>
              <a:endParaRPr lang="en-GB">
                <a:solidFill>
                  <a:schemeClr val="tx1"/>
                </a:solidFill>
              </a:endParaRPr>
            </a:p>
          </p:txBody>
        </p:sp>
      </p:grpSp>
      <p:grpSp>
        <p:nvGrpSpPr>
          <p:cNvPr id="2" name="Group 1">
            <a:extLst>
              <a:ext uri="{FF2B5EF4-FFF2-40B4-BE49-F238E27FC236}">
                <a16:creationId xmlns:a16="http://schemas.microsoft.com/office/drawing/2014/main" id="{FF6A65B9-ADDA-482F-9F23-565796B0C61B}"/>
              </a:ext>
            </a:extLst>
          </p:cNvPr>
          <p:cNvGrpSpPr/>
          <p:nvPr userDrawn="1"/>
        </p:nvGrpSpPr>
        <p:grpSpPr>
          <a:xfrm>
            <a:off x="709879" y="4058926"/>
            <a:ext cx="8016437" cy="1431305"/>
            <a:chOff x="709879" y="2561771"/>
            <a:chExt cx="8016437" cy="1431305"/>
          </a:xfrm>
        </p:grpSpPr>
        <p:sp>
          <p:nvSpPr>
            <p:cNvPr id="15" name="Freeform: Shape 14">
              <a:extLst>
                <a:ext uri="{FF2B5EF4-FFF2-40B4-BE49-F238E27FC236}">
                  <a16:creationId xmlns:a16="http://schemas.microsoft.com/office/drawing/2014/main" id="{2842B283-E38F-4698-A84D-EFA2E277B030}"/>
                </a:ext>
              </a:extLst>
            </p:cNvPr>
            <p:cNvSpPr/>
            <p:nvPr/>
          </p:nvSpPr>
          <p:spPr>
            <a:xfrm>
              <a:off x="709879" y="2697323"/>
              <a:ext cx="1139300" cy="1271389"/>
            </a:xfrm>
            <a:custGeom>
              <a:avLst/>
              <a:gdLst>
                <a:gd name="connsiteX0" fmla="*/ 329762 w 1139300"/>
                <a:gd name="connsiteY0" fmla="*/ 1214071 h 1271389"/>
                <a:gd name="connsiteX1" fmla="*/ 419581 w 1139300"/>
                <a:gd name="connsiteY1" fmla="*/ 1197499 h 1271389"/>
                <a:gd name="connsiteX2" fmla="*/ 476249 w 1139300"/>
                <a:gd name="connsiteY2" fmla="*/ 1087442 h 1271389"/>
                <a:gd name="connsiteX3" fmla="*/ 476249 w 1139300"/>
                <a:gd name="connsiteY3" fmla="*/ 757271 h 1271389"/>
                <a:gd name="connsiteX4" fmla="*/ 188235 w 1139300"/>
                <a:gd name="connsiteY4" fmla="*/ 230925 h 1271389"/>
                <a:gd name="connsiteX5" fmla="*/ 43308 w 1139300"/>
                <a:gd name="connsiteY5" fmla="*/ 67752 h 1271389"/>
                <a:gd name="connsiteX6" fmla="*/ -2593 w 1139300"/>
                <a:gd name="connsiteY6" fmla="*/ 54863 h 1271389"/>
                <a:gd name="connsiteX7" fmla="*/ -2593 w 1139300"/>
                <a:gd name="connsiteY7" fmla="*/ -237 h 1271389"/>
                <a:gd name="connsiteX8" fmla="*/ 479932 w 1139300"/>
                <a:gd name="connsiteY8" fmla="*/ -237 h 1271389"/>
                <a:gd name="connsiteX9" fmla="*/ 479932 w 1139300"/>
                <a:gd name="connsiteY9" fmla="*/ 54863 h 1271389"/>
                <a:gd name="connsiteX10" fmla="*/ 434032 w 1139300"/>
                <a:gd name="connsiteY10" fmla="*/ 65911 h 1271389"/>
                <a:gd name="connsiteX11" fmla="*/ 356961 w 1139300"/>
                <a:gd name="connsiteY11" fmla="*/ 131917 h 1271389"/>
                <a:gd name="connsiteX12" fmla="*/ 397338 w 1139300"/>
                <a:gd name="connsiteY12" fmla="*/ 231067 h 1271389"/>
                <a:gd name="connsiteX13" fmla="*/ 617776 w 1139300"/>
                <a:gd name="connsiteY13" fmla="*/ 653305 h 1271389"/>
                <a:gd name="connsiteX14" fmla="*/ 625143 w 1139300"/>
                <a:gd name="connsiteY14" fmla="*/ 653305 h 1271389"/>
                <a:gd name="connsiteX15" fmla="*/ 837647 w 1139300"/>
                <a:gd name="connsiteY15" fmla="*/ 231492 h 1271389"/>
                <a:gd name="connsiteX16" fmla="*/ 868813 w 1139300"/>
                <a:gd name="connsiteY16" fmla="*/ 132342 h 1271389"/>
                <a:gd name="connsiteX17" fmla="*/ 802793 w 1139300"/>
                <a:gd name="connsiteY17" fmla="*/ 68177 h 1271389"/>
                <a:gd name="connsiteX18" fmla="*/ 744002 w 1139300"/>
                <a:gd name="connsiteY18" fmla="*/ 55288 h 1271389"/>
                <a:gd name="connsiteX19" fmla="*/ 744002 w 1139300"/>
                <a:gd name="connsiteY19" fmla="*/ 189 h 1271389"/>
                <a:gd name="connsiteX20" fmla="*/ 1136708 w 1139300"/>
                <a:gd name="connsiteY20" fmla="*/ 189 h 1271389"/>
                <a:gd name="connsiteX21" fmla="*/ 1136708 w 1139300"/>
                <a:gd name="connsiteY21" fmla="*/ 55288 h 1271389"/>
                <a:gd name="connsiteX22" fmla="*/ 1096334 w 1139300"/>
                <a:gd name="connsiteY22" fmla="*/ 68177 h 1271389"/>
                <a:gd name="connsiteX23" fmla="*/ 931146 w 1139300"/>
                <a:gd name="connsiteY23" fmla="*/ 256987 h 1271389"/>
                <a:gd name="connsiteX24" fmla="*/ 676142 w 1139300"/>
                <a:gd name="connsiteY24" fmla="*/ 743107 h 1271389"/>
                <a:gd name="connsiteX25" fmla="*/ 676142 w 1139300"/>
                <a:gd name="connsiteY25" fmla="*/ 1087867 h 1271389"/>
                <a:gd name="connsiteX26" fmla="*/ 734937 w 1139300"/>
                <a:gd name="connsiteY26" fmla="*/ 1197924 h 1271389"/>
                <a:gd name="connsiteX27" fmla="*/ 824752 w 1139300"/>
                <a:gd name="connsiteY27" fmla="*/ 1214496 h 1271389"/>
                <a:gd name="connsiteX28" fmla="*/ 824752 w 1139300"/>
                <a:gd name="connsiteY28" fmla="*/ 1271153 h 1271389"/>
                <a:gd name="connsiteX29" fmla="*/ 328911 w 1139300"/>
                <a:gd name="connsiteY29" fmla="*/ 1271153 h 1271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139300" h="1271389">
                  <a:moveTo>
                    <a:pt x="329762" y="1214071"/>
                  </a:moveTo>
                  <a:lnTo>
                    <a:pt x="419581" y="1197499"/>
                  </a:lnTo>
                  <a:cubicBezTo>
                    <a:pt x="463638" y="1188292"/>
                    <a:pt x="476249" y="1179227"/>
                    <a:pt x="476249" y="1087442"/>
                  </a:cubicBezTo>
                  <a:lnTo>
                    <a:pt x="476249" y="757271"/>
                  </a:lnTo>
                  <a:lnTo>
                    <a:pt x="188235" y="230925"/>
                  </a:lnTo>
                  <a:cubicBezTo>
                    <a:pt x="122218" y="113503"/>
                    <a:pt x="94590" y="82341"/>
                    <a:pt x="43308" y="67752"/>
                  </a:cubicBezTo>
                  <a:lnTo>
                    <a:pt x="-2593" y="54863"/>
                  </a:lnTo>
                  <a:lnTo>
                    <a:pt x="-2593" y="-237"/>
                  </a:lnTo>
                  <a:lnTo>
                    <a:pt x="479932" y="-237"/>
                  </a:lnTo>
                  <a:lnTo>
                    <a:pt x="479932" y="54863"/>
                  </a:lnTo>
                  <a:lnTo>
                    <a:pt x="434032" y="65911"/>
                  </a:lnTo>
                  <a:cubicBezTo>
                    <a:pt x="375379" y="78659"/>
                    <a:pt x="356961" y="98913"/>
                    <a:pt x="356961" y="131917"/>
                  </a:cubicBezTo>
                  <a:cubicBezTo>
                    <a:pt x="356961" y="155713"/>
                    <a:pt x="373539" y="185033"/>
                    <a:pt x="397338" y="231067"/>
                  </a:cubicBezTo>
                  <a:lnTo>
                    <a:pt x="617776" y="653305"/>
                  </a:lnTo>
                  <a:lnTo>
                    <a:pt x="625143" y="653305"/>
                  </a:lnTo>
                  <a:lnTo>
                    <a:pt x="837647" y="231492"/>
                  </a:lnTo>
                  <a:cubicBezTo>
                    <a:pt x="859602" y="185600"/>
                    <a:pt x="868813" y="156279"/>
                    <a:pt x="868813" y="132342"/>
                  </a:cubicBezTo>
                  <a:cubicBezTo>
                    <a:pt x="868813" y="97497"/>
                    <a:pt x="848694" y="79084"/>
                    <a:pt x="802793" y="68177"/>
                  </a:cubicBezTo>
                  <a:lnTo>
                    <a:pt x="744002" y="55288"/>
                  </a:lnTo>
                  <a:lnTo>
                    <a:pt x="744002" y="189"/>
                  </a:lnTo>
                  <a:lnTo>
                    <a:pt x="1136708" y="189"/>
                  </a:lnTo>
                  <a:lnTo>
                    <a:pt x="1136708" y="55288"/>
                  </a:lnTo>
                  <a:lnTo>
                    <a:pt x="1096334" y="68177"/>
                  </a:lnTo>
                  <a:cubicBezTo>
                    <a:pt x="1033856" y="88290"/>
                    <a:pt x="1002689" y="113928"/>
                    <a:pt x="931146" y="256987"/>
                  </a:cubicBezTo>
                  <a:lnTo>
                    <a:pt x="676142" y="743107"/>
                  </a:lnTo>
                  <a:lnTo>
                    <a:pt x="676142" y="1087867"/>
                  </a:lnTo>
                  <a:cubicBezTo>
                    <a:pt x="676142" y="1179652"/>
                    <a:pt x="683509" y="1188717"/>
                    <a:pt x="734937" y="1197924"/>
                  </a:cubicBezTo>
                  <a:lnTo>
                    <a:pt x="824752" y="1214496"/>
                  </a:lnTo>
                  <a:lnTo>
                    <a:pt x="824752" y="1271153"/>
                  </a:lnTo>
                  <a:lnTo>
                    <a:pt x="328911" y="1271153"/>
                  </a:ln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6" name="Freeform: Shape 15">
              <a:extLst>
                <a:ext uri="{FF2B5EF4-FFF2-40B4-BE49-F238E27FC236}">
                  <a16:creationId xmlns:a16="http://schemas.microsoft.com/office/drawing/2014/main" id="{536ADBA9-BD5E-4F5B-B3C6-6727491B57EA}"/>
                </a:ext>
              </a:extLst>
            </p:cNvPr>
            <p:cNvSpPr/>
            <p:nvPr/>
          </p:nvSpPr>
          <p:spPr>
            <a:xfrm>
              <a:off x="1721900" y="3006248"/>
              <a:ext cx="926375" cy="986828"/>
            </a:xfrm>
            <a:custGeom>
              <a:avLst/>
              <a:gdLst>
                <a:gd name="connsiteX0" fmla="*/ 722610 w 926375"/>
                <a:gd name="connsiteY0" fmla="*/ 508970 h 986828"/>
                <a:gd name="connsiteX1" fmla="*/ 454715 w 926375"/>
                <a:gd name="connsiteY1" fmla="*/ 76109 h 986828"/>
                <a:gd name="connsiteX2" fmla="*/ 199711 w 926375"/>
                <a:gd name="connsiteY2" fmla="*/ 468602 h 986828"/>
                <a:gd name="connsiteX3" fmla="*/ 468882 w 926375"/>
                <a:gd name="connsiteY3" fmla="*/ 907696 h 986828"/>
                <a:gd name="connsiteX4" fmla="*/ 722046 w 926375"/>
                <a:gd name="connsiteY4" fmla="*/ 509679 h 986828"/>
                <a:gd name="connsiteX5" fmla="*/ -2593 w 926375"/>
                <a:gd name="connsiteY5" fmla="*/ 495515 h 986828"/>
                <a:gd name="connsiteX6" fmla="*/ 461515 w 926375"/>
                <a:gd name="connsiteY6" fmla="*/ -237 h 986828"/>
                <a:gd name="connsiteX7" fmla="*/ 923782 w 926375"/>
                <a:gd name="connsiteY7" fmla="*/ 483900 h 986828"/>
                <a:gd name="connsiteX8" fmla="*/ 461515 w 926375"/>
                <a:gd name="connsiteY8" fmla="*/ 986591 h 986828"/>
                <a:gd name="connsiteX9" fmla="*/ -2593 w 926375"/>
                <a:gd name="connsiteY9" fmla="*/ 494948 h 986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6375" h="986828">
                  <a:moveTo>
                    <a:pt x="722610" y="508970"/>
                  </a:moveTo>
                  <a:cubicBezTo>
                    <a:pt x="722610" y="197355"/>
                    <a:pt x="634492" y="76109"/>
                    <a:pt x="454715" y="76109"/>
                  </a:cubicBezTo>
                  <a:cubicBezTo>
                    <a:pt x="289672" y="76109"/>
                    <a:pt x="199711" y="193531"/>
                    <a:pt x="199711" y="468602"/>
                  </a:cubicBezTo>
                  <a:cubicBezTo>
                    <a:pt x="199711" y="780217"/>
                    <a:pt x="289672" y="907696"/>
                    <a:pt x="468882" y="907696"/>
                  </a:cubicBezTo>
                  <a:cubicBezTo>
                    <a:pt x="633925" y="907696"/>
                    <a:pt x="722046" y="784750"/>
                    <a:pt x="722046" y="509679"/>
                  </a:cubicBezTo>
                  <a:moveTo>
                    <a:pt x="-2593" y="495515"/>
                  </a:moveTo>
                  <a:cubicBezTo>
                    <a:pt x="-2593" y="174551"/>
                    <a:pt x="221245" y="-237"/>
                    <a:pt x="461515" y="-237"/>
                  </a:cubicBezTo>
                  <a:cubicBezTo>
                    <a:pt x="722046" y="-237"/>
                    <a:pt x="923782" y="159253"/>
                    <a:pt x="923782" y="483900"/>
                  </a:cubicBezTo>
                  <a:cubicBezTo>
                    <a:pt x="923782" y="805005"/>
                    <a:pt x="699945" y="986591"/>
                    <a:pt x="461515" y="986591"/>
                  </a:cubicBezTo>
                  <a:cubicBezTo>
                    <a:pt x="199144" y="986591"/>
                    <a:pt x="-2593" y="819594"/>
                    <a:pt x="-2593" y="494948"/>
                  </a:cubicBezTo>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7" name="Freeform: Shape 16">
              <a:extLst>
                <a:ext uri="{FF2B5EF4-FFF2-40B4-BE49-F238E27FC236}">
                  <a16:creationId xmlns:a16="http://schemas.microsoft.com/office/drawing/2014/main" id="{D5AA8B4A-9A21-4C86-ABC7-8AD2968130E6}"/>
                </a:ext>
              </a:extLst>
            </p:cNvPr>
            <p:cNvSpPr/>
            <p:nvPr/>
          </p:nvSpPr>
          <p:spPr>
            <a:xfrm>
              <a:off x="2689950" y="3009222"/>
              <a:ext cx="1025401" cy="981446"/>
            </a:xfrm>
            <a:custGeom>
              <a:avLst/>
              <a:gdLst>
                <a:gd name="connsiteX0" fmla="*/ 122077 w 1025401"/>
                <a:gd name="connsiteY0" fmla="*/ 740699 h 981446"/>
                <a:gd name="connsiteX1" fmla="*/ 122077 w 1025401"/>
                <a:gd name="connsiteY1" fmla="*/ 201463 h 981446"/>
                <a:gd name="connsiteX2" fmla="*/ 72634 w 1025401"/>
                <a:gd name="connsiteY2" fmla="*/ 113503 h 981446"/>
                <a:gd name="connsiteX3" fmla="*/ -2593 w 1025401"/>
                <a:gd name="connsiteY3" fmla="*/ 80500 h 981446"/>
                <a:gd name="connsiteX4" fmla="*/ -2593 w 1025401"/>
                <a:gd name="connsiteY4" fmla="*/ 30924 h 981446"/>
                <a:gd name="connsiteX5" fmla="*/ 278054 w 1025401"/>
                <a:gd name="connsiteY5" fmla="*/ -237 h 981446"/>
                <a:gd name="connsiteX6" fmla="*/ 305537 w 1025401"/>
                <a:gd name="connsiteY6" fmla="*/ 18035 h 981446"/>
                <a:gd name="connsiteX7" fmla="*/ 305537 w 1025401"/>
                <a:gd name="connsiteY7" fmla="*/ 697923 h 981446"/>
                <a:gd name="connsiteX8" fmla="*/ 463358 w 1025401"/>
                <a:gd name="connsiteY8" fmla="*/ 861238 h 981446"/>
                <a:gd name="connsiteX9" fmla="*/ 716519 w 1025401"/>
                <a:gd name="connsiteY9" fmla="*/ 793390 h 981446"/>
                <a:gd name="connsiteX10" fmla="*/ 716519 w 1025401"/>
                <a:gd name="connsiteY10" fmla="*/ 201463 h 981446"/>
                <a:gd name="connsiteX11" fmla="*/ 666935 w 1025401"/>
                <a:gd name="connsiteY11" fmla="*/ 113503 h 981446"/>
                <a:gd name="connsiteX12" fmla="*/ 593551 w 1025401"/>
                <a:gd name="connsiteY12" fmla="*/ 80500 h 981446"/>
                <a:gd name="connsiteX13" fmla="*/ 593551 w 1025401"/>
                <a:gd name="connsiteY13" fmla="*/ 30924 h 981446"/>
                <a:gd name="connsiteX14" fmla="*/ 874337 w 1025401"/>
                <a:gd name="connsiteY14" fmla="*/ -237 h 981446"/>
                <a:gd name="connsiteX15" fmla="*/ 899979 w 1025401"/>
                <a:gd name="connsiteY15" fmla="*/ 18035 h 981446"/>
                <a:gd name="connsiteX16" fmla="*/ 899979 w 1025401"/>
                <a:gd name="connsiteY16" fmla="*/ 748064 h 981446"/>
                <a:gd name="connsiteX17" fmla="*/ 954949 w 1025401"/>
                <a:gd name="connsiteY17" fmla="*/ 861379 h 981446"/>
                <a:gd name="connsiteX18" fmla="*/ 1022809 w 1025401"/>
                <a:gd name="connsiteY18" fmla="*/ 892541 h 981446"/>
                <a:gd name="connsiteX19" fmla="*/ 1022809 w 1025401"/>
                <a:gd name="connsiteY19" fmla="*/ 942116 h 981446"/>
                <a:gd name="connsiteX20" fmla="*/ 736635 w 1025401"/>
                <a:gd name="connsiteY20" fmla="*/ 980643 h 981446"/>
                <a:gd name="connsiteX21" fmla="*/ 716519 w 1025401"/>
                <a:gd name="connsiteY21" fmla="*/ 966478 h 981446"/>
                <a:gd name="connsiteX22" fmla="*/ 725726 w 1025401"/>
                <a:gd name="connsiteY22" fmla="*/ 856421 h 981446"/>
                <a:gd name="connsiteX23" fmla="*/ 718362 w 1025401"/>
                <a:gd name="connsiteY23" fmla="*/ 856421 h 981446"/>
                <a:gd name="connsiteX24" fmla="*/ 369855 w 1025401"/>
                <a:gd name="connsiteY24" fmla="*/ 981209 h 981446"/>
                <a:gd name="connsiteX25" fmla="*/ 122077 w 1025401"/>
                <a:gd name="connsiteY25" fmla="*/ 740416 h 981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25401" h="981446">
                  <a:moveTo>
                    <a:pt x="122077" y="740699"/>
                  </a:moveTo>
                  <a:lnTo>
                    <a:pt x="122077" y="201463"/>
                  </a:lnTo>
                  <a:cubicBezTo>
                    <a:pt x="122077" y="133616"/>
                    <a:pt x="114851" y="131775"/>
                    <a:pt x="72634" y="113503"/>
                  </a:cubicBezTo>
                  <a:lnTo>
                    <a:pt x="-2593" y="80500"/>
                  </a:lnTo>
                  <a:lnTo>
                    <a:pt x="-2593" y="30924"/>
                  </a:lnTo>
                  <a:lnTo>
                    <a:pt x="278054" y="-237"/>
                  </a:lnTo>
                  <a:lnTo>
                    <a:pt x="305537" y="18035"/>
                  </a:lnTo>
                  <a:lnTo>
                    <a:pt x="305537" y="697923"/>
                  </a:lnTo>
                  <a:cubicBezTo>
                    <a:pt x="305537" y="804297"/>
                    <a:pt x="353281" y="861238"/>
                    <a:pt x="463358" y="861238"/>
                  </a:cubicBezTo>
                  <a:cubicBezTo>
                    <a:pt x="553174" y="861238"/>
                    <a:pt x="648659" y="822711"/>
                    <a:pt x="716519" y="793390"/>
                  </a:cubicBezTo>
                  <a:lnTo>
                    <a:pt x="716519" y="201463"/>
                  </a:lnTo>
                  <a:cubicBezTo>
                    <a:pt x="716519" y="133616"/>
                    <a:pt x="710995" y="131775"/>
                    <a:pt x="666935" y="113503"/>
                  </a:cubicBezTo>
                  <a:lnTo>
                    <a:pt x="593551" y="80500"/>
                  </a:lnTo>
                  <a:lnTo>
                    <a:pt x="593551" y="30924"/>
                  </a:lnTo>
                  <a:lnTo>
                    <a:pt x="874337" y="-237"/>
                  </a:lnTo>
                  <a:lnTo>
                    <a:pt x="899979" y="18035"/>
                  </a:lnTo>
                  <a:lnTo>
                    <a:pt x="899979" y="748064"/>
                  </a:lnTo>
                  <a:cubicBezTo>
                    <a:pt x="899979" y="830643"/>
                    <a:pt x="911030" y="841549"/>
                    <a:pt x="954949" y="861379"/>
                  </a:cubicBezTo>
                  <a:lnTo>
                    <a:pt x="1022809" y="892541"/>
                  </a:lnTo>
                  <a:lnTo>
                    <a:pt x="1022809" y="942116"/>
                  </a:lnTo>
                  <a:lnTo>
                    <a:pt x="736635" y="980643"/>
                  </a:lnTo>
                  <a:lnTo>
                    <a:pt x="716519" y="966478"/>
                  </a:lnTo>
                  <a:lnTo>
                    <a:pt x="725726" y="856421"/>
                  </a:lnTo>
                  <a:lnTo>
                    <a:pt x="718362" y="856421"/>
                  </a:lnTo>
                  <a:cubicBezTo>
                    <a:pt x="621176" y="920586"/>
                    <a:pt x="498208" y="981209"/>
                    <a:pt x="369855" y="981209"/>
                  </a:cubicBezTo>
                  <a:cubicBezTo>
                    <a:pt x="215718" y="981209"/>
                    <a:pt x="122077" y="896223"/>
                    <a:pt x="122077" y="740416"/>
                  </a:cubicBezTo>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8" name="Freeform: Shape 17">
              <a:extLst>
                <a:ext uri="{FF2B5EF4-FFF2-40B4-BE49-F238E27FC236}">
                  <a16:creationId xmlns:a16="http://schemas.microsoft.com/office/drawing/2014/main" id="{946FCCF5-48EF-48E2-87BE-2AD683778623}"/>
                </a:ext>
              </a:extLst>
            </p:cNvPr>
            <p:cNvSpPr/>
            <p:nvPr/>
          </p:nvSpPr>
          <p:spPr>
            <a:xfrm>
              <a:off x="3797828" y="3005114"/>
              <a:ext cx="697435" cy="962890"/>
            </a:xfrm>
            <a:custGeom>
              <a:avLst/>
              <a:gdLst>
                <a:gd name="connsiteX0" fmla="*/ -1745 w 697435"/>
                <a:gd name="connsiteY0" fmla="*/ 908121 h 962890"/>
                <a:gd name="connsiteX1" fmla="*/ 73482 w 697435"/>
                <a:gd name="connsiteY1" fmla="*/ 887867 h 962890"/>
                <a:gd name="connsiteX2" fmla="*/ 122924 w 697435"/>
                <a:gd name="connsiteY2" fmla="*/ 792540 h 962890"/>
                <a:gd name="connsiteX3" fmla="*/ 122924 w 697435"/>
                <a:gd name="connsiteY3" fmla="*/ 223985 h 962890"/>
                <a:gd name="connsiteX4" fmla="*/ 67958 w 697435"/>
                <a:gd name="connsiteY4" fmla="*/ 124834 h 962890"/>
                <a:gd name="connsiteX5" fmla="*/ -1745 w 697435"/>
                <a:gd name="connsiteY5" fmla="*/ 89990 h 962890"/>
                <a:gd name="connsiteX6" fmla="*/ -1745 w 697435"/>
                <a:gd name="connsiteY6" fmla="*/ 42398 h 962890"/>
                <a:gd name="connsiteX7" fmla="*/ 288109 w 697435"/>
                <a:gd name="connsiteY7" fmla="*/ 3871 h 962890"/>
                <a:gd name="connsiteX8" fmla="*/ 306385 w 697435"/>
                <a:gd name="connsiteY8" fmla="*/ 18035 h 962890"/>
                <a:gd name="connsiteX9" fmla="*/ 297319 w 697435"/>
                <a:gd name="connsiteY9" fmla="*/ 124410 h 962890"/>
                <a:gd name="connsiteX10" fmla="*/ 304544 w 697435"/>
                <a:gd name="connsiteY10" fmla="*/ 124410 h 962890"/>
                <a:gd name="connsiteX11" fmla="*/ 573716 w 697435"/>
                <a:gd name="connsiteY11" fmla="*/ -237 h 962890"/>
                <a:gd name="connsiteX12" fmla="*/ 694843 w 697435"/>
                <a:gd name="connsiteY12" fmla="*/ 109820 h 962890"/>
                <a:gd name="connsiteX13" fmla="*/ 595675 w 697435"/>
                <a:gd name="connsiteY13" fmla="*/ 212511 h 962890"/>
                <a:gd name="connsiteX14" fmla="*/ 491121 w 697435"/>
                <a:gd name="connsiteY14" fmla="*/ 153871 h 962890"/>
                <a:gd name="connsiteX15" fmla="*/ 448621 w 697435"/>
                <a:gd name="connsiteY15" fmla="*/ 122568 h 962890"/>
                <a:gd name="connsiteX16" fmla="*/ 305537 w 697435"/>
                <a:gd name="connsiteY16" fmla="*/ 203304 h 962890"/>
                <a:gd name="connsiteX17" fmla="*/ 305537 w 697435"/>
                <a:gd name="connsiteY17" fmla="*/ 792116 h 962890"/>
                <a:gd name="connsiteX18" fmla="*/ 353278 w 697435"/>
                <a:gd name="connsiteY18" fmla="*/ 887442 h 962890"/>
                <a:gd name="connsiteX19" fmla="*/ 446781 w 697435"/>
                <a:gd name="connsiteY19" fmla="*/ 907696 h 962890"/>
                <a:gd name="connsiteX20" fmla="*/ 446781 w 697435"/>
                <a:gd name="connsiteY20" fmla="*/ 962654 h 962890"/>
                <a:gd name="connsiteX21" fmla="*/ -2593 w 697435"/>
                <a:gd name="connsiteY21" fmla="*/ 962654 h 962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7435" h="962890">
                  <a:moveTo>
                    <a:pt x="-1745" y="908121"/>
                  </a:moveTo>
                  <a:lnTo>
                    <a:pt x="73482" y="887867"/>
                  </a:lnTo>
                  <a:cubicBezTo>
                    <a:pt x="110175" y="878660"/>
                    <a:pt x="122924" y="864070"/>
                    <a:pt x="122924" y="792540"/>
                  </a:cubicBezTo>
                  <a:lnTo>
                    <a:pt x="122924" y="223985"/>
                  </a:lnTo>
                  <a:cubicBezTo>
                    <a:pt x="122924" y="150613"/>
                    <a:pt x="113859" y="146931"/>
                    <a:pt x="67958" y="124834"/>
                  </a:cubicBezTo>
                  <a:lnTo>
                    <a:pt x="-1745" y="89990"/>
                  </a:lnTo>
                  <a:lnTo>
                    <a:pt x="-1745" y="42398"/>
                  </a:lnTo>
                  <a:lnTo>
                    <a:pt x="288109" y="3871"/>
                  </a:lnTo>
                  <a:lnTo>
                    <a:pt x="306385" y="18035"/>
                  </a:lnTo>
                  <a:lnTo>
                    <a:pt x="297319" y="124410"/>
                  </a:lnTo>
                  <a:lnTo>
                    <a:pt x="304544" y="124410"/>
                  </a:lnTo>
                  <a:cubicBezTo>
                    <a:pt x="368863" y="60245"/>
                    <a:pt x="482482" y="-237"/>
                    <a:pt x="573716" y="-237"/>
                  </a:cubicBezTo>
                  <a:cubicBezTo>
                    <a:pt x="648943" y="-237"/>
                    <a:pt x="694843" y="40132"/>
                    <a:pt x="694843" y="109820"/>
                  </a:cubicBezTo>
                  <a:cubicBezTo>
                    <a:pt x="694843" y="179509"/>
                    <a:pt x="648943" y="212511"/>
                    <a:pt x="595675" y="212511"/>
                  </a:cubicBezTo>
                  <a:cubicBezTo>
                    <a:pt x="527815" y="212511"/>
                    <a:pt x="507696" y="194098"/>
                    <a:pt x="491121" y="153871"/>
                  </a:cubicBezTo>
                  <a:cubicBezTo>
                    <a:pt x="480213" y="128092"/>
                    <a:pt x="467322" y="122568"/>
                    <a:pt x="448621" y="122568"/>
                  </a:cubicBezTo>
                  <a:cubicBezTo>
                    <a:pt x="411927" y="122568"/>
                    <a:pt x="338544" y="166619"/>
                    <a:pt x="305537" y="203304"/>
                  </a:cubicBezTo>
                  <a:lnTo>
                    <a:pt x="305537" y="792116"/>
                  </a:lnTo>
                  <a:cubicBezTo>
                    <a:pt x="305537" y="869170"/>
                    <a:pt x="316584" y="880076"/>
                    <a:pt x="353278" y="887442"/>
                  </a:cubicBezTo>
                  <a:lnTo>
                    <a:pt x="446781" y="907696"/>
                  </a:lnTo>
                  <a:lnTo>
                    <a:pt x="446781" y="962654"/>
                  </a:lnTo>
                  <a:lnTo>
                    <a:pt x="-2593" y="962654"/>
                  </a:ln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19" name="Freeform: Shape 18">
              <a:extLst>
                <a:ext uri="{FF2B5EF4-FFF2-40B4-BE49-F238E27FC236}">
                  <a16:creationId xmlns:a16="http://schemas.microsoft.com/office/drawing/2014/main" id="{E6C9BFD1-C9BB-438B-AD5A-1A227956C157}"/>
                </a:ext>
              </a:extLst>
            </p:cNvPr>
            <p:cNvSpPr/>
            <p:nvPr/>
          </p:nvSpPr>
          <p:spPr>
            <a:xfrm>
              <a:off x="4980338" y="2561771"/>
              <a:ext cx="982613" cy="1406800"/>
            </a:xfrm>
            <a:custGeom>
              <a:avLst/>
              <a:gdLst>
                <a:gd name="connsiteX0" fmla="*/ 310777 w 982613"/>
                <a:gd name="connsiteY0" fmla="*/ 472852 h 1406800"/>
                <a:gd name="connsiteX1" fmla="*/ 647808 w 982613"/>
                <a:gd name="connsiteY1" fmla="*/ 472852 h 1406800"/>
                <a:gd name="connsiteX2" fmla="*/ 846145 w 982613"/>
                <a:gd name="connsiteY2" fmla="*/ 447214 h 1406800"/>
                <a:gd name="connsiteX3" fmla="*/ 866260 w 982613"/>
                <a:gd name="connsiteY3" fmla="*/ 458121 h 1406800"/>
                <a:gd name="connsiteX4" fmla="*/ 857195 w 982613"/>
                <a:gd name="connsiteY4" fmla="*/ 626959 h 1406800"/>
                <a:gd name="connsiteX5" fmla="*/ 857195 w 982613"/>
                <a:gd name="connsiteY5" fmla="*/ 1236025 h 1406800"/>
                <a:gd name="connsiteX6" fmla="*/ 904794 w 982613"/>
                <a:gd name="connsiteY6" fmla="*/ 1331351 h 1406800"/>
                <a:gd name="connsiteX7" fmla="*/ 980021 w 982613"/>
                <a:gd name="connsiteY7" fmla="*/ 1351606 h 1406800"/>
                <a:gd name="connsiteX8" fmla="*/ 980021 w 982613"/>
                <a:gd name="connsiteY8" fmla="*/ 1406564 h 1406800"/>
                <a:gd name="connsiteX9" fmla="*/ 555014 w 982613"/>
                <a:gd name="connsiteY9" fmla="*/ 1406564 h 1406800"/>
                <a:gd name="connsiteX10" fmla="*/ 555014 w 982613"/>
                <a:gd name="connsiteY10" fmla="*/ 1351606 h 1406800"/>
                <a:gd name="connsiteX11" fmla="*/ 624718 w 982613"/>
                <a:gd name="connsiteY11" fmla="*/ 1331351 h 1406800"/>
                <a:gd name="connsiteX12" fmla="*/ 674302 w 982613"/>
                <a:gd name="connsiteY12" fmla="*/ 1236025 h 1406800"/>
                <a:gd name="connsiteX13" fmla="*/ 674302 w 982613"/>
                <a:gd name="connsiteY13" fmla="*/ 667328 h 1406800"/>
                <a:gd name="connsiteX14" fmla="*/ 600915 w 982613"/>
                <a:gd name="connsiteY14" fmla="*/ 570019 h 1406800"/>
                <a:gd name="connsiteX15" fmla="*/ 311061 w 982613"/>
                <a:gd name="connsiteY15" fmla="*/ 570019 h 1406800"/>
                <a:gd name="connsiteX16" fmla="*/ 311061 w 982613"/>
                <a:gd name="connsiteY16" fmla="*/ 1226677 h 1406800"/>
                <a:gd name="connsiteX17" fmla="*/ 358805 w 982613"/>
                <a:gd name="connsiteY17" fmla="*/ 1331210 h 1406800"/>
                <a:gd name="connsiteX18" fmla="*/ 434028 w 982613"/>
                <a:gd name="connsiteY18" fmla="*/ 1351465 h 1406800"/>
                <a:gd name="connsiteX19" fmla="*/ 434028 w 982613"/>
                <a:gd name="connsiteY19" fmla="*/ 1406422 h 1406800"/>
                <a:gd name="connsiteX20" fmla="*/ 2789 w 982613"/>
                <a:gd name="connsiteY20" fmla="*/ 1406422 h 1406800"/>
                <a:gd name="connsiteX21" fmla="*/ 2789 w 982613"/>
                <a:gd name="connsiteY21" fmla="*/ 1351465 h 1406800"/>
                <a:gd name="connsiteX22" fmla="*/ 78016 w 982613"/>
                <a:gd name="connsiteY22" fmla="*/ 1331210 h 1406800"/>
                <a:gd name="connsiteX23" fmla="*/ 127600 w 982613"/>
                <a:gd name="connsiteY23" fmla="*/ 1235884 h 1406800"/>
                <a:gd name="connsiteX24" fmla="*/ 127600 w 982613"/>
                <a:gd name="connsiteY24" fmla="*/ 570160 h 1406800"/>
                <a:gd name="connsiteX25" fmla="*/ -2593 w 982613"/>
                <a:gd name="connsiteY25" fmla="*/ 570160 h 1406800"/>
                <a:gd name="connsiteX26" fmla="*/ -2593 w 982613"/>
                <a:gd name="connsiteY26" fmla="*/ 515203 h 1406800"/>
                <a:gd name="connsiteX27" fmla="*/ 127600 w 982613"/>
                <a:gd name="connsiteY27" fmla="*/ 471152 h 1406800"/>
                <a:gd name="connsiteX28" fmla="*/ 127600 w 982613"/>
                <a:gd name="connsiteY28" fmla="*/ 397781 h 1406800"/>
                <a:gd name="connsiteX29" fmla="*/ 567908 w 982613"/>
                <a:gd name="connsiteY29" fmla="*/ -237 h 1406800"/>
                <a:gd name="connsiteX30" fmla="*/ 778852 w 982613"/>
                <a:gd name="connsiteY30" fmla="*/ 115344 h 1406800"/>
                <a:gd name="connsiteX31" fmla="*/ 679684 w 982613"/>
                <a:gd name="connsiteY31" fmla="*/ 216194 h 1406800"/>
                <a:gd name="connsiteX32" fmla="*/ 566348 w 982613"/>
                <a:gd name="connsiteY32" fmla="*/ 113503 h 1406800"/>
                <a:gd name="connsiteX33" fmla="*/ 514924 w 982613"/>
                <a:gd name="connsiteY33" fmla="*/ 65769 h 1406800"/>
                <a:gd name="connsiteX34" fmla="*/ 311344 w 982613"/>
                <a:gd name="connsiteY34" fmla="*/ 300613 h 1406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982613" h="1406800">
                  <a:moveTo>
                    <a:pt x="310777" y="472852"/>
                  </a:moveTo>
                  <a:lnTo>
                    <a:pt x="647808" y="472852"/>
                  </a:lnTo>
                  <a:lnTo>
                    <a:pt x="846145" y="447214"/>
                  </a:lnTo>
                  <a:lnTo>
                    <a:pt x="866260" y="458121"/>
                  </a:lnTo>
                  <a:cubicBezTo>
                    <a:pt x="860170" y="514197"/>
                    <a:pt x="857195" y="570557"/>
                    <a:pt x="857195" y="626959"/>
                  </a:cubicBezTo>
                  <a:lnTo>
                    <a:pt x="857195" y="1236025"/>
                  </a:lnTo>
                  <a:cubicBezTo>
                    <a:pt x="857195" y="1313079"/>
                    <a:pt x="868104" y="1322286"/>
                    <a:pt x="904794" y="1331351"/>
                  </a:cubicBezTo>
                  <a:lnTo>
                    <a:pt x="980021" y="1351606"/>
                  </a:lnTo>
                  <a:lnTo>
                    <a:pt x="980021" y="1406564"/>
                  </a:lnTo>
                  <a:lnTo>
                    <a:pt x="555014" y="1406564"/>
                  </a:lnTo>
                  <a:lnTo>
                    <a:pt x="555014" y="1351606"/>
                  </a:lnTo>
                  <a:lnTo>
                    <a:pt x="624718" y="1331351"/>
                  </a:lnTo>
                  <a:cubicBezTo>
                    <a:pt x="659568" y="1322286"/>
                    <a:pt x="674302" y="1307555"/>
                    <a:pt x="674302" y="1236025"/>
                  </a:cubicBezTo>
                  <a:lnTo>
                    <a:pt x="674302" y="667328"/>
                  </a:lnTo>
                  <a:cubicBezTo>
                    <a:pt x="674302" y="593956"/>
                    <a:pt x="648517" y="570019"/>
                    <a:pt x="600915" y="570019"/>
                  </a:cubicBezTo>
                  <a:lnTo>
                    <a:pt x="311061" y="570019"/>
                  </a:lnTo>
                  <a:lnTo>
                    <a:pt x="311061" y="1226677"/>
                  </a:lnTo>
                  <a:cubicBezTo>
                    <a:pt x="311061" y="1312938"/>
                    <a:pt x="318428" y="1320303"/>
                    <a:pt x="358805" y="1331210"/>
                  </a:cubicBezTo>
                  <a:lnTo>
                    <a:pt x="434028" y="1351465"/>
                  </a:lnTo>
                  <a:lnTo>
                    <a:pt x="434028" y="1406422"/>
                  </a:lnTo>
                  <a:lnTo>
                    <a:pt x="2789" y="1406422"/>
                  </a:lnTo>
                  <a:lnTo>
                    <a:pt x="2789" y="1351465"/>
                  </a:lnTo>
                  <a:lnTo>
                    <a:pt x="78016" y="1331210"/>
                  </a:lnTo>
                  <a:cubicBezTo>
                    <a:pt x="114709" y="1322144"/>
                    <a:pt x="127600" y="1307413"/>
                    <a:pt x="127600" y="1235884"/>
                  </a:cubicBezTo>
                  <a:lnTo>
                    <a:pt x="127600" y="570160"/>
                  </a:lnTo>
                  <a:lnTo>
                    <a:pt x="-2593" y="570160"/>
                  </a:lnTo>
                  <a:lnTo>
                    <a:pt x="-2593" y="515203"/>
                  </a:lnTo>
                  <a:lnTo>
                    <a:pt x="127600" y="471152"/>
                  </a:lnTo>
                  <a:lnTo>
                    <a:pt x="127600" y="397781"/>
                  </a:lnTo>
                  <a:cubicBezTo>
                    <a:pt x="127600" y="142823"/>
                    <a:pt x="305537" y="-237"/>
                    <a:pt x="567908" y="-237"/>
                  </a:cubicBezTo>
                  <a:cubicBezTo>
                    <a:pt x="714675" y="-237"/>
                    <a:pt x="778852" y="51180"/>
                    <a:pt x="778852" y="115344"/>
                  </a:cubicBezTo>
                  <a:cubicBezTo>
                    <a:pt x="778852" y="185032"/>
                    <a:pt x="738475" y="216194"/>
                    <a:pt x="679684" y="216194"/>
                  </a:cubicBezTo>
                  <a:cubicBezTo>
                    <a:pt x="608849" y="216194"/>
                    <a:pt x="574992" y="175826"/>
                    <a:pt x="566348" y="113503"/>
                  </a:cubicBezTo>
                  <a:cubicBezTo>
                    <a:pt x="562665" y="84182"/>
                    <a:pt x="549774" y="65769"/>
                    <a:pt x="514924" y="65769"/>
                  </a:cubicBezTo>
                  <a:cubicBezTo>
                    <a:pt x="406687" y="65769"/>
                    <a:pt x="311344" y="109820"/>
                    <a:pt x="311344" y="300613"/>
                  </a:cubicBez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20" name="Freeform: Shape 19">
              <a:extLst>
                <a:ext uri="{FF2B5EF4-FFF2-40B4-BE49-F238E27FC236}">
                  <a16:creationId xmlns:a16="http://schemas.microsoft.com/office/drawing/2014/main" id="{46279AA3-3300-4D7C-937A-A489B7CA46EA}"/>
                </a:ext>
              </a:extLst>
            </p:cNvPr>
            <p:cNvSpPr/>
            <p:nvPr/>
          </p:nvSpPr>
          <p:spPr>
            <a:xfrm>
              <a:off x="6051098" y="3005114"/>
              <a:ext cx="697435" cy="962890"/>
            </a:xfrm>
            <a:custGeom>
              <a:avLst/>
              <a:gdLst>
                <a:gd name="connsiteX0" fmla="*/ -1604 w 697435"/>
                <a:gd name="connsiteY0" fmla="*/ 908121 h 962890"/>
                <a:gd name="connsiteX1" fmla="*/ 73623 w 697435"/>
                <a:gd name="connsiteY1" fmla="*/ 887867 h 962890"/>
                <a:gd name="connsiteX2" fmla="*/ 123066 w 697435"/>
                <a:gd name="connsiteY2" fmla="*/ 792540 h 962890"/>
                <a:gd name="connsiteX3" fmla="*/ 123066 w 697435"/>
                <a:gd name="connsiteY3" fmla="*/ 223985 h 962890"/>
                <a:gd name="connsiteX4" fmla="*/ 68100 w 697435"/>
                <a:gd name="connsiteY4" fmla="*/ 124834 h 962890"/>
                <a:gd name="connsiteX5" fmla="*/ -1604 w 697435"/>
                <a:gd name="connsiteY5" fmla="*/ 89990 h 962890"/>
                <a:gd name="connsiteX6" fmla="*/ -1604 w 697435"/>
                <a:gd name="connsiteY6" fmla="*/ 42398 h 962890"/>
                <a:gd name="connsiteX7" fmla="*/ 288250 w 697435"/>
                <a:gd name="connsiteY7" fmla="*/ 3871 h 962890"/>
                <a:gd name="connsiteX8" fmla="*/ 306526 w 697435"/>
                <a:gd name="connsiteY8" fmla="*/ 18035 h 962890"/>
                <a:gd name="connsiteX9" fmla="*/ 297319 w 697435"/>
                <a:gd name="connsiteY9" fmla="*/ 124410 h 962890"/>
                <a:gd name="connsiteX10" fmla="*/ 304686 w 697435"/>
                <a:gd name="connsiteY10" fmla="*/ 124410 h 962890"/>
                <a:gd name="connsiteX11" fmla="*/ 573857 w 697435"/>
                <a:gd name="connsiteY11" fmla="*/ -237 h 962890"/>
                <a:gd name="connsiteX12" fmla="*/ 694843 w 697435"/>
                <a:gd name="connsiteY12" fmla="*/ 109820 h 962890"/>
                <a:gd name="connsiteX13" fmla="*/ 595675 w 697435"/>
                <a:gd name="connsiteY13" fmla="*/ 212511 h 962890"/>
                <a:gd name="connsiteX14" fmla="*/ 491121 w 697435"/>
                <a:gd name="connsiteY14" fmla="*/ 153871 h 962890"/>
                <a:gd name="connsiteX15" fmla="*/ 448621 w 697435"/>
                <a:gd name="connsiteY15" fmla="*/ 122568 h 962890"/>
                <a:gd name="connsiteX16" fmla="*/ 305537 w 697435"/>
                <a:gd name="connsiteY16" fmla="*/ 203304 h 962890"/>
                <a:gd name="connsiteX17" fmla="*/ 305537 w 697435"/>
                <a:gd name="connsiteY17" fmla="*/ 792116 h 962890"/>
                <a:gd name="connsiteX18" fmla="*/ 353278 w 697435"/>
                <a:gd name="connsiteY18" fmla="*/ 887442 h 962890"/>
                <a:gd name="connsiteX19" fmla="*/ 446781 w 697435"/>
                <a:gd name="connsiteY19" fmla="*/ 907696 h 962890"/>
                <a:gd name="connsiteX20" fmla="*/ 446781 w 697435"/>
                <a:gd name="connsiteY20" fmla="*/ 962654 h 962890"/>
                <a:gd name="connsiteX21" fmla="*/ -2593 w 697435"/>
                <a:gd name="connsiteY21" fmla="*/ 962654 h 962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697435" h="962890">
                  <a:moveTo>
                    <a:pt x="-1604" y="908121"/>
                  </a:moveTo>
                  <a:lnTo>
                    <a:pt x="73623" y="887867"/>
                  </a:lnTo>
                  <a:cubicBezTo>
                    <a:pt x="110317" y="878660"/>
                    <a:pt x="123066" y="864070"/>
                    <a:pt x="123066" y="792540"/>
                  </a:cubicBezTo>
                  <a:lnTo>
                    <a:pt x="123066" y="223985"/>
                  </a:lnTo>
                  <a:cubicBezTo>
                    <a:pt x="123066" y="150613"/>
                    <a:pt x="113859" y="146931"/>
                    <a:pt x="68100" y="124834"/>
                  </a:cubicBezTo>
                  <a:lnTo>
                    <a:pt x="-1604" y="89990"/>
                  </a:lnTo>
                  <a:lnTo>
                    <a:pt x="-1604" y="42398"/>
                  </a:lnTo>
                  <a:lnTo>
                    <a:pt x="288250" y="3871"/>
                  </a:lnTo>
                  <a:lnTo>
                    <a:pt x="306526" y="18035"/>
                  </a:lnTo>
                  <a:lnTo>
                    <a:pt x="297319" y="124410"/>
                  </a:lnTo>
                  <a:lnTo>
                    <a:pt x="304686" y="124410"/>
                  </a:lnTo>
                  <a:cubicBezTo>
                    <a:pt x="368863" y="60245"/>
                    <a:pt x="482623" y="-237"/>
                    <a:pt x="573857" y="-237"/>
                  </a:cubicBezTo>
                  <a:cubicBezTo>
                    <a:pt x="649084" y="-237"/>
                    <a:pt x="694843" y="40132"/>
                    <a:pt x="694843" y="109820"/>
                  </a:cubicBezTo>
                  <a:cubicBezTo>
                    <a:pt x="694843" y="179509"/>
                    <a:pt x="649084" y="212511"/>
                    <a:pt x="595675" y="212511"/>
                  </a:cubicBezTo>
                  <a:cubicBezTo>
                    <a:pt x="527815" y="212511"/>
                    <a:pt x="507696" y="194098"/>
                    <a:pt x="491121" y="153871"/>
                  </a:cubicBezTo>
                  <a:cubicBezTo>
                    <a:pt x="480071" y="128092"/>
                    <a:pt x="467322" y="122568"/>
                    <a:pt x="448621" y="122568"/>
                  </a:cubicBezTo>
                  <a:cubicBezTo>
                    <a:pt x="411931" y="122568"/>
                    <a:pt x="338544" y="166619"/>
                    <a:pt x="305537" y="203304"/>
                  </a:cubicBezTo>
                  <a:lnTo>
                    <a:pt x="305537" y="792116"/>
                  </a:lnTo>
                  <a:cubicBezTo>
                    <a:pt x="305537" y="869170"/>
                    <a:pt x="316584" y="880076"/>
                    <a:pt x="353278" y="887442"/>
                  </a:cubicBezTo>
                  <a:lnTo>
                    <a:pt x="446781" y="907696"/>
                  </a:lnTo>
                  <a:lnTo>
                    <a:pt x="446781" y="962654"/>
                  </a:lnTo>
                  <a:lnTo>
                    <a:pt x="-2593" y="962654"/>
                  </a:lnTo>
                  <a:close/>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sp>
          <p:nvSpPr>
            <p:cNvPr id="21" name="Freeform: Shape 20">
              <a:extLst>
                <a:ext uri="{FF2B5EF4-FFF2-40B4-BE49-F238E27FC236}">
                  <a16:creationId xmlns:a16="http://schemas.microsoft.com/office/drawing/2014/main" id="{B5E217A5-A8A8-44A5-ACCB-4BA33AF862DA}"/>
                </a:ext>
              </a:extLst>
            </p:cNvPr>
            <p:cNvSpPr/>
            <p:nvPr/>
          </p:nvSpPr>
          <p:spPr>
            <a:xfrm>
              <a:off x="6823717" y="3006956"/>
              <a:ext cx="1561052" cy="961615"/>
            </a:xfrm>
            <a:custGeom>
              <a:avLst/>
              <a:gdLst>
                <a:gd name="connsiteX0" fmla="*/ -2593 w 1561052"/>
                <a:gd name="connsiteY0" fmla="*/ 906280 h 961615"/>
                <a:gd name="connsiteX1" fmla="*/ 72492 w 1561052"/>
                <a:gd name="connsiteY1" fmla="*/ 886025 h 961615"/>
                <a:gd name="connsiteX2" fmla="*/ 122077 w 1561052"/>
                <a:gd name="connsiteY2" fmla="*/ 790699 h 961615"/>
                <a:gd name="connsiteX3" fmla="*/ 122077 w 1561052"/>
                <a:gd name="connsiteY3" fmla="*/ 222143 h 961615"/>
                <a:gd name="connsiteX4" fmla="*/ 66969 w 1561052"/>
                <a:gd name="connsiteY4" fmla="*/ 122993 h 961615"/>
                <a:gd name="connsiteX5" fmla="*/ -2593 w 1561052"/>
                <a:gd name="connsiteY5" fmla="*/ 88148 h 961615"/>
                <a:gd name="connsiteX6" fmla="*/ -2593 w 1561052"/>
                <a:gd name="connsiteY6" fmla="*/ 40557 h 961615"/>
                <a:gd name="connsiteX7" fmla="*/ 287123 w 1561052"/>
                <a:gd name="connsiteY7" fmla="*/ 2030 h 961615"/>
                <a:gd name="connsiteX8" fmla="*/ 305537 w 1561052"/>
                <a:gd name="connsiteY8" fmla="*/ 16194 h 961615"/>
                <a:gd name="connsiteX9" fmla="*/ 296330 w 1561052"/>
                <a:gd name="connsiteY9" fmla="*/ 115344 h 961615"/>
                <a:gd name="connsiteX10" fmla="*/ 303697 w 1561052"/>
                <a:gd name="connsiteY10" fmla="*/ 115344 h 961615"/>
                <a:gd name="connsiteX11" fmla="*/ 633928 w 1561052"/>
                <a:gd name="connsiteY11" fmla="*/ -237 h 961615"/>
                <a:gd name="connsiteX12" fmla="*/ 855922 w 1561052"/>
                <a:gd name="connsiteY12" fmla="*/ 118885 h 961615"/>
                <a:gd name="connsiteX13" fmla="*/ 863148 w 1561052"/>
                <a:gd name="connsiteY13" fmla="*/ 118885 h 961615"/>
                <a:gd name="connsiteX14" fmla="*/ 1211796 w 1561052"/>
                <a:gd name="connsiteY14" fmla="*/ -237 h 961615"/>
                <a:gd name="connsiteX15" fmla="*/ 1435489 w 1561052"/>
                <a:gd name="connsiteY15" fmla="*/ 245514 h 961615"/>
                <a:gd name="connsiteX16" fmla="*/ 1435489 w 1561052"/>
                <a:gd name="connsiteY16" fmla="*/ 790274 h 961615"/>
                <a:gd name="connsiteX17" fmla="*/ 1483233 w 1561052"/>
                <a:gd name="connsiteY17" fmla="*/ 885600 h 961615"/>
                <a:gd name="connsiteX18" fmla="*/ 1558460 w 1561052"/>
                <a:gd name="connsiteY18" fmla="*/ 905855 h 961615"/>
                <a:gd name="connsiteX19" fmla="*/ 1558460 w 1561052"/>
                <a:gd name="connsiteY19" fmla="*/ 960813 h 961615"/>
                <a:gd name="connsiteX20" fmla="*/ 1127359 w 1561052"/>
                <a:gd name="connsiteY20" fmla="*/ 960813 h 961615"/>
                <a:gd name="connsiteX21" fmla="*/ 1127359 w 1561052"/>
                <a:gd name="connsiteY21" fmla="*/ 905855 h 961615"/>
                <a:gd name="connsiteX22" fmla="*/ 1202586 w 1561052"/>
                <a:gd name="connsiteY22" fmla="*/ 885600 h 961615"/>
                <a:gd name="connsiteX23" fmla="*/ 1252170 w 1561052"/>
                <a:gd name="connsiteY23" fmla="*/ 790274 h 961615"/>
                <a:gd name="connsiteX24" fmla="*/ 1252170 w 1561052"/>
                <a:gd name="connsiteY24" fmla="*/ 297356 h 961615"/>
                <a:gd name="connsiteX25" fmla="*/ 1109086 w 1561052"/>
                <a:gd name="connsiteY25" fmla="*/ 121152 h 961615"/>
                <a:gd name="connsiteX26" fmla="*/ 870515 w 1561052"/>
                <a:gd name="connsiteY26" fmla="*/ 181775 h 961615"/>
                <a:gd name="connsiteX27" fmla="*/ 870515 w 1561052"/>
                <a:gd name="connsiteY27" fmla="*/ 790841 h 961615"/>
                <a:gd name="connsiteX28" fmla="*/ 918255 w 1561052"/>
                <a:gd name="connsiteY28" fmla="*/ 886166 h 961615"/>
                <a:gd name="connsiteX29" fmla="*/ 993482 w 1561052"/>
                <a:gd name="connsiteY29" fmla="*/ 906422 h 961615"/>
                <a:gd name="connsiteX30" fmla="*/ 993482 w 1561052"/>
                <a:gd name="connsiteY30" fmla="*/ 961379 h 961615"/>
                <a:gd name="connsiteX31" fmla="*/ 562385 w 1561052"/>
                <a:gd name="connsiteY31" fmla="*/ 961379 h 961615"/>
                <a:gd name="connsiteX32" fmla="*/ 562385 w 1561052"/>
                <a:gd name="connsiteY32" fmla="*/ 906422 h 961615"/>
                <a:gd name="connsiteX33" fmla="*/ 637612 w 1561052"/>
                <a:gd name="connsiteY33" fmla="*/ 886166 h 961615"/>
                <a:gd name="connsiteX34" fmla="*/ 687054 w 1561052"/>
                <a:gd name="connsiteY34" fmla="*/ 790841 h 961615"/>
                <a:gd name="connsiteX35" fmla="*/ 687054 w 1561052"/>
                <a:gd name="connsiteY35" fmla="*/ 297356 h 961615"/>
                <a:gd name="connsiteX36" fmla="*/ 543967 w 1561052"/>
                <a:gd name="connsiteY36" fmla="*/ 121152 h 961615"/>
                <a:gd name="connsiteX37" fmla="*/ 305537 w 1561052"/>
                <a:gd name="connsiteY37" fmla="*/ 177809 h 961615"/>
                <a:gd name="connsiteX38" fmla="*/ 305537 w 1561052"/>
                <a:gd name="connsiteY38" fmla="*/ 790416 h 961615"/>
                <a:gd name="connsiteX39" fmla="*/ 353281 w 1561052"/>
                <a:gd name="connsiteY39" fmla="*/ 885742 h 961615"/>
                <a:gd name="connsiteX40" fmla="*/ 428366 w 1561052"/>
                <a:gd name="connsiteY40" fmla="*/ 905997 h 961615"/>
                <a:gd name="connsiteX41" fmla="*/ 428366 w 1561052"/>
                <a:gd name="connsiteY41" fmla="*/ 960954 h 961615"/>
                <a:gd name="connsiteX42" fmla="*/ -2593 w 1561052"/>
                <a:gd name="connsiteY42" fmla="*/ 960954 h 961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561052" h="961615">
                  <a:moveTo>
                    <a:pt x="-2593" y="906280"/>
                  </a:moveTo>
                  <a:lnTo>
                    <a:pt x="72492" y="886025"/>
                  </a:lnTo>
                  <a:cubicBezTo>
                    <a:pt x="109186" y="876818"/>
                    <a:pt x="122077" y="862229"/>
                    <a:pt x="122077" y="790699"/>
                  </a:cubicBezTo>
                  <a:lnTo>
                    <a:pt x="122077" y="222143"/>
                  </a:lnTo>
                  <a:cubicBezTo>
                    <a:pt x="122077" y="148772"/>
                    <a:pt x="112869" y="145089"/>
                    <a:pt x="66969" y="122993"/>
                  </a:cubicBezTo>
                  <a:lnTo>
                    <a:pt x="-2593" y="88148"/>
                  </a:lnTo>
                  <a:lnTo>
                    <a:pt x="-2593" y="40557"/>
                  </a:lnTo>
                  <a:lnTo>
                    <a:pt x="287123" y="2030"/>
                  </a:lnTo>
                  <a:lnTo>
                    <a:pt x="305537" y="16194"/>
                  </a:lnTo>
                  <a:lnTo>
                    <a:pt x="296330" y="115344"/>
                  </a:lnTo>
                  <a:lnTo>
                    <a:pt x="303697" y="115344"/>
                  </a:lnTo>
                  <a:cubicBezTo>
                    <a:pt x="395357" y="56562"/>
                    <a:pt x="520168" y="-237"/>
                    <a:pt x="633928" y="-237"/>
                  </a:cubicBezTo>
                  <a:cubicBezTo>
                    <a:pt x="767805" y="-237"/>
                    <a:pt x="822912" y="43814"/>
                    <a:pt x="855922" y="118885"/>
                  </a:cubicBezTo>
                  <a:lnTo>
                    <a:pt x="863148" y="118885"/>
                  </a:lnTo>
                  <a:cubicBezTo>
                    <a:pt x="964156" y="60245"/>
                    <a:pt x="1075651" y="-237"/>
                    <a:pt x="1211796" y="-237"/>
                  </a:cubicBezTo>
                  <a:cubicBezTo>
                    <a:pt x="1373156" y="-237"/>
                    <a:pt x="1435489" y="80500"/>
                    <a:pt x="1435489" y="245514"/>
                  </a:cubicBezTo>
                  <a:lnTo>
                    <a:pt x="1435489" y="790274"/>
                  </a:lnTo>
                  <a:cubicBezTo>
                    <a:pt x="1435489" y="861804"/>
                    <a:pt x="1449656" y="876393"/>
                    <a:pt x="1483233" y="885600"/>
                  </a:cubicBezTo>
                  <a:lnTo>
                    <a:pt x="1558460" y="905855"/>
                  </a:lnTo>
                  <a:lnTo>
                    <a:pt x="1558460" y="960813"/>
                  </a:lnTo>
                  <a:lnTo>
                    <a:pt x="1127359" y="960813"/>
                  </a:lnTo>
                  <a:lnTo>
                    <a:pt x="1127359" y="905855"/>
                  </a:lnTo>
                  <a:lnTo>
                    <a:pt x="1202586" y="885600"/>
                  </a:lnTo>
                  <a:cubicBezTo>
                    <a:pt x="1241119" y="876393"/>
                    <a:pt x="1252170" y="867328"/>
                    <a:pt x="1252170" y="790274"/>
                  </a:cubicBezTo>
                  <a:lnTo>
                    <a:pt x="1252170" y="297356"/>
                  </a:lnTo>
                  <a:cubicBezTo>
                    <a:pt x="1252170" y="174409"/>
                    <a:pt x="1220862" y="121152"/>
                    <a:pt x="1109086" y="121152"/>
                  </a:cubicBezTo>
                  <a:cubicBezTo>
                    <a:pt x="1019125" y="121152"/>
                    <a:pt x="925622" y="155996"/>
                    <a:pt x="870515" y="181775"/>
                  </a:cubicBezTo>
                  <a:lnTo>
                    <a:pt x="870515" y="790841"/>
                  </a:lnTo>
                  <a:cubicBezTo>
                    <a:pt x="870515" y="862370"/>
                    <a:pt x="884682" y="876960"/>
                    <a:pt x="918255" y="886166"/>
                  </a:cubicBezTo>
                  <a:lnTo>
                    <a:pt x="993482" y="906422"/>
                  </a:lnTo>
                  <a:lnTo>
                    <a:pt x="993482" y="961379"/>
                  </a:lnTo>
                  <a:lnTo>
                    <a:pt x="562385" y="961379"/>
                  </a:lnTo>
                  <a:lnTo>
                    <a:pt x="562385" y="906422"/>
                  </a:lnTo>
                  <a:lnTo>
                    <a:pt x="637612" y="886166"/>
                  </a:lnTo>
                  <a:cubicBezTo>
                    <a:pt x="676145" y="876960"/>
                    <a:pt x="687054" y="867895"/>
                    <a:pt x="687054" y="790841"/>
                  </a:cubicBezTo>
                  <a:lnTo>
                    <a:pt x="687054" y="297356"/>
                  </a:lnTo>
                  <a:cubicBezTo>
                    <a:pt x="687054" y="176251"/>
                    <a:pt x="655884" y="121152"/>
                    <a:pt x="543967" y="121152"/>
                  </a:cubicBezTo>
                  <a:cubicBezTo>
                    <a:pt x="454148" y="121152"/>
                    <a:pt x="358663" y="155996"/>
                    <a:pt x="305537" y="177809"/>
                  </a:cubicBezTo>
                  <a:lnTo>
                    <a:pt x="305537" y="790416"/>
                  </a:lnTo>
                  <a:cubicBezTo>
                    <a:pt x="305537" y="867470"/>
                    <a:pt x="316588" y="876535"/>
                    <a:pt x="353281" y="885742"/>
                  </a:cubicBezTo>
                  <a:lnTo>
                    <a:pt x="428366" y="905997"/>
                  </a:lnTo>
                  <a:lnTo>
                    <a:pt x="428366" y="960954"/>
                  </a:lnTo>
                  <a:lnTo>
                    <a:pt x="-2593" y="960954"/>
                  </a:lnTo>
                  <a:close/>
                </a:path>
              </a:pathLst>
            </a:custGeom>
            <a:solidFill>
              <a:schemeClr val="tx1"/>
            </a:solidFill>
            <a:ln w="14153" cap="flat">
              <a:noFill/>
              <a:prstDash val="solid"/>
              <a:miter/>
            </a:ln>
          </p:spPr>
          <p:txBody>
            <a:bodyPr rtlCol="0" anchor="ctr"/>
            <a:lstStyle/>
            <a:p>
              <a:endParaRPr lang="en-GB" dirty="0">
                <a:solidFill>
                  <a:schemeClr val="tx1">
                    <a:alpha val="47000"/>
                  </a:schemeClr>
                </a:solidFill>
              </a:endParaRPr>
            </a:p>
          </p:txBody>
        </p:sp>
        <p:sp>
          <p:nvSpPr>
            <p:cNvPr id="22" name="Freeform: Shape 21">
              <a:extLst>
                <a:ext uri="{FF2B5EF4-FFF2-40B4-BE49-F238E27FC236}">
                  <a16:creationId xmlns:a16="http://schemas.microsoft.com/office/drawing/2014/main" id="{71F2EC77-E8CE-465C-896A-E7D0576B4689}"/>
                </a:ext>
              </a:extLst>
            </p:cNvPr>
            <p:cNvSpPr/>
            <p:nvPr/>
          </p:nvSpPr>
          <p:spPr>
            <a:xfrm>
              <a:off x="8459953" y="3722418"/>
              <a:ext cx="266363" cy="266339"/>
            </a:xfrm>
            <a:custGeom>
              <a:avLst/>
              <a:gdLst>
                <a:gd name="connsiteX0" fmla="*/ -2527 w 230352"/>
                <a:gd name="connsiteY0" fmla="*/ 118884 h 230331"/>
                <a:gd name="connsiteX1" fmla="*/ 108681 w 230352"/>
                <a:gd name="connsiteY1" fmla="*/ -167 h 230331"/>
                <a:gd name="connsiteX2" fmla="*/ 227685 w 230352"/>
                <a:gd name="connsiteY2" fmla="*/ 110952 h 230331"/>
                <a:gd name="connsiteX3" fmla="*/ 116615 w 230352"/>
                <a:gd name="connsiteY3" fmla="*/ 230003 h 230331"/>
                <a:gd name="connsiteX4" fmla="*/ 111797 w 230352"/>
                <a:gd name="connsiteY4" fmla="*/ 230074 h 230331"/>
                <a:gd name="connsiteX5" fmla="*/ -2527 w 230352"/>
                <a:gd name="connsiteY5" fmla="*/ 120046 h 230331"/>
                <a:gd name="connsiteX6" fmla="*/ -2527 w 230352"/>
                <a:gd name="connsiteY6" fmla="*/ 118884 h 23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0352" h="230331">
                  <a:moveTo>
                    <a:pt x="-2527" y="118884"/>
                  </a:moveTo>
                  <a:cubicBezTo>
                    <a:pt x="-4654" y="55329"/>
                    <a:pt x="45072" y="2029"/>
                    <a:pt x="108681" y="-167"/>
                  </a:cubicBezTo>
                  <a:cubicBezTo>
                    <a:pt x="172148" y="-2363"/>
                    <a:pt x="225558" y="47397"/>
                    <a:pt x="227685" y="110952"/>
                  </a:cubicBezTo>
                  <a:cubicBezTo>
                    <a:pt x="229950" y="174521"/>
                    <a:pt x="180083" y="227822"/>
                    <a:pt x="116615" y="230003"/>
                  </a:cubicBezTo>
                  <a:cubicBezTo>
                    <a:pt x="114917" y="230060"/>
                    <a:pt x="113357" y="230088"/>
                    <a:pt x="111797" y="230074"/>
                  </a:cubicBezTo>
                  <a:cubicBezTo>
                    <a:pt x="49890" y="231250"/>
                    <a:pt x="-1396" y="181986"/>
                    <a:pt x="-2527" y="120046"/>
                  </a:cubicBezTo>
                  <a:cubicBezTo>
                    <a:pt x="-2527" y="119649"/>
                    <a:pt x="-2527" y="119266"/>
                    <a:pt x="-2527" y="118884"/>
                  </a:cubicBezTo>
                </a:path>
              </a:pathLst>
            </a:custGeom>
            <a:solidFill>
              <a:schemeClr val="tx1"/>
            </a:solidFill>
            <a:ln w="14153" cap="flat">
              <a:noFill/>
              <a:prstDash val="solid"/>
              <a:miter/>
            </a:ln>
          </p:spPr>
          <p:txBody>
            <a:bodyPr rtlCol="0" anchor="ctr"/>
            <a:lstStyle/>
            <a:p>
              <a:endParaRPr lang="en-GB">
                <a:solidFill>
                  <a:schemeClr val="tx1">
                    <a:alpha val="47000"/>
                  </a:schemeClr>
                </a:solidFill>
              </a:endParaRPr>
            </a:p>
          </p:txBody>
        </p:sp>
      </p:grpSp>
      <p:sp>
        <p:nvSpPr>
          <p:cNvPr id="23" name="TextBox 22">
            <a:extLst>
              <a:ext uri="{FF2B5EF4-FFF2-40B4-BE49-F238E27FC236}">
                <a16:creationId xmlns:a16="http://schemas.microsoft.com/office/drawing/2014/main" id="{B66A4CE8-02C5-492B-8875-F35E4A96973E}"/>
              </a:ext>
            </a:extLst>
          </p:cNvPr>
          <p:cNvSpPr txBox="1"/>
          <p:nvPr userDrawn="1"/>
        </p:nvSpPr>
        <p:spPr>
          <a:xfrm>
            <a:off x="719137" y="685241"/>
            <a:ext cx="9356847" cy="794765"/>
          </a:xfrm>
          <a:prstGeom prst="rect">
            <a:avLst/>
          </a:prstGeom>
          <a:noFill/>
        </p:spPr>
        <p:txBody>
          <a:bodyPr wrap="square">
            <a:spAutoFit/>
          </a:bodyPr>
          <a:lstStyle/>
          <a:p>
            <a:pPr>
              <a:spcBef>
                <a:spcPts val="1200"/>
              </a:spcBef>
            </a:pPr>
            <a:r>
              <a:rPr lang="en-GB" sz="2400" i="1" dirty="0">
                <a:latin typeface="+mj-lt"/>
              </a:rPr>
              <a:t>We'll work as one seamless international team across our business and yours. Giving you access to a whole world of expertise. </a:t>
            </a:r>
          </a:p>
        </p:txBody>
      </p:sp>
    </p:spTree>
    <p:extLst>
      <p:ext uri="{BB962C8B-B14F-4D97-AF65-F5344CB8AC3E}">
        <p14:creationId xmlns:p14="http://schemas.microsoft.com/office/powerpoint/2010/main" val="39923947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1500"/>
                                        <p:tgtEl>
                                          <p:spTgt spid="23"/>
                                        </p:tgtEl>
                                      </p:cBhvr>
                                    </p:animEffect>
                                  </p:childTnLst>
                                </p:cTn>
                              </p:par>
                            </p:childTnLst>
                          </p:cTn>
                        </p:par>
                        <p:par>
                          <p:cTn id="8" fill="hold">
                            <p:stCondLst>
                              <p:cond delay="1500"/>
                            </p:stCondLst>
                            <p:childTnLst>
                              <p:par>
                                <p:cTn id="9" presetID="10" presetClass="entr" presetSubtype="0" fill="hold" nodeType="afterEffect">
                                  <p:stCondLst>
                                    <p:cond delay="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1250"/>
                                        <p:tgtEl>
                                          <p:spTgt spid="6"/>
                                        </p:tgtEl>
                                      </p:cBhvr>
                                    </p:animEffect>
                                  </p:childTnLst>
                                </p:cTn>
                              </p:par>
                              <p:par>
                                <p:cTn id="12" presetID="10" presetClass="entr" presetSubtype="0" fill="hold" nodeType="withEffect">
                                  <p:stCondLst>
                                    <p:cond delay="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125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ents 2">
    <p:bg>
      <p:bgPr>
        <a:solidFill>
          <a:schemeClr val="accent6"/>
        </a:solidFill>
        <a:effectLst/>
      </p:bgPr>
    </p:bg>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278C42CE-F3F9-40D1-BE5C-F5C6570708AD}"/>
              </a:ext>
            </a:extLst>
          </p:cNvPr>
          <p:cNvGrpSpPr/>
          <p:nvPr userDrawn="1"/>
        </p:nvGrpSpPr>
        <p:grpSpPr>
          <a:xfrm>
            <a:off x="3794125" y="2056860"/>
            <a:ext cx="8398510" cy="4801139"/>
            <a:chOff x="3794125" y="2056860"/>
            <a:chExt cx="8398510" cy="4801139"/>
          </a:xfrm>
        </p:grpSpPr>
        <p:sp>
          <p:nvSpPr>
            <p:cNvPr id="18" name="Freeform: Shape 17">
              <a:extLst>
                <a:ext uri="{FF2B5EF4-FFF2-40B4-BE49-F238E27FC236}">
                  <a16:creationId xmlns:a16="http://schemas.microsoft.com/office/drawing/2014/main" id="{8818C944-C96E-4346-8A1F-E2402D380083}"/>
                </a:ext>
              </a:extLst>
            </p:cNvPr>
            <p:cNvSpPr/>
            <p:nvPr/>
          </p:nvSpPr>
          <p:spPr>
            <a:xfrm>
              <a:off x="11404901" y="2056860"/>
              <a:ext cx="787734" cy="301864"/>
            </a:xfrm>
            <a:custGeom>
              <a:avLst/>
              <a:gdLst>
                <a:gd name="connsiteX0" fmla="*/ 117428 w 787734"/>
                <a:gd name="connsiteY0" fmla="*/ 36100 h 301864"/>
                <a:gd name="connsiteX1" fmla="*/ 969 w 787734"/>
                <a:gd name="connsiteY1" fmla="*/ 184436 h 301864"/>
                <a:gd name="connsiteX2" fmla="*/ 149305 w 787734"/>
                <a:gd name="connsiteY2" fmla="*/ 300895 h 301864"/>
                <a:gd name="connsiteX3" fmla="*/ 787734 w 787734"/>
                <a:gd name="connsiteY3" fmla="*/ 267240 h 301864"/>
                <a:gd name="connsiteX4" fmla="*/ 787734 w 787734"/>
                <a:gd name="connsiteY4" fmla="*/ 540 h 301864"/>
                <a:gd name="connsiteX5" fmla="*/ 117427 w 787734"/>
                <a:gd name="connsiteY5" fmla="*/ 36100 h 30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7734" h="301864">
                  <a:moveTo>
                    <a:pt x="117428" y="36100"/>
                  </a:moveTo>
                  <a:cubicBezTo>
                    <a:pt x="44307" y="44903"/>
                    <a:pt x="-7833" y="111315"/>
                    <a:pt x="969" y="184436"/>
                  </a:cubicBezTo>
                  <a:cubicBezTo>
                    <a:pt x="9772" y="257557"/>
                    <a:pt x="76184" y="309697"/>
                    <a:pt x="149305" y="300895"/>
                  </a:cubicBezTo>
                  <a:cubicBezTo>
                    <a:pt x="361084" y="274972"/>
                    <a:pt x="574403" y="263727"/>
                    <a:pt x="787734" y="267240"/>
                  </a:cubicBezTo>
                  <a:lnTo>
                    <a:pt x="787734" y="540"/>
                  </a:lnTo>
                  <a:cubicBezTo>
                    <a:pt x="563751" y="-2766"/>
                    <a:pt x="339803" y="9114"/>
                    <a:pt x="117427" y="36100"/>
                  </a:cubicBezTo>
                  <a:close/>
                </a:path>
              </a:pathLst>
            </a:custGeom>
            <a:solidFill>
              <a:srgbClr val="EDC2B2"/>
            </a:solidFill>
            <a:ln w="12700"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07DA10CC-F106-4584-AEE9-7CB25C96D758}"/>
                </a:ext>
              </a:extLst>
            </p:cNvPr>
            <p:cNvSpPr/>
            <p:nvPr/>
          </p:nvSpPr>
          <p:spPr>
            <a:xfrm>
              <a:off x="3794125" y="2097571"/>
              <a:ext cx="7830716" cy="4760428"/>
            </a:xfrm>
            <a:custGeom>
              <a:avLst/>
              <a:gdLst>
                <a:gd name="connsiteX0" fmla="*/ 1561211 w 7830716"/>
                <a:gd name="connsiteY0" fmla="*/ 3349332 h 4760428"/>
                <a:gd name="connsiteX1" fmla="*/ 3771011 w 7830716"/>
                <a:gd name="connsiteY1" fmla="*/ 4096600 h 4760428"/>
                <a:gd name="connsiteX2" fmla="*/ 3958809 w 7830716"/>
                <a:gd name="connsiteY2" fmla="*/ 4113810 h 4760428"/>
                <a:gd name="connsiteX3" fmla="*/ 4005072 w 7830716"/>
                <a:gd name="connsiteY3" fmla="*/ 4033100 h 4760428"/>
                <a:gd name="connsiteX4" fmla="*/ 4641977 w 7830716"/>
                <a:gd name="connsiteY4" fmla="*/ 2345143 h 4760428"/>
                <a:gd name="connsiteX5" fmla="*/ 7499477 w 7830716"/>
                <a:gd name="connsiteY5" fmla="*/ 296506 h 4760428"/>
                <a:gd name="connsiteX6" fmla="*/ 7713345 w 7830716"/>
                <a:gd name="connsiteY6" fmla="*/ 265772 h 4760428"/>
                <a:gd name="connsiteX7" fmla="*/ 7829740 w 7830716"/>
                <a:gd name="connsiteY7" fmla="*/ 117372 h 4760428"/>
                <a:gd name="connsiteX8" fmla="*/ 7681340 w 7830716"/>
                <a:gd name="connsiteY8" fmla="*/ 977 h 4760428"/>
                <a:gd name="connsiteX9" fmla="*/ 7455916 w 7830716"/>
                <a:gd name="connsiteY9" fmla="*/ 33362 h 4760428"/>
                <a:gd name="connsiteX10" fmla="*/ 5538216 w 7830716"/>
                <a:gd name="connsiteY10" fmla="*/ 875753 h 4760428"/>
                <a:gd name="connsiteX11" fmla="*/ 4410710 w 7830716"/>
                <a:gd name="connsiteY11" fmla="*/ 2212047 h 4760428"/>
                <a:gd name="connsiteX12" fmla="*/ 3797807 w 7830716"/>
                <a:gd name="connsiteY12" fmla="*/ 3729443 h 4760428"/>
                <a:gd name="connsiteX13" fmla="*/ 2745867 w 7830716"/>
                <a:gd name="connsiteY13" fmla="*/ 3078441 h 4760428"/>
                <a:gd name="connsiteX14" fmla="*/ 1478280 w 7830716"/>
                <a:gd name="connsiteY14" fmla="*/ 3096221 h 4760428"/>
                <a:gd name="connsiteX15" fmla="*/ 443357 w 7830716"/>
                <a:gd name="connsiteY15" fmla="*/ 3804373 h 4760428"/>
                <a:gd name="connsiteX16" fmla="*/ 0 w 7830716"/>
                <a:gd name="connsiteY16" fmla="*/ 4760429 h 4760428"/>
                <a:gd name="connsiteX17" fmla="*/ 272415 w 7830716"/>
                <a:gd name="connsiteY17" fmla="*/ 4760429 h 4760428"/>
                <a:gd name="connsiteX18" fmla="*/ 1561211 w 7830716"/>
                <a:gd name="connsiteY18" fmla="*/ 3349332 h 476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30716" h="4760428">
                  <a:moveTo>
                    <a:pt x="1561211" y="3349332"/>
                  </a:moveTo>
                  <a:cubicBezTo>
                    <a:pt x="2355723" y="3091141"/>
                    <a:pt x="3161411" y="3363556"/>
                    <a:pt x="3771011" y="4096600"/>
                  </a:cubicBezTo>
                  <a:cubicBezTo>
                    <a:pt x="3818117" y="4153211"/>
                    <a:pt x="3902198" y="4160917"/>
                    <a:pt x="3958809" y="4113810"/>
                  </a:cubicBezTo>
                  <a:cubicBezTo>
                    <a:pt x="3983419" y="4093332"/>
                    <a:pt x="3999839" y="4064685"/>
                    <a:pt x="4005072" y="4033100"/>
                  </a:cubicBezTo>
                  <a:cubicBezTo>
                    <a:pt x="4006468" y="4024972"/>
                    <a:pt x="4141978" y="3212299"/>
                    <a:pt x="4641977" y="2345143"/>
                  </a:cubicBezTo>
                  <a:cubicBezTo>
                    <a:pt x="5308346" y="1189443"/>
                    <a:pt x="6269609" y="499960"/>
                    <a:pt x="7499477" y="296506"/>
                  </a:cubicBezTo>
                  <a:cubicBezTo>
                    <a:pt x="7570597" y="284695"/>
                    <a:pt x="7642606" y="274408"/>
                    <a:pt x="7713345" y="265772"/>
                  </a:cubicBezTo>
                  <a:cubicBezTo>
                    <a:pt x="7786466" y="256934"/>
                    <a:pt x="7838578" y="190493"/>
                    <a:pt x="7829740" y="117372"/>
                  </a:cubicBezTo>
                  <a:cubicBezTo>
                    <a:pt x="7820902" y="44251"/>
                    <a:pt x="7754461" y="-7861"/>
                    <a:pt x="7681340" y="977"/>
                  </a:cubicBezTo>
                  <a:cubicBezTo>
                    <a:pt x="7606792" y="9994"/>
                    <a:pt x="7530846" y="20916"/>
                    <a:pt x="7455916" y="33362"/>
                  </a:cubicBezTo>
                  <a:cubicBezTo>
                    <a:pt x="6734302" y="152869"/>
                    <a:pt x="6089268" y="436206"/>
                    <a:pt x="5538216" y="875753"/>
                  </a:cubicBezTo>
                  <a:cubicBezTo>
                    <a:pt x="5099177" y="1226400"/>
                    <a:pt x="4719828" y="1675853"/>
                    <a:pt x="4410710" y="2212047"/>
                  </a:cubicBezTo>
                  <a:cubicBezTo>
                    <a:pt x="4138198" y="2687543"/>
                    <a:pt x="3931987" y="3198071"/>
                    <a:pt x="3797807" y="3729443"/>
                  </a:cubicBezTo>
                  <a:cubicBezTo>
                    <a:pt x="3485134" y="3411943"/>
                    <a:pt x="3132328" y="3192868"/>
                    <a:pt x="2745867" y="3078441"/>
                  </a:cubicBezTo>
                  <a:cubicBezTo>
                    <a:pt x="2331342" y="2955468"/>
                    <a:pt x="1889193" y="2961669"/>
                    <a:pt x="1478280" y="3096221"/>
                  </a:cubicBezTo>
                  <a:cubicBezTo>
                    <a:pt x="1072383" y="3227835"/>
                    <a:pt x="713053" y="3473709"/>
                    <a:pt x="443357" y="3804373"/>
                  </a:cubicBezTo>
                  <a:cubicBezTo>
                    <a:pt x="216541" y="4080086"/>
                    <a:pt x="63929" y="4409179"/>
                    <a:pt x="0" y="4760429"/>
                  </a:cubicBezTo>
                  <a:lnTo>
                    <a:pt x="272415" y="4760429"/>
                  </a:lnTo>
                  <a:cubicBezTo>
                    <a:pt x="408686" y="4113872"/>
                    <a:pt x="901700" y="3563581"/>
                    <a:pt x="1561211" y="3349332"/>
                  </a:cubicBezTo>
                  <a:close/>
                </a:path>
              </a:pathLst>
            </a:custGeom>
            <a:solidFill>
              <a:srgbClr val="005C82"/>
            </a:solidFill>
            <a:ln w="12700" cap="flat">
              <a:noFill/>
              <a:prstDash val="solid"/>
              <a:miter/>
            </a:ln>
          </p:spPr>
          <p:txBody>
            <a:bodyPr rtlCol="0" anchor="ctr"/>
            <a:lstStyle/>
            <a:p>
              <a:endParaRPr lang="en-GB"/>
            </a:p>
          </p:txBody>
        </p:sp>
      </p:grpSp>
      <p:sp>
        <p:nvSpPr>
          <p:cNvPr id="13" name="Date Placeholder 1">
            <a:extLst>
              <a:ext uri="{FF2B5EF4-FFF2-40B4-BE49-F238E27FC236}">
                <a16:creationId xmlns:a16="http://schemas.microsoft.com/office/drawing/2014/main" id="{E243EEF0-314D-4259-8295-BEE2131AD8FC}"/>
              </a:ext>
            </a:extLst>
          </p:cNvPr>
          <p:cNvSpPr>
            <a:spLocks noGrp="1"/>
          </p:cNvSpPr>
          <p:nvPr>
            <p:ph type="dt" sz="half" idx="10"/>
          </p:nvPr>
        </p:nvSpPr>
        <p:spPr/>
        <p:txBody>
          <a:bodyPr/>
          <a:lstStyle/>
          <a:p>
            <a:r>
              <a:rPr lang="en-US"/>
              <a:t>dd Month 2021</a:t>
            </a:r>
            <a:endParaRPr lang="en-GB" dirty="0"/>
          </a:p>
        </p:txBody>
      </p:sp>
      <p:sp>
        <p:nvSpPr>
          <p:cNvPr id="14" name="Footer Placeholder 1">
            <a:extLst>
              <a:ext uri="{FF2B5EF4-FFF2-40B4-BE49-F238E27FC236}">
                <a16:creationId xmlns:a16="http://schemas.microsoft.com/office/drawing/2014/main" id="{9896265C-89EC-4643-89D0-8BDBAB410F2E}"/>
              </a:ext>
            </a:extLst>
          </p:cNvPr>
          <p:cNvSpPr>
            <a:spLocks noGrp="1"/>
          </p:cNvSpPr>
          <p:nvPr>
            <p:ph type="ftr" sz="quarter" idx="11"/>
          </p:nvPr>
        </p:nvSpPr>
        <p:spPr/>
        <p:txBody>
          <a:bodyPr/>
          <a:lstStyle/>
          <a:p>
            <a:r>
              <a:rPr lang="en-GB"/>
              <a:t>Update Footer to add the Document title</a:t>
            </a:r>
            <a:endParaRPr lang="en-GB" dirty="0"/>
          </a:p>
        </p:txBody>
      </p:sp>
      <p:sp>
        <p:nvSpPr>
          <p:cNvPr id="6" name="Rectangle">
            <a:extLst>
              <a:ext uri="{FF2B5EF4-FFF2-40B4-BE49-F238E27FC236}">
                <a16:creationId xmlns:a16="http://schemas.microsoft.com/office/drawing/2014/main" id="{E5FF33AD-31C0-4DA6-9424-1CBFD3123C45}"/>
              </a:ext>
            </a:extLst>
          </p:cNvPr>
          <p:cNvSpPr/>
          <p:nvPr userDrawn="1"/>
        </p:nvSpPr>
        <p:spPr>
          <a:xfrm>
            <a:off x="-374" y="1799990"/>
            <a:ext cx="6005888" cy="39766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GB" sz="1400" dirty="0"/>
          </a:p>
        </p:txBody>
      </p:sp>
      <p:sp>
        <p:nvSpPr>
          <p:cNvPr id="16" name="Text Placeholder 1">
            <a:extLst>
              <a:ext uri="{FF2B5EF4-FFF2-40B4-BE49-F238E27FC236}">
                <a16:creationId xmlns:a16="http://schemas.microsoft.com/office/drawing/2014/main" id="{95D91B36-D041-4B27-916C-CC12250E85AE}"/>
              </a:ext>
            </a:extLst>
          </p:cNvPr>
          <p:cNvSpPr>
            <a:spLocks noGrp="1"/>
          </p:cNvSpPr>
          <p:nvPr>
            <p:ph type="body" sz="quarter" idx="12"/>
          </p:nvPr>
        </p:nvSpPr>
        <p:spPr>
          <a:xfrm>
            <a:off x="719139" y="2060197"/>
            <a:ext cx="4554536" cy="3455231"/>
          </a:xfrm>
        </p:spPr>
        <p:txBody>
          <a:bodyPr/>
          <a:lstStyle>
            <a:lvl1pPr>
              <a:tabLst>
                <a:tab pos="4572000" algn="r"/>
              </a:tabLs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p:txBody>
          <a:bodyPr/>
          <a:lstStyle>
            <a:lvl1pPr>
              <a:defRPr i="0">
                <a:solidFill>
                  <a:schemeClr val="tx2"/>
                </a:solidFill>
              </a:defRPr>
            </a:lvl1pPr>
            <a:lvl2pPr>
              <a:defRPr i="0">
                <a:solidFill>
                  <a:schemeClr val="bg1"/>
                </a:solidFill>
              </a:defRPr>
            </a:lvl2pPr>
            <a:lvl3pPr>
              <a:defRPr sz="4800" i="0">
                <a:solidFill>
                  <a:schemeClr val="tx1"/>
                </a:solidFill>
              </a:defRPr>
            </a:lvl3pPr>
            <a:lvl4pPr>
              <a:defRPr sz="4000" i="0">
                <a:solidFill>
                  <a:schemeClr val="tx2"/>
                </a:solidFill>
              </a:defRPr>
            </a:lvl4pPr>
            <a:lvl5pPr>
              <a:defRPr sz="4000" i="0">
                <a:solidFill>
                  <a:schemeClr val="bg1"/>
                </a:solidFill>
              </a:defRPr>
            </a:lvl5pPr>
            <a:lvl6pPr>
              <a:defRPr sz="4000" i="0">
                <a:solidFill>
                  <a:schemeClr val="tx1"/>
                </a:solidFill>
              </a:defRPr>
            </a:lvl6pPr>
            <a:lvl7pPr>
              <a:defRPr i="0">
                <a:solidFill>
                  <a:schemeClr val="tx2"/>
                </a:solidFill>
              </a:defRPr>
            </a:lvl7pPr>
            <a:lvl8pPr>
              <a:defRPr i="0">
                <a:solidFill>
                  <a:schemeClr val="bg1"/>
                </a:solidFill>
              </a:defRPr>
            </a:lvl8pPr>
            <a:lvl9pPr>
              <a:defRPr sz="3600" i="0">
                <a:solidFill>
                  <a:schemeClr val="tx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349906860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ntents 3">
    <p:bg>
      <p:bgPr>
        <a:solidFill>
          <a:schemeClr val="accent1"/>
        </a:solidFill>
        <a:effectLst/>
      </p:bgPr>
    </p:bg>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6E084A6F-7A75-4748-B44C-74FFAF511EDA}"/>
              </a:ext>
            </a:extLst>
          </p:cNvPr>
          <p:cNvGrpSpPr/>
          <p:nvPr userDrawn="1"/>
        </p:nvGrpSpPr>
        <p:grpSpPr>
          <a:xfrm>
            <a:off x="0" y="844422"/>
            <a:ext cx="12193016" cy="5257927"/>
            <a:chOff x="0" y="844422"/>
            <a:chExt cx="12193016" cy="5257927"/>
          </a:xfrm>
        </p:grpSpPr>
        <p:sp>
          <p:nvSpPr>
            <p:cNvPr id="11" name="Freeform: Shape 10">
              <a:extLst>
                <a:ext uri="{FF2B5EF4-FFF2-40B4-BE49-F238E27FC236}">
                  <a16:creationId xmlns:a16="http://schemas.microsoft.com/office/drawing/2014/main" id="{A95B30E7-1427-4658-BA4F-8B7A9A18D4A7}"/>
                </a:ext>
              </a:extLst>
            </p:cNvPr>
            <p:cNvSpPr/>
            <p:nvPr/>
          </p:nvSpPr>
          <p:spPr>
            <a:xfrm>
              <a:off x="8381116" y="844422"/>
              <a:ext cx="3811900" cy="962438"/>
            </a:xfrm>
            <a:custGeom>
              <a:avLst/>
              <a:gdLst>
                <a:gd name="connsiteX0" fmla="*/ 7742 w 3811900"/>
                <a:gd name="connsiteY0" fmla="*/ 873887 h 962438"/>
                <a:gd name="connsiteX1" fmla="*/ 178596 w 3811900"/>
                <a:gd name="connsiteY1" fmla="*/ 954563 h 962438"/>
                <a:gd name="connsiteX2" fmla="*/ 178683 w 3811900"/>
                <a:gd name="connsiteY2" fmla="*/ 954532 h 962438"/>
                <a:gd name="connsiteX3" fmla="*/ 3811900 w 3811900"/>
                <a:gd name="connsiteY3" fmla="*/ 266700 h 962438"/>
                <a:gd name="connsiteX4" fmla="*/ 3811900 w 3811900"/>
                <a:gd name="connsiteY4" fmla="*/ 0 h 962438"/>
                <a:gd name="connsiteX5" fmla="*/ 88641 w 3811900"/>
                <a:gd name="connsiteY5" fmla="*/ 703707 h 962438"/>
                <a:gd name="connsiteX6" fmla="*/ 7730 w 3811900"/>
                <a:gd name="connsiteY6" fmla="*/ 873855 h 962438"/>
                <a:gd name="connsiteX7" fmla="*/ 7742 w 3811900"/>
                <a:gd name="connsiteY7" fmla="*/ 873887 h 962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1900" h="962438">
                  <a:moveTo>
                    <a:pt x="7742" y="873887"/>
                  </a:moveTo>
                  <a:cubicBezTo>
                    <a:pt x="32644" y="943345"/>
                    <a:pt x="109138" y="979466"/>
                    <a:pt x="178596" y="954563"/>
                  </a:cubicBezTo>
                  <a:cubicBezTo>
                    <a:pt x="178625" y="954553"/>
                    <a:pt x="178655" y="954543"/>
                    <a:pt x="178683" y="954532"/>
                  </a:cubicBezTo>
                  <a:cubicBezTo>
                    <a:pt x="1219449" y="581406"/>
                    <a:pt x="2435728" y="351536"/>
                    <a:pt x="3811900" y="266700"/>
                  </a:cubicBezTo>
                  <a:lnTo>
                    <a:pt x="3811900" y="0"/>
                  </a:lnTo>
                  <a:cubicBezTo>
                    <a:pt x="2403597" y="85598"/>
                    <a:pt x="1157600" y="320802"/>
                    <a:pt x="88641" y="703707"/>
                  </a:cubicBezTo>
                  <a:cubicBezTo>
                    <a:pt x="19313" y="728349"/>
                    <a:pt x="-16912" y="804527"/>
                    <a:pt x="7730" y="873855"/>
                  </a:cubicBezTo>
                  <a:cubicBezTo>
                    <a:pt x="7734" y="873866"/>
                    <a:pt x="7738" y="873876"/>
                    <a:pt x="7742" y="873887"/>
                  </a:cubicBezTo>
                  <a:close/>
                </a:path>
              </a:pathLst>
            </a:custGeom>
            <a:solidFill>
              <a:srgbClr val="FFFFFF"/>
            </a:solidFill>
            <a:ln w="12700" cap="flat">
              <a:noFill/>
              <a:prstDash val="solid"/>
              <a:miter/>
            </a:ln>
          </p:spPr>
          <p:txBody>
            <a:bodyPr rtlCol="0" anchor="ctr"/>
            <a:lstStyle/>
            <a:p>
              <a:endParaRPr lang="en-GB"/>
            </a:p>
          </p:txBody>
        </p:sp>
        <p:sp>
          <p:nvSpPr>
            <p:cNvPr id="5" name="Freeform: Shape 4">
              <a:extLst>
                <a:ext uri="{FF2B5EF4-FFF2-40B4-BE49-F238E27FC236}">
                  <a16:creationId xmlns:a16="http://schemas.microsoft.com/office/drawing/2014/main" id="{C1265EEA-DFE0-4DC3-AE64-4FEBF9E0EC70}"/>
                </a:ext>
              </a:extLst>
            </p:cNvPr>
            <p:cNvSpPr/>
            <p:nvPr/>
          </p:nvSpPr>
          <p:spPr>
            <a:xfrm>
              <a:off x="6143713" y="1545414"/>
              <a:ext cx="2505521" cy="1500553"/>
            </a:xfrm>
            <a:custGeom>
              <a:avLst/>
              <a:gdLst>
                <a:gd name="connsiteX0" fmla="*/ 133261 w 2505521"/>
                <a:gd name="connsiteY0" fmla="*/ 1500554 h 1500553"/>
                <a:gd name="connsiteX1" fmla="*/ 0 w 2505521"/>
                <a:gd name="connsiteY1" fmla="*/ 1367115 h 1500553"/>
                <a:gd name="connsiteX2" fmla="*/ 48806 w 2505521"/>
                <a:gd name="connsiteY2" fmla="*/ 1264080 h 1500553"/>
                <a:gd name="connsiteX3" fmla="*/ 2323249 w 2505521"/>
                <a:gd name="connsiteY3" fmla="*/ 9320 h 1500553"/>
                <a:gd name="connsiteX4" fmla="*/ 2496202 w 2505521"/>
                <a:gd name="connsiteY4" fmla="*/ 84500 h 1500553"/>
                <a:gd name="connsiteX5" fmla="*/ 2421022 w 2505521"/>
                <a:gd name="connsiteY5" fmla="*/ 257452 h 1500553"/>
                <a:gd name="connsiteX6" fmla="*/ 2413928 w 2505521"/>
                <a:gd name="connsiteY6" fmla="*/ 260017 h 1500553"/>
                <a:gd name="connsiteX7" fmla="*/ 217716 w 2505521"/>
                <a:gd name="connsiteY7" fmla="*/ 1470455 h 1500553"/>
                <a:gd name="connsiteX8" fmla="*/ 133261 w 2505521"/>
                <a:gd name="connsiteY8" fmla="*/ 1500554 h 1500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05521" h="1500553">
                  <a:moveTo>
                    <a:pt x="133261" y="1500554"/>
                  </a:moveTo>
                  <a:cubicBezTo>
                    <a:pt x="59614" y="1500505"/>
                    <a:pt x="-49" y="1440762"/>
                    <a:pt x="0" y="1367115"/>
                  </a:cubicBezTo>
                  <a:cubicBezTo>
                    <a:pt x="27" y="1327196"/>
                    <a:pt x="17935" y="1289388"/>
                    <a:pt x="48806" y="1264080"/>
                  </a:cubicBezTo>
                  <a:cubicBezTo>
                    <a:pt x="677964" y="749730"/>
                    <a:pt x="1443140" y="327582"/>
                    <a:pt x="2323249" y="9320"/>
                  </a:cubicBezTo>
                  <a:cubicBezTo>
                    <a:pt x="2391769" y="-17679"/>
                    <a:pt x="2469203" y="15980"/>
                    <a:pt x="2496202" y="84500"/>
                  </a:cubicBezTo>
                  <a:cubicBezTo>
                    <a:pt x="2523201" y="153020"/>
                    <a:pt x="2489541" y="230453"/>
                    <a:pt x="2421022" y="257452"/>
                  </a:cubicBezTo>
                  <a:cubicBezTo>
                    <a:pt x="2418682" y="258374"/>
                    <a:pt x="2416317" y="259229"/>
                    <a:pt x="2413928" y="260017"/>
                  </a:cubicBezTo>
                  <a:cubicBezTo>
                    <a:pt x="1562266" y="568120"/>
                    <a:pt x="823253" y="975282"/>
                    <a:pt x="217716" y="1470455"/>
                  </a:cubicBezTo>
                  <a:cubicBezTo>
                    <a:pt x="193898" y="1489962"/>
                    <a:pt x="164049" y="1500601"/>
                    <a:pt x="133261" y="1500554"/>
                  </a:cubicBezTo>
                  <a:close/>
                </a:path>
              </a:pathLst>
            </a:custGeom>
            <a:solidFill>
              <a:srgbClr val="9EDED4"/>
            </a:solidFill>
            <a:ln w="12700" cap="flat">
              <a:noFill/>
              <a:prstDash val="solid"/>
              <a:miter/>
            </a:ln>
          </p:spPr>
          <p:txBody>
            <a:bodyPr rtlCol="0" anchor="ctr"/>
            <a:lstStyle/>
            <a:p>
              <a:endParaRPr lang="en-GB"/>
            </a:p>
          </p:txBody>
        </p:sp>
        <p:sp>
          <p:nvSpPr>
            <p:cNvPr id="10" name="Freeform: Shape 9">
              <a:extLst>
                <a:ext uri="{FF2B5EF4-FFF2-40B4-BE49-F238E27FC236}">
                  <a16:creationId xmlns:a16="http://schemas.microsoft.com/office/drawing/2014/main" id="{A2B590BA-1EDF-4937-BB2F-0CB0F6F6A74C}"/>
                </a:ext>
              </a:extLst>
            </p:cNvPr>
            <p:cNvSpPr/>
            <p:nvPr/>
          </p:nvSpPr>
          <p:spPr>
            <a:xfrm>
              <a:off x="0" y="2778450"/>
              <a:ext cx="6411400" cy="3323899"/>
            </a:xfrm>
            <a:custGeom>
              <a:avLst/>
              <a:gdLst>
                <a:gd name="connsiteX0" fmla="*/ 4562475 w 6411400"/>
                <a:gd name="connsiteY0" fmla="*/ 3200329 h 3323899"/>
                <a:gd name="connsiteX1" fmla="*/ 4834890 w 6411400"/>
                <a:gd name="connsiteY1" fmla="*/ 2230557 h 3323899"/>
                <a:gd name="connsiteX2" fmla="*/ 6361430 w 6411400"/>
                <a:gd name="connsiteY2" fmla="*/ 237419 h 3323899"/>
                <a:gd name="connsiteX3" fmla="*/ 6382110 w 6411400"/>
                <a:gd name="connsiteY3" fmla="*/ 49971 h 3323899"/>
                <a:gd name="connsiteX4" fmla="*/ 6194662 w 6411400"/>
                <a:gd name="connsiteY4" fmla="*/ 29291 h 3323899"/>
                <a:gd name="connsiteX5" fmla="*/ 6192520 w 6411400"/>
                <a:gd name="connsiteY5" fmla="*/ 31044 h 3323899"/>
                <a:gd name="connsiteX6" fmla="*/ 4584192 w 6411400"/>
                <a:gd name="connsiteY6" fmla="*/ 2139244 h 3323899"/>
                <a:gd name="connsiteX7" fmla="*/ 4312285 w 6411400"/>
                <a:gd name="connsiteY7" fmla="*/ 3057200 h 3323899"/>
                <a:gd name="connsiteX8" fmla="*/ 0 w 6411400"/>
                <a:gd name="connsiteY8" fmla="*/ 3057200 h 3323899"/>
                <a:gd name="connsiteX9" fmla="*/ 0 w 6411400"/>
                <a:gd name="connsiteY9" fmla="*/ 3323900 h 3323899"/>
                <a:gd name="connsiteX10" fmla="*/ 4429506 w 6411400"/>
                <a:gd name="connsiteY10" fmla="*/ 3323900 h 3323899"/>
                <a:gd name="connsiteX11" fmla="*/ 4562475 w 6411400"/>
                <a:gd name="connsiteY11" fmla="*/ 3200329 h 3323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11400" h="3323899">
                  <a:moveTo>
                    <a:pt x="4562475" y="3200329"/>
                  </a:moveTo>
                  <a:cubicBezTo>
                    <a:pt x="4562475" y="3196265"/>
                    <a:pt x="4596765" y="2793929"/>
                    <a:pt x="4834890" y="2230557"/>
                  </a:cubicBezTo>
                  <a:cubicBezTo>
                    <a:pt x="5054346" y="1711254"/>
                    <a:pt x="5497322" y="944047"/>
                    <a:pt x="6361430" y="237419"/>
                  </a:cubicBezTo>
                  <a:cubicBezTo>
                    <a:pt x="6418903" y="191367"/>
                    <a:pt x="6428162" y="107444"/>
                    <a:pt x="6382110" y="49971"/>
                  </a:cubicBezTo>
                  <a:cubicBezTo>
                    <a:pt x="6336058" y="-7502"/>
                    <a:pt x="6252135" y="-16761"/>
                    <a:pt x="6194662" y="29291"/>
                  </a:cubicBezTo>
                  <a:cubicBezTo>
                    <a:pt x="6193942" y="29868"/>
                    <a:pt x="6193228" y="30452"/>
                    <a:pt x="6192520" y="31044"/>
                  </a:cubicBezTo>
                  <a:cubicBezTo>
                    <a:pt x="5281295" y="776026"/>
                    <a:pt x="4814951" y="1588445"/>
                    <a:pt x="4584192" y="2139244"/>
                  </a:cubicBezTo>
                  <a:cubicBezTo>
                    <a:pt x="4409186" y="2556439"/>
                    <a:pt x="4339209" y="2887655"/>
                    <a:pt x="4312285" y="3057200"/>
                  </a:cubicBezTo>
                  <a:lnTo>
                    <a:pt x="0" y="3057200"/>
                  </a:lnTo>
                  <a:lnTo>
                    <a:pt x="0" y="3323900"/>
                  </a:lnTo>
                  <a:lnTo>
                    <a:pt x="4429506" y="3323900"/>
                  </a:lnTo>
                  <a:cubicBezTo>
                    <a:pt x="4499302" y="3323766"/>
                    <a:pt x="4557234" y="3269928"/>
                    <a:pt x="4562475" y="3200329"/>
                  </a:cubicBezTo>
                  <a:close/>
                </a:path>
              </a:pathLst>
            </a:custGeom>
            <a:solidFill>
              <a:srgbClr val="005C82"/>
            </a:solidFill>
            <a:ln w="12700" cap="flat">
              <a:noFill/>
              <a:prstDash val="solid"/>
              <a:miter/>
            </a:ln>
          </p:spPr>
          <p:txBody>
            <a:bodyPr rtlCol="0" anchor="ctr"/>
            <a:lstStyle/>
            <a:p>
              <a:endParaRPr lang="en-GB"/>
            </a:p>
          </p:txBody>
        </p:sp>
      </p:grpSp>
      <p:sp>
        <p:nvSpPr>
          <p:cNvPr id="13" name="Date Placeholder 1">
            <a:extLst>
              <a:ext uri="{FF2B5EF4-FFF2-40B4-BE49-F238E27FC236}">
                <a16:creationId xmlns:a16="http://schemas.microsoft.com/office/drawing/2014/main" id="{E243EEF0-314D-4259-8295-BEE2131AD8FC}"/>
              </a:ext>
            </a:extLst>
          </p:cNvPr>
          <p:cNvSpPr>
            <a:spLocks noGrp="1"/>
          </p:cNvSpPr>
          <p:nvPr>
            <p:ph type="dt" sz="half" idx="10"/>
          </p:nvPr>
        </p:nvSpPr>
        <p:spPr/>
        <p:txBody>
          <a:bodyPr/>
          <a:lstStyle/>
          <a:p>
            <a:r>
              <a:rPr lang="en-US"/>
              <a:t>dd Month 2021</a:t>
            </a:r>
            <a:endParaRPr lang="en-GB" dirty="0"/>
          </a:p>
        </p:txBody>
      </p:sp>
      <p:sp>
        <p:nvSpPr>
          <p:cNvPr id="14" name="Footer Placeholder 1">
            <a:extLst>
              <a:ext uri="{FF2B5EF4-FFF2-40B4-BE49-F238E27FC236}">
                <a16:creationId xmlns:a16="http://schemas.microsoft.com/office/drawing/2014/main" id="{9896265C-89EC-4643-89D0-8BDBAB410F2E}"/>
              </a:ext>
            </a:extLst>
          </p:cNvPr>
          <p:cNvSpPr>
            <a:spLocks noGrp="1"/>
          </p:cNvSpPr>
          <p:nvPr>
            <p:ph type="ftr" sz="quarter" idx="11"/>
          </p:nvPr>
        </p:nvSpPr>
        <p:spPr/>
        <p:txBody>
          <a:bodyPr/>
          <a:lstStyle/>
          <a:p>
            <a:r>
              <a:rPr lang="en-GB"/>
              <a:t>Update Footer to add the Document title</a:t>
            </a:r>
            <a:endParaRPr lang="en-GB" dirty="0"/>
          </a:p>
        </p:txBody>
      </p:sp>
      <p:sp>
        <p:nvSpPr>
          <p:cNvPr id="20" name="Rectangle">
            <a:extLst>
              <a:ext uri="{FF2B5EF4-FFF2-40B4-BE49-F238E27FC236}">
                <a16:creationId xmlns:a16="http://schemas.microsoft.com/office/drawing/2014/main" id="{EBB36A23-9562-4079-AE73-EDA22851B3F8}"/>
              </a:ext>
            </a:extLst>
          </p:cNvPr>
          <p:cNvSpPr/>
          <p:nvPr userDrawn="1"/>
        </p:nvSpPr>
        <p:spPr>
          <a:xfrm>
            <a:off x="-375" y="1799991"/>
            <a:ext cx="6005887" cy="37154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GB" sz="1400" dirty="0"/>
          </a:p>
        </p:txBody>
      </p:sp>
      <p:sp>
        <p:nvSpPr>
          <p:cNvPr id="21" name="Text Placeholder 1">
            <a:extLst>
              <a:ext uri="{FF2B5EF4-FFF2-40B4-BE49-F238E27FC236}">
                <a16:creationId xmlns:a16="http://schemas.microsoft.com/office/drawing/2014/main" id="{D0BCB2A8-A2F1-424B-ACCE-1CDDC0263C06}"/>
              </a:ext>
            </a:extLst>
          </p:cNvPr>
          <p:cNvSpPr>
            <a:spLocks noGrp="1"/>
          </p:cNvSpPr>
          <p:nvPr>
            <p:ph type="body" sz="quarter" idx="12"/>
          </p:nvPr>
        </p:nvSpPr>
        <p:spPr>
          <a:xfrm>
            <a:off x="719139" y="2060197"/>
            <a:ext cx="4554536" cy="3199959"/>
          </a:xfrm>
        </p:spPr>
        <p:txBody>
          <a:bodyPr/>
          <a:lstStyle>
            <a:lvl1pPr>
              <a:tabLst>
                <a:tab pos="4572000" algn="r"/>
              </a:tabLst>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p:nvPr>
        </p:nvSpPr>
        <p:spPr>
          <a:xfrm>
            <a:off x="719137" y="666745"/>
            <a:ext cx="7108826" cy="720000"/>
          </a:xfrm>
        </p:spPr>
        <p:txBody>
          <a:bodyPr/>
          <a:lstStyle>
            <a:lvl1pPr>
              <a:defRPr i="0">
                <a:solidFill>
                  <a:schemeClr val="tx2"/>
                </a:solidFill>
              </a:defRPr>
            </a:lvl1pPr>
            <a:lvl2pPr>
              <a:defRPr i="0">
                <a:solidFill>
                  <a:schemeClr val="bg1"/>
                </a:solidFill>
              </a:defRPr>
            </a:lvl2pPr>
            <a:lvl3pPr>
              <a:defRPr sz="4800" i="0">
                <a:solidFill>
                  <a:schemeClr val="tx1"/>
                </a:solidFill>
              </a:defRPr>
            </a:lvl3pPr>
            <a:lvl4pPr>
              <a:defRPr sz="4000" i="0">
                <a:solidFill>
                  <a:schemeClr val="tx2"/>
                </a:solidFill>
              </a:defRPr>
            </a:lvl4pPr>
            <a:lvl5pPr>
              <a:defRPr i="0">
                <a:solidFill>
                  <a:schemeClr val="bg1"/>
                </a:solidFill>
              </a:defRPr>
            </a:lvl5pPr>
            <a:lvl6pPr>
              <a:defRPr i="0">
                <a:solidFill>
                  <a:schemeClr val="tx1"/>
                </a:solidFill>
              </a:defRPr>
            </a:lvl6pPr>
            <a:lvl7pPr>
              <a:defRPr i="0">
                <a:solidFill>
                  <a:schemeClr val="tx2"/>
                </a:solidFill>
              </a:defRPr>
            </a:lvl7pPr>
            <a:lvl8pPr>
              <a:defRPr i="0">
                <a:solidFill>
                  <a:schemeClr val="bg1"/>
                </a:solidFill>
              </a:defRPr>
            </a:lvl8pPr>
            <a:lvl9pPr>
              <a:defRPr sz="3600" i="0">
                <a:solidFill>
                  <a:schemeClr val="tx1"/>
                </a:solidFill>
              </a:defRPr>
            </a:lvl9pPr>
          </a:lstStyle>
          <a:p>
            <a:pPr lvl="0"/>
            <a:r>
              <a:rPr lang="en-US"/>
              <a:t>Click to edit Master title style</a:t>
            </a:r>
            <a:endParaRPr lang="en-GB" dirty="0"/>
          </a:p>
        </p:txBody>
      </p:sp>
    </p:spTree>
    <p:extLst>
      <p:ext uri="{BB962C8B-B14F-4D97-AF65-F5344CB8AC3E}">
        <p14:creationId xmlns:p14="http://schemas.microsoft.com/office/powerpoint/2010/main" val="83961439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ontents">
    <p:bg>
      <p:bgPr>
        <a:solidFill>
          <a:schemeClr val="accent6"/>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0703F501-5AF0-4B2D-B2B2-F826C468E6DA}"/>
              </a:ext>
            </a:extLst>
          </p:cNvPr>
          <p:cNvSpPr/>
          <p:nvPr/>
        </p:nvSpPr>
        <p:spPr>
          <a:xfrm>
            <a:off x="0" y="0"/>
            <a:ext cx="12191625" cy="6857146"/>
          </a:xfrm>
          <a:custGeom>
            <a:avLst/>
            <a:gdLst>
              <a:gd name="connsiteX0" fmla="*/ 0 w 1920180"/>
              <a:gd name="connsiteY0" fmla="*/ 0 h 1080000"/>
              <a:gd name="connsiteX1" fmla="*/ 1920180 w 1920180"/>
              <a:gd name="connsiteY1" fmla="*/ 0 h 1080000"/>
              <a:gd name="connsiteX2" fmla="*/ 1920180 w 1920180"/>
              <a:gd name="connsiteY2" fmla="*/ 1080000 h 1080000"/>
              <a:gd name="connsiteX3" fmla="*/ 0 w 1920180"/>
              <a:gd name="connsiteY3" fmla="*/ 1080000 h 1080000"/>
            </a:gdLst>
            <a:ahLst/>
            <a:cxnLst>
              <a:cxn ang="0">
                <a:pos x="connsiteX0" y="connsiteY0"/>
              </a:cxn>
              <a:cxn ang="0">
                <a:pos x="connsiteX1" y="connsiteY1"/>
              </a:cxn>
              <a:cxn ang="0">
                <a:pos x="connsiteX2" y="connsiteY2"/>
              </a:cxn>
              <a:cxn ang="0">
                <a:pos x="connsiteX3" y="connsiteY3"/>
              </a:cxn>
            </a:cxnLst>
            <a:rect l="l" t="t" r="r" b="b"/>
            <a:pathLst>
              <a:path w="1920180" h="1080000">
                <a:moveTo>
                  <a:pt x="0" y="0"/>
                </a:moveTo>
                <a:lnTo>
                  <a:pt x="1920180" y="0"/>
                </a:lnTo>
                <a:lnTo>
                  <a:pt x="1920180" y="1080000"/>
                </a:lnTo>
                <a:lnTo>
                  <a:pt x="0" y="1080000"/>
                </a:lnTo>
                <a:close/>
              </a:path>
            </a:pathLst>
          </a:custGeom>
          <a:noFill/>
          <a:ln w="1994" cap="flat">
            <a:noFill/>
            <a:prstDash val="solid"/>
            <a:miter/>
          </a:ln>
        </p:spPr>
        <p:txBody>
          <a:bodyPr rtlCol="0" anchor="ctr"/>
          <a:lstStyle/>
          <a:p>
            <a:endParaRPr lang="en-GB" dirty="0"/>
          </a:p>
        </p:txBody>
      </p:sp>
      <p:sp>
        <p:nvSpPr>
          <p:cNvPr id="13" name="Date Placeholder 1">
            <a:extLst>
              <a:ext uri="{FF2B5EF4-FFF2-40B4-BE49-F238E27FC236}">
                <a16:creationId xmlns:a16="http://schemas.microsoft.com/office/drawing/2014/main" id="{E243EEF0-314D-4259-8295-BEE2131AD8FC}"/>
              </a:ext>
            </a:extLst>
          </p:cNvPr>
          <p:cNvSpPr>
            <a:spLocks noGrp="1"/>
          </p:cNvSpPr>
          <p:nvPr>
            <p:ph type="dt" sz="half" idx="10"/>
          </p:nvPr>
        </p:nvSpPr>
        <p:spPr/>
        <p:txBody>
          <a:bodyPr/>
          <a:lstStyle/>
          <a:p>
            <a:r>
              <a:rPr lang="en-US"/>
              <a:t>24 October 2021</a:t>
            </a:r>
            <a:endParaRPr lang="en-GB" dirty="0"/>
          </a:p>
        </p:txBody>
      </p:sp>
      <p:sp>
        <p:nvSpPr>
          <p:cNvPr id="14" name="Footer Placeholder 1">
            <a:extLst>
              <a:ext uri="{FF2B5EF4-FFF2-40B4-BE49-F238E27FC236}">
                <a16:creationId xmlns:a16="http://schemas.microsoft.com/office/drawing/2014/main" id="{9896265C-89EC-4643-89D0-8BDBAB410F2E}"/>
              </a:ext>
            </a:extLst>
          </p:cNvPr>
          <p:cNvSpPr>
            <a:spLocks noGrp="1"/>
          </p:cNvSpPr>
          <p:nvPr>
            <p:ph type="ftr" sz="quarter" idx="11"/>
          </p:nvPr>
        </p:nvSpPr>
        <p:spPr/>
        <p:txBody>
          <a:bodyPr/>
          <a:lstStyle/>
          <a:p>
            <a:r>
              <a:rPr lang="en-GB"/>
              <a:t>#Testing footer2</a:t>
            </a:r>
            <a:endParaRPr lang="en-GB"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hasCustomPrompt="1"/>
          </p:nvPr>
        </p:nvSpPr>
        <p:spPr/>
        <p:txBody>
          <a:bodyPr/>
          <a:lstStyle>
            <a:lvl1pPr>
              <a:defRPr i="0">
                <a:solidFill>
                  <a:schemeClr val="tx2"/>
                </a:solidFill>
              </a:defRPr>
            </a:lvl1pPr>
            <a:lvl2pPr>
              <a:defRPr i="0">
                <a:solidFill>
                  <a:schemeClr val="bg1"/>
                </a:solidFill>
              </a:defRPr>
            </a:lvl2pPr>
            <a:lvl3pPr>
              <a:defRPr sz="4800" i="0">
                <a:solidFill>
                  <a:schemeClr val="tx1"/>
                </a:solidFill>
              </a:defRPr>
            </a:lvl3pPr>
            <a:lvl4pPr>
              <a:defRPr sz="4000" i="0">
                <a:solidFill>
                  <a:schemeClr val="tx2"/>
                </a:solidFill>
              </a:defRPr>
            </a:lvl4pPr>
            <a:lvl5pPr>
              <a:defRPr sz="4000" i="0">
                <a:solidFill>
                  <a:schemeClr val="bg1"/>
                </a:solidFill>
              </a:defRPr>
            </a:lvl5pPr>
            <a:lvl6pPr>
              <a:defRPr sz="4000" i="0">
                <a:solidFill>
                  <a:schemeClr val="tx1"/>
                </a:solidFill>
              </a:defRPr>
            </a:lvl6pPr>
            <a:lvl7pPr>
              <a:defRPr i="0">
                <a:solidFill>
                  <a:schemeClr val="tx2"/>
                </a:solidFill>
              </a:defRPr>
            </a:lvl7pPr>
            <a:lvl8pPr>
              <a:defRPr i="0">
                <a:solidFill>
                  <a:schemeClr val="bg1"/>
                </a:solidFill>
              </a:defRPr>
            </a:lvl8pPr>
            <a:lvl9pPr>
              <a:defRPr sz="3600" i="0">
                <a:solidFill>
                  <a:schemeClr val="tx1"/>
                </a:solidFill>
              </a:defRPr>
            </a:lvl9pPr>
          </a:lstStyle>
          <a:p>
            <a:pPr lvl="0"/>
            <a:r>
              <a:rPr lang="en-GB" dirty="0"/>
              <a:t>Contents</a:t>
            </a:r>
          </a:p>
        </p:txBody>
      </p:sp>
      <p:grpSp>
        <p:nvGrpSpPr>
          <p:cNvPr id="15" name="Group 14">
            <a:extLst>
              <a:ext uri="{FF2B5EF4-FFF2-40B4-BE49-F238E27FC236}">
                <a16:creationId xmlns:a16="http://schemas.microsoft.com/office/drawing/2014/main" id="{59843ED0-6A19-4339-BF6B-1592DEE61674}"/>
              </a:ext>
            </a:extLst>
          </p:cNvPr>
          <p:cNvGrpSpPr/>
          <p:nvPr userDrawn="1"/>
        </p:nvGrpSpPr>
        <p:grpSpPr>
          <a:xfrm>
            <a:off x="3794125" y="2056860"/>
            <a:ext cx="8398510" cy="4801139"/>
            <a:chOff x="3794125" y="2056860"/>
            <a:chExt cx="8398510" cy="4801139"/>
          </a:xfrm>
        </p:grpSpPr>
        <p:sp>
          <p:nvSpPr>
            <p:cNvPr id="16" name="Freeform: Shape 15">
              <a:extLst>
                <a:ext uri="{FF2B5EF4-FFF2-40B4-BE49-F238E27FC236}">
                  <a16:creationId xmlns:a16="http://schemas.microsoft.com/office/drawing/2014/main" id="{DFEFA15E-E50A-4FB6-B766-516D84D7356B}"/>
                </a:ext>
              </a:extLst>
            </p:cNvPr>
            <p:cNvSpPr/>
            <p:nvPr/>
          </p:nvSpPr>
          <p:spPr>
            <a:xfrm>
              <a:off x="11404901" y="2056860"/>
              <a:ext cx="787734" cy="301864"/>
            </a:xfrm>
            <a:custGeom>
              <a:avLst/>
              <a:gdLst>
                <a:gd name="connsiteX0" fmla="*/ 117428 w 787734"/>
                <a:gd name="connsiteY0" fmla="*/ 36100 h 301864"/>
                <a:gd name="connsiteX1" fmla="*/ 969 w 787734"/>
                <a:gd name="connsiteY1" fmla="*/ 184436 h 301864"/>
                <a:gd name="connsiteX2" fmla="*/ 149305 w 787734"/>
                <a:gd name="connsiteY2" fmla="*/ 300895 h 301864"/>
                <a:gd name="connsiteX3" fmla="*/ 787734 w 787734"/>
                <a:gd name="connsiteY3" fmla="*/ 267240 h 301864"/>
                <a:gd name="connsiteX4" fmla="*/ 787734 w 787734"/>
                <a:gd name="connsiteY4" fmla="*/ 540 h 301864"/>
                <a:gd name="connsiteX5" fmla="*/ 117427 w 787734"/>
                <a:gd name="connsiteY5" fmla="*/ 36100 h 30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7734" h="301864">
                  <a:moveTo>
                    <a:pt x="117428" y="36100"/>
                  </a:moveTo>
                  <a:cubicBezTo>
                    <a:pt x="44307" y="44903"/>
                    <a:pt x="-7833" y="111315"/>
                    <a:pt x="969" y="184436"/>
                  </a:cubicBezTo>
                  <a:cubicBezTo>
                    <a:pt x="9772" y="257557"/>
                    <a:pt x="76184" y="309697"/>
                    <a:pt x="149305" y="300895"/>
                  </a:cubicBezTo>
                  <a:cubicBezTo>
                    <a:pt x="361084" y="274972"/>
                    <a:pt x="574403" y="263727"/>
                    <a:pt x="787734" y="267240"/>
                  </a:cubicBezTo>
                  <a:lnTo>
                    <a:pt x="787734" y="540"/>
                  </a:lnTo>
                  <a:cubicBezTo>
                    <a:pt x="563751" y="-2766"/>
                    <a:pt x="339803" y="9114"/>
                    <a:pt x="117427" y="36100"/>
                  </a:cubicBezTo>
                  <a:close/>
                </a:path>
              </a:pathLst>
            </a:custGeom>
            <a:solidFill>
              <a:srgbClr val="EDC2B2"/>
            </a:solidFill>
            <a:ln w="1270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BEF742D8-191B-4073-81D4-16A1900062D6}"/>
                </a:ext>
              </a:extLst>
            </p:cNvPr>
            <p:cNvSpPr/>
            <p:nvPr/>
          </p:nvSpPr>
          <p:spPr>
            <a:xfrm>
              <a:off x="3794125" y="2097571"/>
              <a:ext cx="7830716" cy="4760428"/>
            </a:xfrm>
            <a:custGeom>
              <a:avLst/>
              <a:gdLst>
                <a:gd name="connsiteX0" fmla="*/ 1561211 w 7830716"/>
                <a:gd name="connsiteY0" fmla="*/ 3349332 h 4760428"/>
                <a:gd name="connsiteX1" fmla="*/ 3771011 w 7830716"/>
                <a:gd name="connsiteY1" fmla="*/ 4096600 h 4760428"/>
                <a:gd name="connsiteX2" fmla="*/ 3958809 w 7830716"/>
                <a:gd name="connsiteY2" fmla="*/ 4113810 h 4760428"/>
                <a:gd name="connsiteX3" fmla="*/ 4005072 w 7830716"/>
                <a:gd name="connsiteY3" fmla="*/ 4033100 h 4760428"/>
                <a:gd name="connsiteX4" fmla="*/ 4641977 w 7830716"/>
                <a:gd name="connsiteY4" fmla="*/ 2345143 h 4760428"/>
                <a:gd name="connsiteX5" fmla="*/ 7499477 w 7830716"/>
                <a:gd name="connsiteY5" fmla="*/ 296506 h 4760428"/>
                <a:gd name="connsiteX6" fmla="*/ 7713345 w 7830716"/>
                <a:gd name="connsiteY6" fmla="*/ 265772 h 4760428"/>
                <a:gd name="connsiteX7" fmla="*/ 7829740 w 7830716"/>
                <a:gd name="connsiteY7" fmla="*/ 117372 h 4760428"/>
                <a:gd name="connsiteX8" fmla="*/ 7681340 w 7830716"/>
                <a:gd name="connsiteY8" fmla="*/ 977 h 4760428"/>
                <a:gd name="connsiteX9" fmla="*/ 7455916 w 7830716"/>
                <a:gd name="connsiteY9" fmla="*/ 33362 h 4760428"/>
                <a:gd name="connsiteX10" fmla="*/ 5538216 w 7830716"/>
                <a:gd name="connsiteY10" fmla="*/ 875753 h 4760428"/>
                <a:gd name="connsiteX11" fmla="*/ 4410710 w 7830716"/>
                <a:gd name="connsiteY11" fmla="*/ 2212047 h 4760428"/>
                <a:gd name="connsiteX12" fmla="*/ 3797807 w 7830716"/>
                <a:gd name="connsiteY12" fmla="*/ 3729443 h 4760428"/>
                <a:gd name="connsiteX13" fmla="*/ 2745867 w 7830716"/>
                <a:gd name="connsiteY13" fmla="*/ 3078441 h 4760428"/>
                <a:gd name="connsiteX14" fmla="*/ 1478280 w 7830716"/>
                <a:gd name="connsiteY14" fmla="*/ 3096221 h 4760428"/>
                <a:gd name="connsiteX15" fmla="*/ 443357 w 7830716"/>
                <a:gd name="connsiteY15" fmla="*/ 3804373 h 4760428"/>
                <a:gd name="connsiteX16" fmla="*/ 0 w 7830716"/>
                <a:gd name="connsiteY16" fmla="*/ 4760429 h 4760428"/>
                <a:gd name="connsiteX17" fmla="*/ 272415 w 7830716"/>
                <a:gd name="connsiteY17" fmla="*/ 4760429 h 4760428"/>
                <a:gd name="connsiteX18" fmla="*/ 1561211 w 7830716"/>
                <a:gd name="connsiteY18" fmla="*/ 3349332 h 476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30716" h="4760428">
                  <a:moveTo>
                    <a:pt x="1561211" y="3349332"/>
                  </a:moveTo>
                  <a:cubicBezTo>
                    <a:pt x="2355723" y="3091141"/>
                    <a:pt x="3161411" y="3363556"/>
                    <a:pt x="3771011" y="4096600"/>
                  </a:cubicBezTo>
                  <a:cubicBezTo>
                    <a:pt x="3818117" y="4153211"/>
                    <a:pt x="3902198" y="4160917"/>
                    <a:pt x="3958809" y="4113810"/>
                  </a:cubicBezTo>
                  <a:cubicBezTo>
                    <a:pt x="3983419" y="4093332"/>
                    <a:pt x="3999839" y="4064685"/>
                    <a:pt x="4005072" y="4033100"/>
                  </a:cubicBezTo>
                  <a:cubicBezTo>
                    <a:pt x="4006468" y="4024972"/>
                    <a:pt x="4141978" y="3212299"/>
                    <a:pt x="4641977" y="2345143"/>
                  </a:cubicBezTo>
                  <a:cubicBezTo>
                    <a:pt x="5308346" y="1189443"/>
                    <a:pt x="6269609" y="499960"/>
                    <a:pt x="7499477" y="296506"/>
                  </a:cubicBezTo>
                  <a:cubicBezTo>
                    <a:pt x="7570597" y="284695"/>
                    <a:pt x="7642606" y="274408"/>
                    <a:pt x="7713345" y="265772"/>
                  </a:cubicBezTo>
                  <a:cubicBezTo>
                    <a:pt x="7786466" y="256934"/>
                    <a:pt x="7838578" y="190493"/>
                    <a:pt x="7829740" y="117372"/>
                  </a:cubicBezTo>
                  <a:cubicBezTo>
                    <a:pt x="7820902" y="44251"/>
                    <a:pt x="7754461" y="-7861"/>
                    <a:pt x="7681340" y="977"/>
                  </a:cubicBezTo>
                  <a:cubicBezTo>
                    <a:pt x="7606792" y="9994"/>
                    <a:pt x="7530846" y="20916"/>
                    <a:pt x="7455916" y="33362"/>
                  </a:cubicBezTo>
                  <a:cubicBezTo>
                    <a:pt x="6734302" y="152869"/>
                    <a:pt x="6089268" y="436206"/>
                    <a:pt x="5538216" y="875753"/>
                  </a:cubicBezTo>
                  <a:cubicBezTo>
                    <a:pt x="5099177" y="1226400"/>
                    <a:pt x="4719828" y="1675853"/>
                    <a:pt x="4410710" y="2212047"/>
                  </a:cubicBezTo>
                  <a:cubicBezTo>
                    <a:pt x="4138198" y="2687543"/>
                    <a:pt x="3931987" y="3198071"/>
                    <a:pt x="3797807" y="3729443"/>
                  </a:cubicBezTo>
                  <a:cubicBezTo>
                    <a:pt x="3485134" y="3411943"/>
                    <a:pt x="3132328" y="3192868"/>
                    <a:pt x="2745867" y="3078441"/>
                  </a:cubicBezTo>
                  <a:cubicBezTo>
                    <a:pt x="2331342" y="2955468"/>
                    <a:pt x="1889193" y="2961669"/>
                    <a:pt x="1478280" y="3096221"/>
                  </a:cubicBezTo>
                  <a:cubicBezTo>
                    <a:pt x="1072383" y="3227835"/>
                    <a:pt x="713053" y="3473709"/>
                    <a:pt x="443357" y="3804373"/>
                  </a:cubicBezTo>
                  <a:cubicBezTo>
                    <a:pt x="216541" y="4080086"/>
                    <a:pt x="63929" y="4409179"/>
                    <a:pt x="0" y="4760429"/>
                  </a:cubicBezTo>
                  <a:lnTo>
                    <a:pt x="272415" y="4760429"/>
                  </a:lnTo>
                  <a:cubicBezTo>
                    <a:pt x="408686" y="4113872"/>
                    <a:pt x="901700" y="3563581"/>
                    <a:pt x="1561211" y="3349332"/>
                  </a:cubicBezTo>
                  <a:close/>
                </a:path>
              </a:pathLst>
            </a:custGeom>
            <a:solidFill>
              <a:srgbClr val="005C82"/>
            </a:solidFill>
            <a:ln w="12700" cap="flat">
              <a:noFill/>
              <a:prstDash val="solid"/>
              <a:miter/>
            </a:ln>
          </p:spPr>
          <p:txBody>
            <a:bodyPr rtlCol="0" anchor="ctr"/>
            <a:lstStyle/>
            <a:p>
              <a:endParaRPr lang="en-GB"/>
            </a:p>
          </p:txBody>
        </p:sp>
      </p:grpSp>
      <p:sp>
        <p:nvSpPr>
          <p:cNvPr id="18" name="Rectangle">
            <a:extLst>
              <a:ext uri="{FF2B5EF4-FFF2-40B4-BE49-F238E27FC236}">
                <a16:creationId xmlns:a16="http://schemas.microsoft.com/office/drawing/2014/main" id="{21C6EBF0-A7A4-413E-A7FD-E4F028820495}"/>
              </a:ext>
            </a:extLst>
          </p:cNvPr>
          <p:cNvSpPr/>
          <p:nvPr userDrawn="1"/>
        </p:nvSpPr>
        <p:spPr>
          <a:xfrm>
            <a:off x="-374" y="1584000"/>
            <a:ext cx="7020000" cy="403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GB" sz="1400" dirty="0"/>
          </a:p>
        </p:txBody>
      </p:sp>
      <p:graphicFrame>
        <p:nvGraphicFramePr>
          <p:cNvPr id="17" name="TOCTable" hidden="1">
            <a:extLst>
              <a:ext uri="{FF2B5EF4-FFF2-40B4-BE49-F238E27FC236}">
                <a16:creationId xmlns:a16="http://schemas.microsoft.com/office/drawing/2014/main" id="{3433996D-9DBF-4897-BF4F-CD9B1AFE9DB8}"/>
              </a:ext>
            </a:extLst>
          </p:cNvPr>
          <p:cNvGraphicFramePr>
            <a:graphicFrameLocks/>
          </p:cNvGraphicFramePr>
          <p:nvPr userDrawn="1">
            <p:extLst>
              <p:ext uri="{D42A27DB-BD31-4B8C-83A1-F6EECF244321}">
                <p14:modId xmlns:p14="http://schemas.microsoft.com/office/powerpoint/2010/main" val="3892057374"/>
              </p:ext>
            </p:extLst>
          </p:nvPr>
        </p:nvGraphicFramePr>
        <p:xfrm>
          <a:off x="724372" y="1692275"/>
          <a:ext cx="6139008" cy="3775248"/>
        </p:xfrm>
        <a:graphic>
          <a:graphicData uri="http://schemas.openxmlformats.org/drawingml/2006/table">
            <a:tbl>
              <a:tblPr bandRow="1">
                <a:tableStyleId>{2D5ABB26-0587-4C30-8999-92F81FD0307C}</a:tableStyleId>
              </a:tblPr>
              <a:tblGrid>
                <a:gridCol w="706395">
                  <a:extLst>
                    <a:ext uri="{9D8B030D-6E8A-4147-A177-3AD203B41FA5}">
                      <a16:colId xmlns:a16="http://schemas.microsoft.com/office/drawing/2014/main" val="623472955"/>
                    </a:ext>
                  </a:extLst>
                </a:gridCol>
                <a:gridCol w="4892920">
                  <a:extLst>
                    <a:ext uri="{9D8B030D-6E8A-4147-A177-3AD203B41FA5}">
                      <a16:colId xmlns:a16="http://schemas.microsoft.com/office/drawing/2014/main" val="3016899469"/>
                    </a:ext>
                  </a:extLst>
                </a:gridCol>
                <a:gridCol w="539693">
                  <a:extLst>
                    <a:ext uri="{9D8B030D-6E8A-4147-A177-3AD203B41FA5}">
                      <a16:colId xmlns:a16="http://schemas.microsoft.com/office/drawing/2014/main" val="4199035927"/>
                    </a:ext>
                  </a:extLst>
                </a:gridCol>
              </a:tblGrid>
              <a:tr h="370840">
                <a:tc>
                  <a:txBody>
                    <a:bodyPr/>
                    <a:lstStyle/>
                    <a:p>
                      <a:pPr algn="l"/>
                      <a:r>
                        <a:rPr lang="en-GB" sz="2400" b="0" baseline="0" dirty="0">
                          <a:solidFill>
                            <a:schemeClr val="tx1"/>
                          </a:solidFill>
                          <a:latin typeface="+mj-lt"/>
                        </a:rPr>
                        <a:t>01</a:t>
                      </a:r>
                      <a:endParaRPr lang="en-GB" sz="2400" b="0" baseline="0" dirty="0">
                        <a:solidFill>
                          <a:schemeClr val="tx1"/>
                        </a:solidFill>
                        <a:latin typeface="+mj-lt"/>
                        <a:cs typeface="Arial" panose="020B0604020202020204" pitchFamily="34" charset="0"/>
                      </a:endParaRPr>
                    </a:p>
                  </a:txBody>
                  <a:tcPr marL="0" marR="181010" marT="36000" marB="36000" anchor="ctr">
                    <a:lnL>
                      <a:noFill/>
                    </a:lnL>
                    <a:lnR>
                      <a:noFill/>
                    </a:lnR>
                    <a:lnT>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first item</a:t>
                      </a:r>
                    </a:p>
                  </a:txBody>
                  <a:tcPr marL="90505" marR="90505" marT="36000" marB="36000" anchor="ctr">
                    <a:lnL>
                      <a:noFill/>
                    </a:lnL>
                    <a:lnR>
                      <a:noFill/>
                    </a:lnR>
                    <a:lnT>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a:noFill/>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819912683"/>
                  </a:ext>
                </a:extLst>
              </a:tr>
              <a:tr h="370840">
                <a:tc>
                  <a:txBody>
                    <a:bodyPr/>
                    <a:lstStyle/>
                    <a:p>
                      <a:pPr algn="l"/>
                      <a:r>
                        <a:rPr lang="en-GB" sz="2400" b="0" baseline="0" dirty="0">
                          <a:solidFill>
                            <a:schemeClr val="tx1"/>
                          </a:solidFill>
                          <a:latin typeface="+mj-lt"/>
                        </a:rPr>
                        <a:t>02</a:t>
                      </a:r>
                      <a:endParaRPr lang="en-GB" sz="2400" b="0" baseline="0" dirty="0">
                        <a:solidFill>
                          <a:schemeClr val="tx1"/>
                        </a:solidFill>
                        <a:latin typeface="+mj-lt"/>
                        <a:cs typeface="Arial" panose="020B0604020202020204" pitchFamily="34" charset="0"/>
                      </a:endParaRP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second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35655236"/>
                  </a:ext>
                </a:extLst>
              </a:tr>
              <a:tr h="370840">
                <a:tc>
                  <a:txBody>
                    <a:bodyPr/>
                    <a:lstStyle/>
                    <a:p>
                      <a:pPr algn="l"/>
                      <a:r>
                        <a:rPr lang="en-GB" sz="2400" b="0" baseline="0" dirty="0">
                          <a:solidFill>
                            <a:schemeClr val="tx1"/>
                          </a:solidFill>
                          <a:latin typeface="+mj-lt"/>
                          <a:cs typeface="Arial" panose="020B0604020202020204" pitchFamily="34" charset="0"/>
                        </a:rPr>
                        <a:t>03</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third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15243760"/>
                  </a:ext>
                </a:extLst>
              </a:tr>
              <a:tr h="370840">
                <a:tc>
                  <a:txBody>
                    <a:bodyPr/>
                    <a:lstStyle/>
                    <a:p>
                      <a:pPr algn="l"/>
                      <a:r>
                        <a:rPr lang="en-GB" sz="2400" b="0" baseline="0" dirty="0">
                          <a:solidFill>
                            <a:schemeClr val="tx1"/>
                          </a:solidFill>
                          <a:latin typeface="+mj-lt"/>
                          <a:cs typeface="Arial" panose="020B0604020202020204" pitchFamily="34" charset="0"/>
                        </a:rPr>
                        <a:t>04</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fourth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84242470"/>
                  </a:ext>
                </a:extLst>
              </a:tr>
              <a:tr h="370840">
                <a:tc>
                  <a:txBody>
                    <a:bodyPr/>
                    <a:lstStyle/>
                    <a:p>
                      <a:pPr algn="l"/>
                      <a:r>
                        <a:rPr lang="en-GB" sz="2400" b="0" baseline="0" dirty="0">
                          <a:solidFill>
                            <a:schemeClr val="tx1"/>
                          </a:solidFill>
                          <a:latin typeface="+mj-lt"/>
                          <a:cs typeface="Arial" panose="020B0604020202020204" pitchFamily="34" charset="0"/>
                        </a:rPr>
                        <a:t>05</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fifth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85255728"/>
                  </a:ext>
                </a:extLst>
              </a:tr>
              <a:tr h="370840">
                <a:tc>
                  <a:txBody>
                    <a:bodyPr/>
                    <a:lstStyle/>
                    <a:p>
                      <a:pPr algn="l"/>
                      <a:r>
                        <a:rPr lang="en-GB" sz="2400" b="0" baseline="0" dirty="0">
                          <a:solidFill>
                            <a:schemeClr val="tx1"/>
                          </a:solidFill>
                          <a:latin typeface="+mj-lt"/>
                          <a:cs typeface="Arial" panose="020B0604020202020204" pitchFamily="34" charset="0"/>
                        </a:rPr>
                        <a:t>06</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sixth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50849912"/>
                  </a:ext>
                </a:extLst>
              </a:tr>
              <a:tr h="370840">
                <a:tc>
                  <a:txBody>
                    <a:bodyPr/>
                    <a:lstStyle/>
                    <a:p>
                      <a:pPr algn="l"/>
                      <a:r>
                        <a:rPr lang="en-GB" sz="2400" b="0" baseline="0" dirty="0">
                          <a:solidFill>
                            <a:schemeClr val="tx1"/>
                          </a:solidFill>
                          <a:latin typeface="+mj-lt"/>
                          <a:cs typeface="Arial" panose="020B0604020202020204" pitchFamily="34" charset="0"/>
                        </a:rPr>
                        <a:t>07</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seventh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71721349"/>
                  </a:ext>
                </a:extLst>
              </a:tr>
              <a:tr h="370840">
                <a:tc>
                  <a:txBody>
                    <a:bodyPr/>
                    <a:lstStyle/>
                    <a:p>
                      <a:pPr algn="l"/>
                      <a:r>
                        <a:rPr lang="en-GB" sz="2400" b="0" baseline="0" dirty="0">
                          <a:solidFill>
                            <a:schemeClr val="tx1"/>
                          </a:solidFill>
                          <a:latin typeface="+mj-lt"/>
                          <a:cs typeface="Arial" panose="020B0604020202020204" pitchFamily="34" charset="0"/>
                        </a:rPr>
                        <a:t>08</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eighth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1232822"/>
                  </a:ext>
                </a:extLst>
              </a:tr>
              <a:tr h="370840">
                <a:tc>
                  <a:txBody>
                    <a:bodyPr/>
                    <a:lstStyle/>
                    <a:p>
                      <a:pPr algn="l"/>
                      <a:r>
                        <a:rPr lang="en-GB" sz="2400" b="0" baseline="0" dirty="0">
                          <a:solidFill>
                            <a:schemeClr val="tx1"/>
                          </a:solidFill>
                          <a:latin typeface="+mj-lt"/>
                          <a:cs typeface="Arial" panose="020B0604020202020204" pitchFamily="34" charset="0"/>
                        </a:rPr>
                        <a:t>09</a:t>
                      </a:r>
                    </a:p>
                  </a:txBody>
                  <a:tcPr marL="0" marR="181010"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GB" sz="1600" baseline="0" dirty="0">
                          <a:solidFill>
                            <a:schemeClr val="tx1"/>
                          </a:solidFill>
                          <a:latin typeface="Arial" panose="020B0604020202020204" pitchFamily="34" charset="0"/>
                          <a:cs typeface="Arial" panose="020B0604020202020204" pitchFamily="34" charset="0"/>
                        </a:rPr>
                        <a:t>The ninth item</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lang="en-GB" sz="1600" baseline="0" dirty="0">
                          <a:solidFill>
                            <a:schemeClr val="tx1"/>
                          </a:solidFill>
                          <a:latin typeface="Arial" panose="020B0604020202020204" pitchFamily="34" charset="0"/>
                          <a:cs typeface="Arial" panose="020B0604020202020204" pitchFamily="34" charset="0"/>
                        </a:rPr>
                        <a:t>XX</a:t>
                      </a:r>
                    </a:p>
                  </a:txBody>
                  <a:tcPr marL="90505" marR="90505" marT="36000" marB="36000" anchor="ctr">
                    <a:lnL>
                      <a:noFill/>
                    </a:lnL>
                    <a:lnR>
                      <a:noFill/>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5438890"/>
                  </a:ext>
                </a:extLst>
              </a:tr>
            </a:tbl>
          </a:graphicData>
        </a:graphic>
      </p:graphicFrame>
    </p:spTree>
    <p:extLst>
      <p:ext uri="{BB962C8B-B14F-4D97-AF65-F5344CB8AC3E}">
        <p14:creationId xmlns:p14="http://schemas.microsoft.com/office/powerpoint/2010/main" val="295561542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Agenda 1">
    <p:bg>
      <p:bgPr>
        <a:solidFill>
          <a:schemeClr val="accent6"/>
        </a:solidFill>
        <a:effectLst/>
      </p:bgPr>
    </p:bg>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278C42CE-F3F9-40D1-BE5C-F5C6570708AD}"/>
              </a:ext>
            </a:extLst>
          </p:cNvPr>
          <p:cNvGrpSpPr/>
          <p:nvPr userDrawn="1"/>
        </p:nvGrpSpPr>
        <p:grpSpPr>
          <a:xfrm>
            <a:off x="3794125" y="2056860"/>
            <a:ext cx="8398510" cy="4801139"/>
            <a:chOff x="3794125" y="2056860"/>
            <a:chExt cx="8398510" cy="4801139"/>
          </a:xfrm>
        </p:grpSpPr>
        <p:sp>
          <p:nvSpPr>
            <p:cNvPr id="18" name="Freeform: Shape 17">
              <a:extLst>
                <a:ext uri="{FF2B5EF4-FFF2-40B4-BE49-F238E27FC236}">
                  <a16:creationId xmlns:a16="http://schemas.microsoft.com/office/drawing/2014/main" id="{8818C944-C96E-4346-8A1F-E2402D380083}"/>
                </a:ext>
              </a:extLst>
            </p:cNvPr>
            <p:cNvSpPr/>
            <p:nvPr/>
          </p:nvSpPr>
          <p:spPr>
            <a:xfrm>
              <a:off x="11404901" y="2056860"/>
              <a:ext cx="787734" cy="301864"/>
            </a:xfrm>
            <a:custGeom>
              <a:avLst/>
              <a:gdLst>
                <a:gd name="connsiteX0" fmla="*/ 117428 w 787734"/>
                <a:gd name="connsiteY0" fmla="*/ 36100 h 301864"/>
                <a:gd name="connsiteX1" fmla="*/ 969 w 787734"/>
                <a:gd name="connsiteY1" fmla="*/ 184436 h 301864"/>
                <a:gd name="connsiteX2" fmla="*/ 149305 w 787734"/>
                <a:gd name="connsiteY2" fmla="*/ 300895 h 301864"/>
                <a:gd name="connsiteX3" fmla="*/ 787734 w 787734"/>
                <a:gd name="connsiteY3" fmla="*/ 267240 h 301864"/>
                <a:gd name="connsiteX4" fmla="*/ 787734 w 787734"/>
                <a:gd name="connsiteY4" fmla="*/ 540 h 301864"/>
                <a:gd name="connsiteX5" fmla="*/ 117427 w 787734"/>
                <a:gd name="connsiteY5" fmla="*/ 36100 h 30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7734" h="301864">
                  <a:moveTo>
                    <a:pt x="117428" y="36100"/>
                  </a:moveTo>
                  <a:cubicBezTo>
                    <a:pt x="44307" y="44903"/>
                    <a:pt x="-7833" y="111315"/>
                    <a:pt x="969" y="184436"/>
                  </a:cubicBezTo>
                  <a:cubicBezTo>
                    <a:pt x="9772" y="257557"/>
                    <a:pt x="76184" y="309697"/>
                    <a:pt x="149305" y="300895"/>
                  </a:cubicBezTo>
                  <a:cubicBezTo>
                    <a:pt x="361084" y="274972"/>
                    <a:pt x="574403" y="263727"/>
                    <a:pt x="787734" y="267240"/>
                  </a:cubicBezTo>
                  <a:lnTo>
                    <a:pt x="787734" y="540"/>
                  </a:lnTo>
                  <a:cubicBezTo>
                    <a:pt x="563751" y="-2766"/>
                    <a:pt x="339803" y="9114"/>
                    <a:pt x="117427" y="36100"/>
                  </a:cubicBezTo>
                  <a:close/>
                </a:path>
              </a:pathLst>
            </a:custGeom>
            <a:solidFill>
              <a:srgbClr val="EDC2B2"/>
            </a:solidFill>
            <a:ln w="12700"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07DA10CC-F106-4584-AEE9-7CB25C96D758}"/>
                </a:ext>
              </a:extLst>
            </p:cNvPr>
            <p:cNvSpPr/>
            <p:nvPr/>
          </p:nvSpPr>
          <p:spPr>
            <a:xfrm>
              <a:off x="3794125" y="2097571"/>
              <a:ext cx="7830716" cy="4760428"/>
            </a:xfrm>
            <a:custGeom>
              <a:avLst/>
              <a:gdLst>
                <a:gd name="connsiteX0" fmla="*/ 1561211 w 7830716"/>
                <a:gd name="connsiteY0" fmla="*/ 3349332 h 4760428"/>
                <a:gd name="connsiteX1" fmla="*/ 3771011 w 7830716"/>
                <a:gd name="connsiteY1" fmla="*/ 4096600 h 4760428"/>
                <a:gd name="connsiteX2" fmla="*/ 3958809 w 7830716"/>
                <a:gd name="connsiteY2" fmla="*/ 4113810 h 4760428"/>
                <a:gd name="connsiteX3" fmla="*/ 4005072 w 7830716"/>
                <a:gd name="connsiteY3" fmla="*/ 4033100 h 4760428"/>
                <a:gd name="connsiteX4" fmla="*/ 4641977 w 7830716"/>
                <a:gd name="connsiteY4" fmla="*/ 2345143 h 4760428"/>
                <a:gd name="connsiteX5" fmla="*/ 7499477 w 7830716"/>
                <a:gd name="connsiteY5" fmla="*/ 296506 h 4760428"/>
                <a:gd name="connsiteX6" fmla="*/ 7713345 w 7830716"/>
                <a:gd name="connsiteY6" fmla="*/ 265772 h 4760428"/>
                <a:gd name="connsiteX7" fmla="*/ 7829740 w 7830716"/>
                <a:gd name="connsiteY7" fmla="*/ 117372 h 4760428"/>
                <a:gd name="connsiteX8" fmla="*/ 7681340 w 7830716"/>
                <a:gd name="connsiteY8" fmla="*/ 977 h 4760428"/>
                <a:gd name="connsiteX9" fmla="*/ 7455916 w 7830716"/>
                <a:gd name="connsiteY9" fmla="*/ 33362 h 4760428"/>
                <a:gd name="connsiteX10" fmla="*/ 5538216 w 7830716"/>
                <a:gd name="connsiteY10" fmla="*/ 875753 h 4760428"/>
                <a:gd name="connsiteX11" fmla="*/ 4410710 w 7830716"/>
                <a:gd name="connsiteY11" fmla="*/ 2212047 h 4760428"/>
                <a:gd name="connsiteX12" fmla="*/ 3797807 w 7830716"/>
                <a:gd name="connsiteY12" fmla="*/ 3729443 h 4760428"/>
                <a:gd name="connsiteX13" fmla="*/ 2745867 w 7830716"/>
                <a:gd name="connsiteY13" fmla="*/ 3078441 h 4760428"/>
                <a:gd name="connsiteX14" fmla="*/ 1478280 w 7830716"/>
                <a:gd name="connsiteY14" fmla="*/ 3096221 h 4760428"/>
                <a:gd name="connsiteX15" fmla="*/ 443357 w 7830716"/>
                <a:gd name="connsiteY15" fmla="*/ 3804373 h 4760428"/>
                <a:gd name="connsiteX16" fmla="*/ 0 w 7830716"/>
                <a:gd name="connsiteY16" fmla="*/ 4760429 h 4760428"/>
                <a:gd name="connsiteX17" fmla="*/ 272415 w 7830716"/>
                <a:gd name="connsiteY17" fmla="*/ 4760429 h 4760428"/>
                <a:gd name="connsiteX18" fmla="*/ 1561211 w 7830716"/>
                <a:gd name="connsiteY18" fmla="*/ 3349332 h 4760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30716" h="4760428">
                  <a:moveTo>
                    <a:pt x="1561211" y="3349332"/>
                  </a:moveTo>
                  <a:cubicBezTo>
                    <a:pt x="2355723" y="3091141"/>
                    <a:pt x="3161411" y="3363556"/>
                    <a:pt x="3771011" y="4096600"/>
                  </a:cubicBezTo>
                  <a:cubicBezTo>
                    <a:pt x="3818117" y="4153211"/>
                    <a:pt x="3902198" y="4160917"/>
                    <a:pt x="3958809" y="4113810"/>
                  </a:cubicBezTo>
                  <a:cubicBezTo>
                    <a:pt x="3983419" y="4093332"/>
                    <a:pt x="3999839" y="4064685"/>
                    <a:pt x="4005072" y="4033100"/>
                  </a:cubicBezTo>
                  <a:cubicBezTo>
                    <a:pt x="4006468" y="4024972"/>
                    <a:pt x="4141978" y="3212299"/>
                    <a:pt x="4641977" y="2345143"/>
                  </a:cubicBezTo>
                  <a:cubicBezTo>
                    <a:pt x="5308346" y="1189443"/>
                    <a:pt x="6269609" y="499960"/>
                    <a:pt x="7499477" y="296506"/>
                  </a:cubicBezTo>
                  <a:cubicBezTo>
                    <a:pt x="7570597" y="284695"/>
                    <a:pt x="7642606" y="274408"/>
                    <a:pt x="7713345" y="265772"/>
                  </a:cubicBezTo>
                  <a:cubicBezTo>
                    <a:pt x="7786466" y="256934"/>
                    <a:pt x="7838578" y="190493"/>
                    <a:pt x="7829740" y="117372"/>
                  </a:cubicBezTo>
                  <a:cubicBezTo>
                    <a:pt x="7820902" y="44251"/>
                    <a:pt x="7754461" y="-7861"/>
                    <a:pt x="7681340" y="977"/>
                  </a:cubicBezTo>
                  <a:cubicBezTo>
                    <a:pt x="7606792" y="9994"/>
                    <a:pt x="7530846" y="20916"/>
                    <a:pt x="7455916" y="33362"/>
                  </a:cubicBezTo>
                  <a:cubicBezTo>
                    <a:pt x="6734302" y="152869"/>
                    <a:pt x="6089268" y="436206"/>
                    <a:pt x="5538216" y="875753"/>
                  </a:cubicBezTo>
                  <a:cubicBezTo>
                    <a:pt x="5099177" y="1226400"/>
                    <a:pt x="4719828" y="1675853"/>
                    <a:pt x="4410710" y="2212047"/>
                  </a:cubicBezTo>
                  <a:cubicBezTo>
                    <a:pt x="4138198" y="2687543"/>
                    <a:pt x="3931987" y="3198071"/>
                    <a:pt x="3797807" y="3729443"/>
                  </a:cubicBezTo>
                  <a:cubicBezTo>
                    <a:pt x="3485134" y="3411943"/>
                    <a:pt x="3132328" y="3192868"/>
                    <a:pt x="2745867" y="3078441"/>
                  </a:cubicBezTo>
                  <a:cubicBezTo>
                    <a:pt x="2331342" y="2955468"/>
                    <a:pt x="1889193" y="2961669"/>
                    <a:pt x="1478280" y="3096221"/>
                  </a:cubicBezTo>
                  <a:cubicBezTo>
                    <a:pt x="1072383" y="3227835"/>
                    <a:pt x="713053" y="3473709"/>
                    <a:pt x="443357" y="3804373"/>
                  </a:cubicBezTo>
                  <a:cubicBezTo>
                    <a:pt x="216541" y="4080086"/>
                    <a:pt x="63929" y="4409179"/>
                    <a:pt x="0" y="4760429"/>
                  </a:cubicBezTo>
                  <a:lnTo>
                    <a:pt x="272415" y="4760429"/>
                  </a:lnTo>
                  <a:cubicBezTo>
                    <a:pt x="408686" y="4113872"/>
                    <a:pt x="901700" y="3563581"/>
                    <a:pt x="1561211" y="3349332"/>
                  </a:cubicBezTo>
                  <a:close/>
                </a:path>
              </a:pathLst>
            </a:custGeom>
            <a:solidFill>
              <a:srgbClr val="005C82"/>
            </a:solidFill>
            <a:ln w="12700" cap="flat">
              <a:noFill/>
              <a:prstDash val="solid"/>
              <a:miter/>
            </a:ln>
          </p:spPr>
          <p:txBody>
            <a:bodyPr rtlCol="0" anchor="ctr"/>
            <a:lstStyle/>
            <a:p>
              <a:endParaRPr lang="en-GB"/>
            </a:p>
          </p:txBody>
        </p:sp>
      </p:grpSp>
      <p:sp>
        <p:nvSpPr>
          <p:cNvPr id="13" name="Date Placeholder 1">
            <a:extLst>
              <a:ext uri="{FF2B5EF4-FFF2-40B4-BE49-F238E27FC236}">
                <a16:creationId xmlns:a16="http://schemas.microsoft.com/office/drawing/2014/main" id="{E243EEF0-314D-4259-8295-BEE2131AD8FC}"/>
              </a:ext>
            </a:extLst>
          </p:cNvPr>
          <p:cNvSpPr>
            <a:spLocks noGrp="1"/>
          </p:cNvSpPr>
          <p:nvPr>
            <p:ph type="dt" sz="half" idx="10"/>
          </p:nvPr>
        </p:nvSpPr>
        <p:spPr/>
        <p:txBody>
          <a:bodyPr/>
          <a:lstStyle/>
          <a:p>
            <a:r>
              <a:rPr lang="en-US"/>
              <a:t>dd Month 2021</a:t>
            </a:r>
            <a:endParaRPr lang="en-GB" dirty="0"/>
          </a:p>
        </p:txBody>
      </p:sp>
      <p:sp>
        <p:nvSpPr>
          <p:cNvPr id="14" name="Footer Placeholder 1">
            <a:extLst>
              <a:ext uri="{FF2B5EF4-FFF2-40B4-BE49-F238E27FC236}">
                <a16:creationId xmlns:a16="http://schemas.microsoft.com/office/drawing/2014/main" id="{9896265C-89EC-4643-89D0-8BDBAB410F2E}"/>
              </a:ext>
            </a:extLst>
          </p:cNvPr>
          <p:cNvSpPr>
            <a:spLocks noGrp="1"/>
          </p:cNvSpPr>
          <p:nvPr>
            <p:ph type="ftr" sz="quarter" idx="11"/>
          </p:nvPr>
        </p:nvSpPr>
        <p:spPr/>
        <p:txBody>
          <a:bodyPr/>
          <a:lstStyle/>
          <a:p>
            <a:r>
              <a:rPr lang="en-GB"/>
              <a:t>Update Footer to add the Document title</a:t>
            </a:r>
            <a:endParaRPr lang="en-GB" dirty="0"/>
          </a:p>
        </p:txBody>
      </p:sp>
      <p:sp>
        <p:nvSpPr>
          <p:cNvPr id="6" name="Rectangle">
            <a:extLst>
              <a:ext uri="{FF2B5EF4-FFF2-40B4-BE49-F238E27FC236}">
                <a16:creationId xmlns:a16="http://schemas.microsoft.com/office/drawing/2014/main" id="{E5FF33AD-31C0-4DA6-9424-1CBFD3123C45}"/>
              </a:ext>
            </a:extLst>
          </p:cNvPr>
          <p:cNvSpPr/>
          <p:nvPr userDrawn="1"/>
        </p:nvSpPr>
        <p:spPr>
          <a:xfrm>
            <a:off x="-374" y="1584000"/>
            <a:ext cx="9360000" cy="403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GB" sz="1400"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hasCustomPrompt="1"/>
          </p:nvPr>
        </p:nvSpPr>
        <p:spPr/>
        <p:txBody>
          <a:bodyPr/>
          <a:lstStyle>
            <a:lvl1pPr>
              <a:defRPr i="0">
                <a:solidFill>
                  <a:schemeClr val="tx2"/>
                </a:solidFill>
              </a:defRPr>
            </a:lvl1pPr>
            <a:lvl2pPr>
              <a:defRPr i="0">
                <a:solidFill>
                  <a:schemeClr val="bg1"/>
                </a:solidFill>
              </a:defRPr>
            </a:lvl2pPr>
            <a:lvl3pPr>
              <a:defRPr sz="4800" i="0">
                <a:solidFill>
                  <a:schemeClr val="tx1"/>
                </a:solidFill>
              </a:defRPr>
            </a:lvl3pPr>
            <a:lvl4pPr>
              <a:defRPr sz="4000" i="0">
                <a:solidFill>
                  <a:schemeClr val="tx2"/>
                </a:solidFill>
              </a:defRPr>
            </a:lvl4pPr>
            <a:lvl5pPr>
              <a:defRPr sz="4000" i="0">
                <a:solidFill>
                  <a:schemeClr val="bg1"/>
                </a:solidFill>
              </a:defRPr>
            </a:lvl5pPr>
            <a:lvl6pPr>
              <a:defRPr sz="4000" i="0">
                <a:solidFill>
                  <a:schemeClr val="tx1"/>
                </a:solidFill>
              </a:defRPr>
            </a:lvl6pPr>
            <a:lvl7pPr>
              <a:defRPr i="0">
                <a:solidFill>
                  <a:schemeClr val="tx2"/>
                </a:solidFill>
              </a:defRPr>
            </a:lvl7pPr>
            <a:lvl8pPr>
              <a:defRPr i="0">
                <a:solidFill>
                  <a:schemeClr val="bg1"/>
                </a:solidFill>
              </a:defRPr>
            </a:lvl8pPr>
            <a:lvl9pPr>
              <a:defRPr sz="3600" i="0">
                <a:solidFill>
                  <a:schemeClr val="tx1"/>
                </a:solidFill>
              </a:defRPr>
            </a:lvl9pPr>
          </a:lstStyle>
          <a:p>
            <a:pPr lvl="0"/>
            <a:r>
              <a:rPr lang="en-US" dirty="0"/>
              <a:t>Agenda 1</a:t>
            </a:r>
            <a:endParaRPr lang="en-GB" dirty="0"/>
          </a:p>
        </p:txBody>
      </p:sp>
      <p:graphicFrame>
        <p:nvGraphicFramePr>
          <p:cNvPr id="10" name="NewSlide_TimeTable" hidden="1">
            <a:extLst>
              <a:ext uri="{FF2B5EF4-FFF2-40B4-BE49-F238E27FC236}">
                <a16:creationId xmlns:a16="http://schemas.microsoft.com/office/drawing/2014/main" id="{949403AE-1064-4981-A893-BF19F302959C}"/>
              </a:ext>
            </a:extLst>
          </p:cNvPr>
          <p:cNvGraphicFramePr>
            <a:graphicFrameLocks noGrp="1"/>
          </p:cNvGraphicFramePr>
          <p:nvPr userDrawn="1">
            <p:extLst>
              <p:ext uri="{D42A27DB-BD31-4B8C-83A1-F6EECF244321}">
                <p14:modId xmlns:p14="http://schemas.microsoft.com/office/powerpoint/2010/main" val="2869790275"/>
              </p:ext>
            </p:extLst>
          </p:nvPr>
        </p:nvGraphicFramePr>
        <p:xfrm>
          <a:off x="209549" y="1806860"/>
          <a:ext cx="8757030" cy="2225040"/>
        </p:xfrm>
        <a:graphic>
          <a:graphicData uri="http://schemas.openxmlformats.org/drawingml/2006/table">
            <a:tbl>
              <a:tblPr>
                <a:tableStyleId>{2D5ABB26-0587-4C30-8999-92F81FD0307C}</a:tableStyleId>
              </a:tblPr>
              <a:tblGrid>
                <a:gridCol w="1414535">
                  <a:extLst>
                    <a:ext uri="{9D8B030D-6E8A-4147-A177-3AD203B41FA5}">
                      <a16:colId xmlns:a16="http://schemas.microsoft.com/office/drawing/2014/main" val="1617866694"/>
                    </a:ext>
                  </a:extLst>
                </a:gridCol>
                <a:gridCol w="5227092">
                  <a:extLst>
                    <a:ext uri="{9D8B030D-6E8A-4147-A177-3AD203B41FA5}">
                      <a16:colId xmlns:a16="http://schemas.microsoft.com/office/drawing/2014/main" val="3951319875"/>
                    </a:ext>
                  </a:extLst>
                </a:gridCol>
                <a:gridCol w="2115403">
                  <a:extLst>
                    <a:ext uri="{9D8B030D-6E8A-4147-A177-3AD203B41FA5}">
                      <a16:colId xmlns:a16="http://schemas.microsoft.com/office/drawing/2014/main" val="2268267403"/>
                    </a:ext>
                  </a:extLst>
                </a:gridCol>
              </a:tblGrid>
              <a:tr h="370840">
                <a:tc>
                  <a:txBody>
                    <a:bodyPr/>
                    <a:lstStyle/>
                    <a:p>
                      <a:r>
                        <a:rPr lang="en-GB" b="1" dirty="0"/>
                        <a:t>Time</a:t>
                      </a:r>
                    </a:p>
                  </a:txBody>
                  <a:tcPr/>
                </a:tc>
                <a:tc>
                  <a:txBody>
                    <a:bodyPr/>
                    <a:lstStyle/>
                    <a:p>
                      <a:r>
                        <a:rPr lang="en-GB" b="1" dirty="0"/>
                        <a:t>Session</a:t>
                      </a:r>
                    </a:p>
                  </a:txBody>
                  <a:tcPr/>
                </a:tc>
                <a:tc>
                  <a:txBody>
                    <a:bodyPr/>
                    <a:lstStyle/>
                    <a:p>
                      <a:r>
                        <a:rPr lang="en-GB" b="1" dirty="0"/>
                        <a:t>Speaker</a:t>
                      </a:r>
                    </a:p>
                  </a:txBody>
                  <a:tcPr/>
                </a:tc>
                <a:extLst>
                  <a:ext uri="{0D108BD9-81ED-4DB2-BD59-A6C34878D82A}">
                    <a16:rowId xmlns:a16="http://schemas.microsoft.com/office/drawing/2014/main" val="4117633094"/>
                  </a:ext>
                </a:extLst>
              </a:tr>
              <a:tr h="370840">
                <a:tc>
                  <a:txBody>
                    <a:bodyPr/>
                    <a:lstStyle/>
                    <a:p>
                      <a:r>
                        <a:rPr lang="en-GB" dirty="0"/>
                        <a:t>12.00-12.30</a:t>
                      </a:r>
                    </a:p>
                  </a:txBody>
                  <a:tcPr/>
                </a:tc>
                <a:tc>
                  <a:txBody>
                    <a:bodyPr/>
                    <a:lstStyle/>
                    <a:p>
                      <a:r>
                        <a:rPr lang="en-GB" dirty="0"/>
                        <a:t>[Session Description]</a:t>
                      </a:r>
                    </a:p>
                  </a:txBody>
                  <a:tcPr/>
                </a:tc>
                <a:tc>
                  <a:txBody>
                    <a:bodyPr/>
                    <a:lstStyle/>
                    <a:p>
                      <a:r>
                        <a:rPr lang="en-GB" dirty="0"/>
                        <a:t>[Name 1]</a:t>
                      </a:r>
                    </a:p>
                  </a:txBody>
                  <a:tcPr/>
                </a:tc>
                <a:extLst>
                  <a:ext uri="{0D108BD9-81ED-4DB2-BD59-A6C34878D82A}">
                    <a16:rowId xmlns:a16="http://schemas.microsoft.com/office/drawing/2014/main" val="3822474379"/>
                  </a:ext>
                </a:extLst>
              </a:tr>
              <a:tr h="370840">
                <a:tc>
                  <a:txBody>
                    <a:bodyPr/>
                    <a:lstStyle/>
                    <a:p>
                      <a:r>
                        <a:rPr lang="en-GB" dirty="0"/>
                        <a:t>[Time]</a:t>
                      </a:r>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r>
                        <a:rPr lang="en-GB" dirty="0"/>
                        <a:t>[Session Description]</a:t>
                      </a:r>
                    </a:p>
                  </a:txBody>
                  <a:tcPr/>
                </a:tc>
                <a:tc>
                  <a:txBody>
                    <a:bodyPr/>
                    <a:lstStyle/>
                    <a:p>
                      <a:r>
                        <a:rPr lang="en-GB" dirty="0"/>
                        <a:t>[Name 1]</a:t>
                      </a:r>
                    </a:p>
                  </a:txBody>
                  <a:tcPr/>
                </a:tc>
                <a:extLst>
                  <a:ext uri="{0D108BD9-81ED-4DB2-BD59-A6C34878D82A}">
                    <a16:rowId xmlns:a16="http://schemas.microsoft.com/office/drawing/2014/main" val="616345027"/>
                  </a:ext>
                </a:extLst>
              </a:tr>
              <a:tr h="370840">
                <a:tc>
                  <a:txBody>
                    <a:bodyPr/>
                    <a:lstStyle/>
                    <a:p>
                      <a:endParaRPr lang="en-GB" dirty="0"/>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endParaRPr lang="en-GB" dirty="0"/>
                    </a:p>
                  </a:txBody>
                  <a:tcPr/>
                </a:tc>
                <a:tc>
                  <a:txBody>
                    <a:bodyPr/>
                    <a:lstStyle/>
                    <a:p>
                      <a:endParaRPr lang="en-GB" dirty="0"/>
                    </a:p>
                  </a:txBody>
                  <a:tcPr/>
                </a:tc>
                <a:extLst>
                  <a:ext uri="{0D108BD9-81ED-4DB2-BD59-A6C34878D82A}">
                    <a16:rowId xmlns:a16="http://schemas.microsoft.com/office/drawing/2014/main" val="3545059334"/>
                  </a:ext>
                </a:extLst>
              </a:tr>
              <a:tr h="370840">
                <a:tc>
                  <a:txBody>
                    <a:bodyPr/>
                    <a:lstStyle/>
                    <a:p>
                      <a:endParaRPr lang="en-GB" dirty="0"/>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endParaRPr lang="en-GB" dirty="0"/>
                    </a:p>
                  </a:txBody>
                  <a:tcPr/>
                </a:tc>
                <a:tc>
                  <a:txBody>
                    <a:bodyPr/>
                    <a:lstStyle/>
                    <a:p>
                      <a:endParaRPr lang="en-GB" dirty="0"/>
                    </a:p>
                  </a:txBody>
                  <a:tcPr/>
                </a:tc>
                <a:extLst>
                  <a:ext uri="{0D108BD9-81ED-4DB2-BD59-A6C34878D82A}">
                    <a16:rowId xmlns:a16="http://schemas.microsoft.com/office/drawing/2014/main" val="2834895056"/>
                  </a:ext>
                </a:extLst>
              </a:tr>
              <a:tr h="370840">
                <a:tc>
                  <a:txBody>
                    <a:bodyPr/>
                    <a:lstStyle/>
                    <a:p>
                      <a:endParaRPr lang="en-GB" dirty="0"/>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endParaRPr lang="en-GB" dirty="0"/>
                    </a:p>
                  </a:txBody>
                  <a:tcPr/>
                </a:tc>
                <a:tc>
                  <a:txBody>
                    <a:bodyPr/>
                    <a:lstStyle/>
                    <a:p>
                      <a:endParaRPr lang="en-GB" dirty="0"/>
                    </a:p>
                  </a:txBody>
                  <a:tcPr/>
                </a:tc>
                <a:extLst>
                  <a:ext uri="{0D108BD9-81ED-4DB2-BD59-A6C34878D82A}">
                    <a16:rowId xmlns:a16="http://schemas.microsoft.com/office/drawing/2014/main" val="1831207383"/>
                  </a:ext>
                </a:extLst>
              </a:tr>
            </a:tbl>
          </a:graphicData>
        </a:graphic>
      </p:graphicFrame>
    </p:spTree>
    <p:extLst>
      <p:ext uri="{BB962C8B-B14F-4D97-AF65-F5344CB8AC3E}">
        <p14:creationId xmlns:p14="http://schemas.microsoft.com/office/powerpoint/2010/main" val="1974313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2">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a:xfrm>
            <a:off x="719137" y="666745"/>
            <a:ext cx="9840913" cy="720000"/>
          </a:xfrm>
        </p:spPr>
        <p:txBody>
          <a:bodyPr/>
          <a:lstStyle/>
          <a:p>
            <a:r>
              <a:rPr lang="en-US"/>
              <a:t>Click to edit Master title style</a:t>
            </a:r>
            <a:endParaRPr lang="en-GB" dirty="0"/>
          </a:p>
        </p:txBody>
      </p:sp>
      <p:sp>
        <p:nvSpPr>
          <p:cNvPr id="8" name="Freeform: Shape 7">
            <a:extLst>
              <a:ext uri="{FF2B5EF4-FFF2-40B4-BE49-F238E27FC236}">
                <a16:creationId xmlns:a16="http://schemas.microsoft.com/office/drawing/2014/main" id="{CC53A116-AE64-4BD1-9FAE-4644DD0BE318}"/>
              </a:ext>
            </a:extLst>
          </p:cNvPr>
          <p:cNvSpPr/>
          <p:nvPr userDrawn="1"/>
        </p:nvSpPr>
        <p:spPr>
          <a:xfrm>
            <a:off x="10015704" y="0"/>
            <a:ext cx="2176296" cy="4175528"/>
          </a:xfrm>
          <a:custGeom>
            <a:avLst/>
            <a:gdLst>
              <a:gd name="connsiteX0" fmla="*/ 103142 w 2176296"/>
              <a:gd name="connsiteY0" fmla="*/ 0 h 4175528"/>
              <a:gd name="connsiteX1" fmla="*/ 489726 w 2176296"/>
              <a:gd name="connsiteY1" fmla="*/ 0 h 4175528"/>
              <a:gd name="connsiteX2" fmla="*/ 520852 w 2176296"/>
              <a:gd name="connsiteY2" fmla="*/ 32449 h 4175528"/>
              <a:gd name="connsiteX3" fmla="*/ 960887 w 2176296"/>
              <a:gd name="connsiteY3" fmla="*/ 751382 h 4175528"/>
              <a:gd name="connsiteX4" fmla="*/ 1054090 w 2176296"/>
              <a:gd name="connsiteY4" fmla="*/ 2095042 h 4175528"/>
              <a:gd name="connsiteX5" fmla="*/ 412790 w 2176296"/>
              <a:gd name="connsiteY5" fmla="*/ 3261754 h 4175528"/>
              <a:gd name="connsiteX6" fmla="*/ 1440484 w 2176296"/>
              <a:gd name="connsiteY6" fmla="*/ 3546067 h 4175528"/>
              <a:gd name="connsiteX7" fmla="*/ 1983366 w 2176296"/>
              <a:gd name="connsiteY7" fmla="*/ 3774735 h 4175528"/>
              <a:gd name="connsiteX8" fmla="*/ 2176296 w 2176296"/>
              <a:gd name="connsiteY8" fmla="*/ 3873834 h 4175528"/>
              <a:gd name="connsiteX9" fmla="*/ 2176296 w 2176296"/>
              <a:gd name="connsiteY9" fmla="*/ 4175528 h 4175528"/>
              <a:gd name="connsiteX10" fmla="*/ 2150160 w 2176296"/>
              <a:gd name="connsiteY10" fmla="*/ 4160076 h 4175528"/>
              <a:gd name="connsiteX11" fmla="*/ 1355901 w 2176296"/>
              <a:gd name="connsiteY11" fmla="*/ 3799122 h 4175528"/>
              <a:gd name="connsiteX12" fmla="*/ 119536 w 2176296"/>
              <a:gd name="connsiteY12" fmla="*/ 3486036 h 4175528"/>
              <a:gd name="connsiteX13" fmla="*/ 732 w 2176296"/>
              <a:gd name="connsiteY13" fmla="*/ 3339530 h 4175528"/>
              <a:gd name="connsiteX14" fmla="*/ 42542 w 2176296"/>
              <a:gd name="connsiteY14" fmla="*/ 3255726 h 4175528"/>
              <a:gd name="connsiteX15" fmla="*/ 712245 w 2176296"/>
              <a:gd name="connsiteY15" fmla="*/ 847841 h 4175528"/>
              <a:gd name="connsiteX16" fmla="*/ 204588 w 2176296"/>
              <a:gd name="connsiteY16" fmla="*/ 89932 h 4175528"/>
              <a:gd name="connsiteX17" fmla="*/ 103142 w 2176296"/>
              <a:gd name="connsiteY17" fmla="*/ 0 h 41755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76296" h="4175528">
                <a:moveTo>
                  <a:pt x="103142" y="0"/>
                </a:moveTo>
                <a:lnTo>
                  <a:pt x="489726" y="0"/>
                </a:lnTo>
                <a:lnTo>
                  <a:pt x="520852" y="32449"/>
                </a:lnTo>
                <a:cubicBezTo>
                  <a:pt x="708567" y="242737"/>
                  <a:pt x="858030" y="485991"/>
                  <a:pt x="960887" y="751382"/>
                </a:cubicBezTo>
                <a:cubicBezTo>
                  <a:pt x="1128005" y="1179340"/>
                  <a:pt x="1160521" y="1648110"/>
                  <a:pt x="1054090" y="2095042"/>
                </a:cubicBezTo>
                <a:cubicBezTo>
                  <a:pt x="953966" y="2516331"/>
                  <a:pt x="738621" y="2907804"/>
                  <a:pt x="412790" y="3261754"/>
                </a:cubicBezTo>
                <a:cubicBezTo>
                  <a:pt x="762602" y="3328051"/>
                  <a:pt x="1106337" y="3423146"/>
                  <a:pt x="1440484" y="3546067"/>
                </a:cubicBezTo>
                <a:cubicBezTo>
                  <a:pt x="1607006" y="3607097"/>
                  <a:pt x="1790664" y="3682454"/>
                  <a:pt x="1983366" y="3774735"/>
                </a:cubicBezTo>
                <a:lnTo>
                  <a:pt x="2176296" y="3873834"/>
                </a:lnTo>
                <a:lnTo>
                  <a:pt x="2176296" y="4175528"/>
                </a:lnTo>
                <a:lnTo>
                  <a:pt x="2150160" y="4160076"/>
                </a:lnTo>
                <a:cubicBezTo>
                  <a:pt x="1866326" y="4003932"/>
                  <a:pt x="1592891" y="3886307"/>
                  <a:pt x="1355901" y="3799122"/>
                </a:cubicBezTo>
                <a:cubicBezTo>
                  <a:pt x="665797" y="3545249"/>
                  <a:pt x="124919" y="3486595"/>
                  <a:pt x="119536" y="3486036"/>
                </a:cubicBezTo>
                <a:cubicBezTo>
                  <a:pt x="46272" y="3478386"/>
                  <a:pt x="-6918" y="3412793"/>
                  <a:pt x="732" y="3339530"/>
                </a:cubicBezTo>
                <a:cubicBezTo>
                  <a:pt x="4080" y="3307460"/>
                  <a:pt x="18934" y="3277688"/>
                  <a:pt x="42542" y="3255726"/>
                </a:cubicBezTo>
                <a:cubicBezTo>
                  <a:pt x="791657" y="2559451"/>
                  <a:pt x="1035759" y="1681815"/>
                  <a:pt x="712245" y="847841"/>
                </a:cubicBezTo>
                <a:cubicBezTo>
                  <a:pt x="598736" y="555233"/>
                  <a:pt x="422828" y="297865"/>
                  <a:pt x="204588" y="89932"/>
                </a:cubicBezTo>
                <a:lnTo>
                  <a:pt x="103142" y="0"/>
                </a:lnTo>
                <a:close/>
              </a:path>
            </a:pathLst>
          </a:custGeom>
          <a:solidFill>
            <a:schemeClr val="accent2"/>
          </a:solidFill>
          <a:ln w="12690" cap="flat">
            <a:noFill/>
            <a:prstDash val="solid"/>
            <a:miter/>
          </a:ln>
        </p:spPr>
        <p:txBody>
          <a:bodyPr rtlCol="0" anchor="ctr"/>
          <a:lstStyle/>
          <a:p>
            <a:endParaRPr lang="en-GB"/>
          </a:p>
        </p:txBody>
      </p:sp>
    </p:spTree>
    <p:extLst>
      <p:ext uri="{BB962C8B-B14F-4D97-AF65-F5344CB8AC3E}">
        <p14:creationId xmlns:p14="http://schemas.microsoft.com/office/powerpoint/2010/main" val="295871591"/>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Agenda 2">
    <p:bg>
      <p:bgPr>
        <a:solidFill>
          <a:schemeClr val="accent1"/>
        </a:solidFill>
        <a:effectLst/>
      </p:bgPr>
    </p:bg>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6E084A6F-7A75-4748-B44C-74FFAF511EDA}"/>
              </a:ext>
            </a:extLst>
          </p:cNvPr>
          <p:cNvGrpSpPr/>
          <p:nvPr userDrawn="1"/>
        </p:nvGrpSpPr>
        <p:grpSpPr>
          <a:xfrm>
            <a:off x="0" y="844422"/>
            <a:ext cx="12193016" cy="5257927"/>
            <a:chOff x="0" y="844422"/>
            <a:chExt cx="12193016" cy="5257927"/>
          </a:xfrm>
        </p:grpSpPr>
        <p:sp>
          <p:nvSpPr>
            <p:cNvPr id="11" name="Freeform: Shape 10">
              <a:extLst>
                <a:ext uri="{FF2B5EF4-FFF2-40B4-BE49-F238E27FC236}">
                  <a16:creationId xmlns:a16="http://schemas.microsoft.com/office/drawing/2014/main" id="{A95B30E7-1427-4658-BA4F-8B7A9A18D4A7}"/>
                </a:ext>
              </a:extLst>
            </p:cNvPr>
            <p:cNvSpPr/>
            <p:nvPr/>
          </p:nvSpPr>
          <p:spPr>
            <a:xfrm>
              <a:off x="8381116" y="844422"/>
              <a:ext cx="3811900" cy="962438"/>
            </a:xfrm>
            <a:custGeom>
              <a:avLst/>
              <a:gdLst>
                <a:gd name="connsiteX0" fmla="*/ 7742 w 3811900"/>
                <a:gd name="connsiteY0" fmla="*/ 873887 h 962438"/>
                <a:gd name="connsiteX1" fmla="*/ 178596 w 3811900"/>
                <a:gd name="connsiteY1" fmla="*/ 954563 h 962438"/>
                <a:gd name="connsiteX2" fmla="*/ 178683 w 3811900"/>
                <a:gd name="connsiteY2" fmla="*/ 954532 h 962438"/>
                <a:gd name="connsiteX3" fmla="*/ 3811900 w 3811900"/>
                <a:gd name="connsiteY3" fmla="*/ 266700 h 962438"/>
                <a:gd name="connsiteX4" fmla="*/ 3811900 w 3811900"/>
                <a:gd name="connsiteY4" fmla="*/ 0 h 962438"/>
                <a:gd name="connsiteX5" fmla="*/ 88641 w 3811900"/>
                <a:gd name="connsiteY5" fmla="*/ 703707 h 962438"/>
                <a:gd name="connsiteX6" fmla="*/ 7730 w 3811900"/>
                <a:gd name="connsiteY6" fmla="*/ 873855 h 962438"/>
                <a:gd name="connsiteX7" fmla="*/ 7742 w 3811900"/>
                <a:gd name="connsiteY7" fmla="*/ 873887 h 962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1900" h="962438">
                  <a:moveTo>
                    <a:pt x="7742" y="873887"/>
                  </a:moveTo>
                  <a:cubicBezTo>
                    <a:pt x="32644" y="943345"/>
                    <a:pt x="109138" y="979466"/>
                    <a:pt x="178596" y="954563"/>
                  </a:cubicBezTo>
                  <a:cubicBezTo>
                    <a:pt x="178625" y="954553"/>
                    <a:pt x="178655" y="954543"/>
                    <a:pt x="178683" y="954532"/>
                  </a:cubicBezTo>
                  <a:cubicBezTo>
                    <a:pt x="1219449" y="581406"/>
                    <a:pt x="2435728" y="351536"/>
                    <a:pt x="3811900" y="266700"/>
                  </a:cubicBezTo>
                  <a:lnTo>
                    <a:pt x="3811900" y="0"/>
                  </a:lnTo>
                  <a:cubicBezTo>
                    <a:pt x="2403597" y="85598"/>
                    <a:pt x="1157600" y="320802"/>
                    <a:pt x="88641" y="703707"/>
                  </a:cubicBezTo>
                  <a:cubicBezTo>
                    <a:pt x="19313" y="728349"/>
                    <a:pt x="-16912" y="804527"/>
                    <a:pt x="7730" y="873855"/>
                  </a:cubicBezTo>
                  <a:cubicBezTo>
                    <a:pt x="7734" y="873866"/>
                    <a:pt x="7738" y="873876"/>
                    <a:pt x="7742" y="873887"/>
                  </a:cubicBezTo>
                  <a:close/>
                </a:path>
              </a:pathLst>
            </a:custGeom>
            <a:solidFill>
              <a:srgbClr val="FFFFFF"/>
            </a:solidFill>
            <a:ln w="12700" cap="flat">
              <a:noFill/>
              <a:prstDash val="solid"/>
              <a:miter/>
            </a:ln>
          </p:spPr>
          <p:txBody>
            <a:bodyPr rtlCol="0" anchor="ctr"/>
            <a:lstStyle/>
            <a:p>
              <a:endParaRPr lang="en-GB"/>
            </a:p>
          </p:txBody>
        </p:sp>
        <p:sp>
          <p:nvSpPr>
            <p:cNvPr id="5" name="Freeform: Shape 4">
              <a:extLst>
                <a:ext uri="{FF2B5EF4-FFF2-40B4-BE49-F238E27FC236}">
                  <a16:creationId xmlns:a16="http://schemas.microsoft.com/office/drawing/2014/main" id="{C1265EEA-DFE0-4DC3-AE64-4FEBF9E0EC70}"/>
                </a:ext>
              </a:extLst>
            </p:cNvPr>
            <p:cNvSpPr/>
            <p:nvPr/>
          </p:nvSpPr>
          <p:spPr>
            <a:xfrm>
              <a:off x="6143713" y="1545414"/>
              <a:ext cx="2505521" cy="1500553"/>
            </a:xfrm>
            <a:custGeom>
              <a:avLst/>
              <a:gdLst>
                <a:gd name="connsiteX0" fmla="*/ 133261 w 2505521"/>
                <a:gd name="connsiteY0" fmla="*/ 1500554 h 1500553"/>
                <a:gd name="connsiteX1" fmla="*/ 0 w 2505521"/>
                <a:gd name="connsiteY1" fmla="*/ 1367115 h 1500553"/>
                <a:gd name="connsiteX2" fmla="*/ 48806 w 2505521"/>
                <a:gd name="connsiteY2" fmla="*/ 1264080 h 1500553"/>
                <a:gd name="connsiteX3" fmla="*/ 2323249 w 2505521"/>
                <a:gd name="connsiteY3" fmla="*/ 9320 h 1500553"/>
                <a:gd name="connsiteX4" fmla="*/ 2496202 w 2505521"/>
                <a:gd name="connsiteY4" fmla="*/ 84500 h 1500553"/>
                <a:gd name="connsiteX5" fmla="*/ 2421022 w 2505521"/>
                <a:gd name="connsiteY5" fmla="*/ 257452 h 1500553"/>
                <a:gd name="connsiteX6" fmla="*/ 2413928 w 2505521"/>
                <a:gd name="connsiteY6" fmla="*/ 260017 h 1500553"/>
                <a:gd name="connsiteX7" fmla="*/ 217716 w 2505521"/>
                <a:gd name="connsiteY7" fmla="*/ 1470455 h 1500553"/>
                <a:gd name="connsiteX8" fmla="*/ 133261 w 2505521"/>
                <a:gd name="connsiteY8" fmla="*/ 1500554 h 15005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05521" h="1500553">
                  <a:moveTo>
                    <a:pt x="133261" y="1500554"/>
                  </a:moveTo>
                  <a:cubicBezTo>
                    <a:pt x="59614" y="1500505"/>
                    <a:pt x="-49" y="1440762"/>
                    <a:pt x="0" y="1367115"/>
                  </a:cubicBezTo>
                  <a:cubicBezTo>
                    <a:pt x="27" y="1327196"/>
                    <a:pt x="17935" y="1289388"/>
                    <a:pt x="48806" y="1264080"/>
                  </a:cubicBezTo>
                  <a:cubicBezTo>
                    <a:pt x="677964" y="749730"/>
                    <a:pt x="1443140" y="327582"/>
                    <a:pt x="2323249" y="9320"/>
                  </a:cubicBezTo>
                  <a:cubicBezTo>
                    <a:pt x="2391769" y="-17679"/>
                    <a:pt x="2469203" y="15980"/>
                    <a:pt x="2496202" y="84500"/>
                  </a:cubicBezTo>
                  <a:cubicBezTo>
                    <a:pt x="2523201" y="153020"/>
                    <a:pt x="2489541" y="230453"/>
                    <a:pt x="2421022" y="257452"/>
                  </a:cubicBezTo>
                  <a:cubicBezTo>
                    <a:pt x="2418682" y="258374"/>
                    <a:pt x="2416317" y="259229"/>
                    <a:pt x="2413928" y="260017"/>
                  </a:cubicBezTo>
                  <a:cubicBezTo>
                    <a:pt x="1562266" y="568120"/>
                    <a:pt x="823253" y="975282"/>
                    <a:pt x="217716" y="1470455"/>
                  </a:cubicBezTo>
                  <a:cubicBezTo>
                    <a:pt x="193898" y="1489962"/>
                    <a:pt x="164049" y="1500601"/>
                    <a:pt x="133261" y="1500554"/>
                  </a:cubicBezTo>
                  <a:close/>
                </a:path>
              </a:pathLst>
            </a:custGeom>
            <a:solidFill>
              <a:srgbClr val="9EDED4"/>
            </a:solidFill>
            <a:ln w="12700" cap="flat">
              <a:noFill/>
              <a:prstDash val="solid"/>
              <a:miter/>
            </a:ln>
          </p:spPr>
          <p:txBody>
            <a:bodyPr rtlCol="0" anchor="ctr"/>
            <a:lstStyle/>
            <a:p>
              <a:endParaRPr lang="en-GB"/>
            </a:p>
          </p:txBody>
        </p:sp>
        <p:sp>
          <p:nvSpPr>
            <p:cNvPr id="10" name="Freeform: Shape 9">
              <a:extLst>
                <a:ext uri="{FF2B5EF4-FFF2-40B4-BE49-F238E27FC236}">
                  <a16:creationId xmlns:a16="http://schemas.microsoft.com/office/drawing/2014/main" id="{A2B590BA-1EDF-4937-BB2F-0CB0F6F6A74C}"/>
                </a:ext>
              </a:extLst>
            </p:cNvPr>
            <p:cNvSpPr/>
            <p:nvPr/>
          </p:nvSpPr>
          <p:spPr>
            <a:xfrm>
              <a:off x="0" y="2778450"/>
              <a:ext cx="6411400" cy="3323899"/>
            </a:xfrm>
            <a:custGeom>
              <a:avLst/>
              <a:gdLst>
                <a:gd name="connsiteX0" fmla="*/ 4562475 w 6411400"/>
                <a:gd name="connsiteY0" fmla="*/ 3200329 h 3323899"/>
                <a:gd name="connsiteX1" fmla="*/ 4834890 w 6411400"/>
                <a:gd name="connsiteY1" fmla="*/ 2230557 h 3323899"/>
                <a:gd name="connsiteX2" fmla="*/ 6361430 w 6411400"/>
                <a:gd name="connsiteY2" fmla="*/ 237419 h 3323899"/>
                <a:gd name="connsiteX3" fmla="*/ 6382110 w 6411400"/>
                <a:gd name="connsiteY3" fmla="*/ 49971 h 3323899"/>
                <a:gd name="connsiteX4" fmla="*/ 6194662 w 6411400"/>
                <a:gd name="connsiteY4" fmla="*/ 29291 h 3323899"/>
                <a:gd name="connsiteX5" fmla="*/ 6192520 w 6411400"/>
                <a:gd name="connsiteY5" fmla="*/ 31044 h 3323899"/>
                <a:gd name="connsiteX6" fmla="*/ 4584192 w 6411400"/>
                <a:gd name="connsiteY6" fmla="*/ 2139244 h 3323899"/>
                <a:gd name="connsiteX7" fmla="*/ 4312285 w 6411400"/>
                <a:gd name="connsiteY7" fmla="*/ 3057200 h 3323899"/>
                <a:gd name="connsiteX8" fmla="*/ 0 w 6411400"/>
                <a:gd name="connsiteY8" fmla="*/ 3057200 h 3323899"/>
                <a:gd name="connsiteX9" fmla="*/ 0 w 6411400"/>
                <a:gd name="connsiteY9" fmla="*/ 3323900 h 3323899"/>
                <a:gd name="connsiteX10" fmla="*/ 4429506 w 6411400"/>
                <a:gd name="connsiteY10" fmla="*/ 3323900 h 3323899"/>
                <a:gd name="connsiteX11" fmla="*/ 4562475 w 6411400"/>
                <a:gd name="connsiteY11" fmla="*/ 3200329 h 33238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11400" h="3323899">
                  <a:moveTo>
                    <a:pt x="4562475" y="3200329"/>
                  </a:moveTo>
                  <a:cubicBezTo>
                    <a:pt x="4562475" y="3196265"/>
                    <a:pt x="4596765" y="2793929"/>
                    <a:pt x="4834890" y="2230557"/>
                  </a:cubicBezTo>
                  <a:cubicBezTo>
                    <a:pt x="5054346" y="1711254"/>
                    <a:pt x="5497322" y="944047"/>
                    <a:pt x="6361430" y="237419"/>
                  </a:cubicBezTo>
                  <a:cubicBezTo>
                    <a:pt x="6418903" y="191367"/>
                    <a:pt x="6428162" y="107444"/>
                    <a:pt x="6382110" y="49971"/>
                  </a:cubicBezTo>
                  <a:cubicBezTo>
                    <a:pt x="6336058" y="-7502"/>
                    <a:pt x="6252135" y="-16761"/>
                    <a:pt x="6194662" y="29291"/>
                  </a:cubicBezTo>
                  <a:cubicBezTo>
                    <a:pt x="6193942" y="29868"/>
                    <a:pt x="6193228" y="30452"/>
                    <a:pt x="6192520" y="31044"/>
                  </a:cubicBezTo>
                  <a:cubicBezTo>
                    <a:pt x="5281295" y="776026"/>
                    <a:pt x="4814951" y="1588445"/>
                    <a:pt x="4584192" y="2139244"/>
                  </a:cubicBezTo>
                  <a:cubicBezTo>
                    <a:pt x="4409186" y="2556439"/>
                    <a:pt x="4339209" y="2887655"/>
                    <a:pt x="4312285" y="3057200"/>
                  </a:cubicBezTo>
                  <a:lnTo>
                    <a:pt x="0" y="3057200"/>
                  </a:lnTo>
                  <a:lnTo>
                    <a:pt x="0" y="3323900"/>
                  </a:lnTo>
                  <a:lnTo>
                    <a:pt x="4429506" y="3323900"/>
                  </a:lnTo>
                  <a:cubicBezTo>
                    <a:pt x="4499302" y="3323766"/>
                    <a:pt x="4557234" y="3269928"/>
                    <a:pt x="4562475" y="3200329"/>
                  </a:cubicBezTo>
                  <a:close/>
                </a:path>
              </a:pathLst>
            </a:custGeom>
            <a:solidFill>
              <a:srgbClr val="005C82"/>
            </a:solidFill>
            <a:ln w="12700" cap="flat">
              <a:noFill/>
              <a:prstDash val="solid"/>
              <a:miter/>
            </a:ln>
          </p:spPr>
          <p:txBody>
            <a:bodyPr rtlCol="0" anchor="ctr"/>
            <a:lstStyle/>
            <a:p>
              <a:endParaRPr lang="en-GB"/>
            </a:p>
          </p:txBody>
        </p:sp>
      </p:grpSp>
      <p:sp>
        <p:nvSpPr>
          <p:cNvPr id="13" name="Date Placeholder 1">
            <a:extLst>
              <a:ext uri="{FF2B5EF4-FFF2-40B4-BE49-F238E27FC236}">
                <a16:creationId xmlns:a16="http://schemas.microsoft.com/office/drawing/2014/main" id="{E243EEF0-314D-4259-8295-BEE2131AD8FC}"/>
              </a:ext>
            </a:extLst>
          </p:cNvPr>
          <p:cNvSpPr>
            <a:spLocks noGrp="1"/>
          </p:cNvSpPr>
          <p:nvPr>
            <p:ph type="dt" sz="half" idx="10"/>
          </p:nvPr>
        </p:nvSpPr>
        <p:spPr/>
        <p:txBody>
          <a:bodyPr/>
          <a:lstStyle/>
          <a:p>
            <a:r>
              <a:rPr lang="en-US"/>
              <a:t>dd Month 2021</a:t>
            </a:r>
            <a:endParaRPr lang="en-GB" dirty="0"/>
          </a:p>
        </p:txBody>
      </p:sp>
      <p:sp>
        <p:nvSpPr>
          <p:cNvPr id="14" name="Footer Placeholder 1">
            <a:extLst>
              <a:ext uri="{FF2B5EF4-FFF2-40B4-BE49-F238E27FC236}">
                <a16:creationId xmlns:a16="http://schemas.microsoft.com/office/drawing/2014/main" id="{9896265C-89EC-4643-89D0-8BDBAB410F2E}"/>
              </a:ext>
            </a:extLst>
          </p:cNvPr>
          <p:cNvSpPr>
            <a:spLocks noGrp="1"/>
          </p:cNvSpPr>
          <p:nvPr>
            <p:ph type="ftr" sz="quarter" idx="11"/>
          </p:nvPr>
        </p:nvSpPr>
        <p:spPr/>
        <p:txBody>
          <a:bodyPr/>
          <a:lstStyle/>
          <a:p>
            <a:r>
              <a:rPr lang="en-GB"/>
              <a:t>Update Footer to add the Document title</a:t>
            </a:r>
            <a:endParaRPr lang="en-GB" dirty="0"/>
          </a:p>
        </p:txBody>
      </p:sp>
      <p:sp>
        <p:nvSpPr>
          <p:cNvPr id="20" name="Rectangle">
            <a:extLst>
              <a:ext uri="{FF2B5EF4-FFF2-40B4-BE49-F238E27FC236}">
                <a16:creationId xmlns:a16="http://schemas.microsoft.com/office/drawing/2014/main" id="{EBB36A23-9562-4079-AE73-EDA22851B3F8}"/>
              </a:ext>
            </a:extLst>
          </p:cNvPr>
          <p:cNvSpPr/>
          <p:nvPr userDrawn="1"/>
        </p:nvSpPr>
        <p:spPr>
          <a:xfrm>
            <a:off x="-376" y="1584000"/>
            <a:ext cx="9360000" cy="403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GB" sz="1400" dirty="0"/>
          </a:p>
        </p:txBody>
      </p:sp>
      <p:sp>
        <p:nvSpPr>
          <p:cNvPr id="7" name="Title 1">
            <a:extLst>
              <a:ext uri="{FF2B5EF4-FFF2-40B4-BE49-F238E27FC236}">
                <a16:creationId xmlns:a16="http://schemas.microsoft.com/office/drawing/2014/main" id="{CF2D9D3F-B277-4397-BF53-26C17F950E60}"/>
              </a:ext>
            </a:extLst>
          </p:cNvPr>
          <p:cNvSpPr>
            <a:spLocks noGrp="1"/>
          </p:cNvSpPr>
          <p:nvPr>
            <p:ph type="title" hasCustomPrompt="1"/>
          </p:nvPr>
        </p:nvSpPr>
        <p:spPr>
          <a:xfrm>
            <a:off x="719137" y="666745"/>
            <a:ext cx="7108826" cy="720000"/>
          </a:xfrm>
        </p:spPr>
        <p:txBody>
          <a:bodyPr/>
          <a:lstStyle>
            <a:lvl1pPr>
              <a:defRPr i="0">
                <a:solidFill>
                  <a:schemeClr val="tx2"/>
                </a:solidFill>
              </a:defRPr>
            </a:lvl1pPr>
            <a:lvl2pPr>
              <a:defRPr i="0">
                <a:solidFill>
                  <a:schemeClr val="bg1"/>
                </a:solidFill>
              </a:defRPr>
            </a:lvl2pPr>
            <a:lvl3pPr>
              <a:defRPr sz="4800" i="0">
                <a:solidFill>
                  <a:schemeClr val="tx1"/>
                </a:solidFill>
              </a:defRPr>
            </a:lvl3pPr>
            <a:lvl4pPr>
              <a:defRPr sz="4000" i="0">
                <a:solidFill>
                  <a:schemeClr val="tx2"/>
                </a:solidFill>
              </a:defRPr>
            </a:lvl4pPr>
            <a:lvl5pPr>
              <a:defRPr i="0">
                <a:solidFill>
                  <a:schemeClr val="bg1"/>
                </a:solidFill>
              </a:defRPr>
            </a:lvl5pPr>
            <a:lvl6pPr>
              <a:defRPr i="0">
                <a:solidFill>
                  <a:schemeClr val="tx1"/>
                </a:solidFill>
              </a:defRPr>
            </a:lvl6pPr>
            <a:lvl7pPr>
              <a:defRPr i="0">
                <a:solidFill>
                  <a:schemeClr val="tx2"/>
                </a:solidFill>
              </a:defRPr>
            </a:lvl7pPr>
            <a:lvl8pPr>
              <a:defRPr i="0">
                <a:solidFill>
                  <a:schemeClr val="bg1"/>
                </a:solidFill>
              </a:defRPr>
            </a:lvl8pPr>
            <a:lvl9pPr>
              <a:defRPr sz="3600" i="0">
                <a:solidFill>
                  <a:schemeClr val="tx1"/>
                </a:solidFill>
              </a:defRPr>
            </a:lvl9pPr>
          </a:lstStyle>
          <a:p>
            <a:pPr lvl="0"/>
            <a:r>
              <a:rPr lang="en-US" dirty="0"/>
              <a:t>Agenda 2</a:t>
            </a:r>
            <a:endParaRPr lang="en-GB" dirty="0"/>
          </a:p>
        </p:txBody>
      </p:sp>
      <p:graphicFrame>
        <p:nvGraphicFramePr>
          <p:cNvPr id="2" name="NewSlide_TimeTable" hidden="1">
            <a:extLst>
              <a:ext uri="{FF2B5EF4-FFF2-40B4-BE49-F238E27FC236}">
                <a16:creationId xmlns:a16="http://schemas.microsoft.com/office/drawing/2014/main" id="{381B1669-406C-4682-BB7D-2A73E646FD83}"/>
              </a:ext>
            </a:extLst>
          </p:cNvPr>
          <p:cNvGraphicFramePr>
            <a:graphicFrameLocks noGrp="1"/>
          </p:cNvGraphicFramePr>
          <p:nvPr userDrawn="1">
            <p:extLst>
              <p:ext uri="{D42A27DB-BD31-4B8C-83A1-F6EECF244321}">
                <p14:modId xmlns:p14="http://schemas.microsoft.com/office/powerpoint/2010/main" val="3186519092"/>
              </p:ext>
            </p:extLst>
          </p:nvPr>
        </p:nvGraphicFramePr>
        <p:xfrm>
          <a:off x="209549" y="1806860"/>
          <a:ext cx="8757030" cy="2225040"/>
        </p:xfrm>
        <a:graphic>
          <a:graphicData uri="http://schemas.openxmlformats.org/drawingml/2006/table">
            <a:tbl>
              <a:tblPr>
                <a:tableStyleId>{2D5ABB26-0587-4C30-8999-92F81FD0307C}</a:tableStyleId>
              </a:tblPr>
              <a:tblGrid>
                <a:gridCol w="1414535">
                  <a:extLst>
                    <a:ext uri="{9D8B030D-6E8A-4147-A177-3AD203B41FA5}">
                      <a16:colId xmlns:a16="http://schemas.microsoft.com/office/drawing/2014/main" val="1617866694"/>
                    </a:ext>
                  </a:extLst>
                </a:gridCol>
                <a:gridCol w="5227092">
                  <a:extLst>
                    <a:ext uri="{9D8B030D-6E8A-4147-A177-3AD203B41FA5}">
                      <a16:colId xmlns:a16="http://schemas.microsoft.com/office/drawing/2014/main" val="3951319875"/>
                    </a:ext>
                  </a:extLst>
                </a:gridCol>
                <a:gridCol w="2115403">
                  <a:extLst>
                    <a:ext uri="{9D8B030D-6E8A-4147-A177-3AD203B41FA5}">
                      <a16:colId xmlns:a16="http://schemas.microsoft.com/office/drawing/2014/main" val="2268267403"/>
                    </a:ext>
                  </a:extLst>
                </a:gridCol>
              </a:tblGrid>
              <a:tr h="370840">
                <a:tc>
                  <a:txBody>
                    <a:bodyPr/>
                    <a:lstStyle/>
                    <a:p>
                      <a:r>
                        <a:rPr lang="en-GB" b="1" dirty="0"/>
                        <a:t>Time</a:t>
                      </a:r>
                    </a:p>
                  </a:txBody>
                  <a:tcPr/>
                </a:tc>
                <a:tc>
                  <a:txBody>
                    <a:bodyPr/>
                    <a:lstStyle/>
                    <a:p>
                      <a:r>
                        <a:rPr lang="en-GB" b="1" dirty="0"/>
                        <a:t>Session</a:t>
                      </a:r>
                    </a:p>
                  </a:txBody>
                  <a:tcPr/>
                </a:tc>
                <a:tc>
                  <a:txBody>
                    <a:bodyPr/>
                    <a:lstStyle/>
                    <a:p>
                      <a:r>
                        <a:rPr lang="en-GB" b="1" dirty="0"/>
                        <a:t>Speaker</a:t>
                      </a:r>
                    </a:p>
                  </a:txBody>
                  <a:tcPr/>
                </a:tc>
                <a:extLst>
                  <a:ext uri="{0D108BD9-81ED-4DB2-BD59-A6C34878D82A}">
                    <a16:rowId xmlns:a16="http://schemas.microsoft.com/office/drawing/2014/main" val="4117633094"/>
                  </a:ext>
                </a:extLst>
              </a:tr>
              <a:tr h="370840">
                <a:tc>
                  <a:txBody>
                    <a:bodyPr/>
                    <a:lstStyle/>
                    <a:p>
                      <a:r>
                        <a:rPr lang="en-GB" dirty="0"/>
                        <a:t>12.00-12.30</a:t>
                      </a:r>
                    </a:p>
                  </a:txBody>
                  <a:tcPr/>
                </a:tc>
                <a:tc>
                  <a:txBody>
                    <a:bodyPr/>
                    <a:lstStyle/>
                    <a:p>
                      <a:r>
                        <a:rPr lang="en-GB" dirty="0"/>
                        <a:t>[Session Description]</a:t>
                      </a:r>
                    </a:p>
                  </a:txBody>
                  <a:tcPr/>
                </a:tc>
                <a:tc>
                  <a:txBody>
                    <a:bodyPr/>
                    <a:lstStyle/>
                    <a:p>
                      <a:r>
                        <a:rPr lang="en-GB" dirty="0"/>
                        <a:t>[Name 1]</a:t>
                      </a:r>
                    </a:p>
                  </a:txBody>
                  <a:tcPr/>
                </a:tc>
                <a:extLst>
                  <a:ext uri="{0D108BD9-81ED-4DB2-BD59-A6C34878D82A}">
                    <a16:rowId xmlns:a16="http://schemas.microsoft.com/office/drawing/2014/main" val="3822474379"/>
                  </a:ext>
                </a:extLst>
              </a:tr>
              <a:tr h="370840">
                <a:tc>
                  <a:txBody>
                    <a:bodyPr/>
                    <a:lstStyle/>
                    <a:p>
                      <a:r>
                        <a:rPr lang="en-GB" dirty="0"/>
                        <a:t>[Time]</a:t>
                      </a:r>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r>
                        <a:rPr lang="en-GB" dirty="0"/>
                        <a:t>[Session Description]</a:t>
                      </a:r>
                    </a:p>
                  </a:txBody>
                  <a:tcPr/>
                </a:tc>
                <a:tc>
                  <a:txBody>
                    <a:bodyPr/>
                    <a:lstStyle/>
                    <a:p>
                      <a:r>
                        <a:rPr lang="en-GB" dirty="0"/>
                        <a:t>[Name 1]</a:t>
                      </a:r>
                    </a:p>
                  </a:txBody>
                  <a:tcPr/>
                </a:tc>
                <a:extLst>
                  <a:ext uri="{0D108BD9-81ED-4DB2-BD59-A6C34878D82A}">
                    <a16:rowId xmlns:a16="http://schemas.microsoft.com/office/drawing/2014/main" val="616345027"/>
                  </a:ext>
                </a:extLst>
              </a:tr>
              <a:tr h="370840">
                <a:tc>
                  <a:txBody>
                    <a:bodyPr/>
                    <a:lstStyle/>
                    <a:p>
                      <a:endParaRPr lang="en-GB" dirty="0"/>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endParaRPr lang="en-GB" dirty="0"/>
                    </a:p>
                  </a:txBody>
                  <a:tcPr/>
                </a:tc>
                <a:tc>
                  <a:txBody>
                    <a:bodyPr/>
                    <a:lstStyle/>
                    <a:p>
                      <a:endParaRPr lang="en-GB" dirty="0"/>
                    </a:p>
                  </a:txBody>
                  <a:tcPr/>
                </a:tc>
                <a:extLst>
                  <a:ext uri="{0D108BD9-81ED-4DB2-BD59-A6C34878D82A}">
                    <a16:rowId xmlns:a16="http://schemas.microsoft.com/office/drawing/2014/main" val="3545059334"/>
                  </a:ext>
                </a:extLst>
              </a:tr>
              <a:tr h="370840">
                <a:tc>
                  <a:txBody>
                    <a:bodyPr/>
                    <a:lstStyle/>
                    <a:p>
                      <a:endParaRPr lang="en-GB" dirty="0"/>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endParaRPr lang="en-GB" dirty="0"/>
                    </a:p>
                  </a:txBody>
                  <a:tcPr/>
                </a:tc>
                <a:tc>
                  <a:txBody>
                    <a:bodyPr/>
                    <a:lstStyle/>
                    <a:p>
                      <a:endParaRPr lang="en-GB" dirty="0"/>
                    </a:p>
                  </a:txBody>
                  <a:tcPr/>
                </a:tc>
                <a:extLst>
                  <a:ext uri="{0D108BD9-81ED-4DB2-BD59-A6C34878D82A}">
                    <a16:rowId xmlns:a16="http://schemas.microsoft.com/office/drawing/2014/main" val="2834895056"/>
                  </a:ext>
                </a:extLst>
              </a:tr>
              <a:tr h="370840">
                <a:tc>
                  <a:txBody>
                    <a:bodyPr/>
                    <a:lstStyle/>
                    <a:p>
                      <a:endParaRPr lang="en-GB" dirty="0"/>
                    </a:p>
                  </a:txBody>
                  <a:tcPr/>
                </a:tc>
                <a:tc>
                  <a:txBody>
                    <a:bodyPr/>
                    <a:lstStyle/>
                    <a:p>
                      <a:pPr marL="0" marR="0" lvl="0" indent="0" algn="l" defTabSz="914377" rtl="0" eaLnBrk="1" fontAlgn="auto" latinLnBrk="0" hangingPunct="1">
                        <a:lnSpc>
                          <a:spcPct val="95000"/>
                        </a:lnSpc>
                        <a:spcBef>
                          <a:spcPts val="800"/>
                        </a:spcBef>
                        <a:spcAft>
                          <a:spcPts val="0"/>
                        </a:spcAft>
                        <a:buClrTx/>
                        <a:buSzTx/>
                        <a:buFont typeface="Arial" panose="020B0604020202020204" pitchFamily="34" charset="0"/>
                        <a:buNone/>
                        <a:tabLst/>
                        <a:defRPr/>
                      </a:pPr>
                      <a:endParaRPr lang="en-GB" dirty="0"/>
                    </a:p>
                  </a:txBody>
                  <a:tcPr/>
                </a:tc>
                <a:tc>
                  <a:txBody>
                    <a:bodyPr/>
                    <a:lstStyle/>
                    <a:p>
                      <a:endParaRPr lang="en-GB" dirty="0"/>
                    </a:p>
                  </a:txBody>
                  <a:tcPr/>
                </a:tc>
                <a:extLst>
                  <a:ext uri="{0D108BD9-81ED-4DB2-BD59-A6C34878D82A}">
                    <a16:rowId xmlns:a16="http://schemas.microsoft.com/office/drawing/2014/main" val="1831207383"/>
                  </a:ext>
                </a:extLst>
              </a:tr>
            </a:tbl>
          </a:graphicData>
        </a:graphic>
      </p:graphicFrame>
    </p:spTree>
    <p:extLst>
      <p:ext uri="{BB962C8B-B14F-4D97-AF65-F5344CB8AC3E}">
        <p14:creationId xmlns:p14="http://schemas.microsoft.com/office/powerpoint/2010/main" val="167820281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Backpage 1">
    <p:bg>
      <p:bgPr>
        <a:solidFill>
          <a:schemeClr val="accent1"/>
        </a:solidFill>
        <a:effectLst/>
      </p:bgPr>
    </p:bg>
    <p:spTree>
      <p:nvGrpSpPr>
        <p:cNvPr id="1" name=""/>
        <p:cNvGrpSpPr/>
        <p:nvPr/>
      </p:nvGrpSpPr>
      <p:grpSpPr>
        <a:xfrm>
          <a:off x="0" y="0"/>
          <a:ext cx="0" cy="0"/>
          <a:chOff x="0" y="0"/>
          <a:chExt cx="0" cy="0"/>
        </a:xfrm>
      </p:grpSpPr>
      <p:sp>
        <p:nvSpPr>
          <p:cNvPr id="3" name="Company string">
            <a:extLst>
              <a:ext uri="{FF2B5EF4-FFF2-40B4-BE49-F238E27FC236}">
                <a16:creationId xmlns:a16="http://schemas.microsoft.com/office/drawing/2014/main" id="{EA41C69A-8F66-4841-BB68-FAF02F0649F5}"/>
              </a:ext>
            </a:extLst>
          </p:cNvPr>
          <p:cNvSpPr txBox="1"/>
          <p:nvPr userDrawn="1"/>
        </p:nvSpPr>
        <p:spPr>
          <a:xfrm>
            <a:off x="719137" y="3629731"/>
            <a:ext cx="10753723" cy="2507546"/>
          </a:xfrm>
          <a:prstGeom prst="rect">
            <a:avLst/>
          </a:prstGeom>
        </p:spPr>
        <p:txBody>
          <a:bodyPr vert="horz" wrap="square" lIns="0" tIns="0" rIns="0" bIns="0" rtlCol="0" anchor="b" anchorCtr="0">
            <a:spAutoFit/>
          </a:bodyPr>
          <a:lstStyle>
            <a:lvl1pPr lvl="0">
              <a:spcAft>
                <a:spcPts val="2400"/>
              </a:spcAft>
              <a:defRPr sz="2400">
                <a:latin typeface="+mj-lt"/>
              </a:defRPr>
            </a:lvl1pPr>
            <a:lvl2pPr marL="0" lvl="1" indent="0">
              <a:lnSpc>
                <a:spcPct val="120000"/>
              </a:lnSpc>
              <a:spcBef>
                <a:spcPts val="600"/>
              </a:spcBef>
              <a:buNone/>
              <a:defRPr sz="1400" i="1">
                <a:latin typeface="+mj-lt"/>
              </a:defRPr>
            </a:lvl2pPr>
            <a:lvl3pPr marL="0" lvl="2" indent="0">
              <a:lnSpc>
                <a:spcPct val="120000"/>
              </a:lnSpc>
              <a:spcBef>
                <a:spcPts val="600"/>
              </a:spcBef>
              <a:buNone/>
              <a:defRPr sz="1400" i="1">
                <a:latin typeface="+mj-lt"/>
              </a:defRPr>
            </a:lvl3pPr>
            <a:lvl4pPr marL="0" lvl="3" indent="0">
              <a:lnSpc>
                <a:spcPct val="120000"/>
              </a:lnSpc>
              <a:spcBef>
                <a:spcPts val="600"/>
              </a:spcBef>
              <a:buNone/>
              <a:defRPr sz="1400" i="1">
                <a:latin typeface="+mj-lt"/>
              </a:defRPr>
            </a:lvl4pPr>
            <a:lvl5pPr marL="0" lvl="4" indent="0">
              <a:lnSpc>
                <a:spcPct val="120000"/>
              </a:lnSpc>
              <a:spcBef>
                <a:spcPts val="600"/>
              </a:spcBef>
              <a:buFont typeface="Arial" panose="020B0604020202020204" pitchFamily="34" charset="0"/>
              <a:buNone/>
              <a:defRPr sz="1400" i="1">
                <a:latin typeface="+mj-lt"/>
              </a:defRPr>
            </a:lvl5pPr>
            <a:lvl6pPr marL="0" lvl="5" indent="0">
              <a:lnSpc>
                <a:spcPct val="120000"/>
              </a:lnSpc>
              <a:spcBef>
                <a:spcPts val="600"/>
              </a:spcBef>
              <a:buFont typeface="Arial" panose="020B0604020202020204" pitchFamily="34" charset="0"/>
              <a:buNone/>
              <a:defRPr sz="1400" i="1">
                <a:latin typeface="+mj-lt"/>
              </a:defRPr>
            </a:lvl6pPr>
            <a:lvl7pPr lvl="6">
              <a:lnSpc>
                <a:spcPct val="120000"/>
              </a:lnSpc>
              <a:spcBef>
                <a:spcPts val="600"/>
              </a:spcBef>
              <a:buFont typeface="Arial" panose="020B0604020202020204" pitchFamily="34" charset="0"/>
              <a:defRPr sz="1400" i="1"/>
            </a:lvl7pPr>
            <a:lvl8pPr lvl="7">
              <a:lnSpc>
                <a:spcPct val="120000"/>
              </a:lnSpc>
              <a:spcBef>
                <a:spcPts val="600"/>
              </a:spcBef>
              <a:defRPr sz="1400" i="1">
                <a:solidFill>
                  <a:schemeClr val="tx1"/>
                </a:solidFill>
              </a:defRPr>
            </a:lvl8pPr>
            <a:lvl9pPr lvl="8">
              <a:lnSpc>
                <a:spcPct val="120000"/>
              </a:lnSpc>
              <a:spcBef>
                <a:spcPts val="600"/>
              </a:spcBef>
              <a:defRPr sz="1400" i="1"/>
            </a:lvl9pPr>
          </a:lstStyle>
          <a:p>
            <a:pPr lvl="0">
              <a:spcAft>
                <a:spcPts val="1800"/>
              </a:spcAft>
            </a:pPr>
            <a:r>
              <a:rPr lang="fi-FI" altLang="zh-CN" i="0"/>
              <a:t>twobirds.com</a:t>
            </a:r>
          </a:p>
          <a:p>
            <a:pPr lvl="1">
              <a:spcAft>
                <a:spcPts val="1800"/>
              </a:spcAft>
            </a:pPr>
            <a:r>
              <a:rPr lang="zh-CN" altLang="fi-FI" i="0"/>
              <a:t>阿姆斯特丹 </a:t>
            </a:r>
            <a:r>
              <a:rPr lang="zh-CN" altLang="fi-FI" i="0">
                <a:solidFill>
                  <a:schemeClr val="dk2"/>
                </a:solidFill>
              </a:rPr>
              <a:t>● </a:t>
            </a:r>
            <a:r>
              <a:rPr lang="zh-CN" altLang="fi-FI" i="0"/>
              <a:t>阿布扎比 </a:t>
            </a:r>
            <a:r>
              <a:rPr lang="zh-CN" altLang="fi-FI" i="0">
                <a:solidFill>
                  <a:schemeClr val="dk2"/>
                </a:solidFill>
              </a:rPr>
              <a:t>● </a:t>
            </a:r>
            <a:r>
              <a:rPr lang="zh-CN" altLang="fi-FI" i="0"/>
              <a:t>北京 </a:t>
            </a:r>
            <a:r>
              <a:rPr lang="zh-CN" altLang="fi-FI" i="0">
                <a:solidFill>
                  <a:schemeClr val="dk2"/>
                </a:solidFill>
              </a:rPr>
              <a:t>● </a:t>
            </a:r>
            <a:r>
              <a:rPr lang="zh-CN" altLang="fi-FI" i="0"/>
              <a:t>布拉迪斯拉发 </a:t>
            </a:r>
            <a:r>
              <a:rPr lang="zh-CN" altLang="fi-FI" i="0">
                <a:solidFill>
                  <a:schemeClr val="dk2"/>
                </a:solidFill>
              </a:rPr>
              <a:t>● </a:t>
            </a:r>
            <a:r>
              <a:rPr lang="zh-CN" altLang="fi-FI" i="0"/>
              <a:t>布鲁塞尔 </a:t>
            </a:r>
            <a:r>
              <a:rPr lang="zh-CN" altLang="fi-FI" i="0">
                <a:solidFill>
                  <a:schemeClr val="dk2"/>
                </a:solidFill>
              </a:rPr>
              <a:t>● </a:t>
            </a:r>
            <a:r>
              <a:rPr lang="zh-CN" altLang="fi-FI" i="0"/>
              <a:t>布达佩斯 </a:t>
            </a:r>
            <a:r>
              <a:rPr lang="zh-CN" altLang="fi-FI" i="0">
                <a:solidFill>
                  <a:schemeClr val="dk2"/>
                </a:solidFill>
              </a:rPr>
              <a:t>● </a:t>
            </a:r>
            <a:r>
              <a:rPr lang="zh-CN" altLang="fi-FI" i="0"/>
              <a:t>卡萨布兰卡 </a:t>
            </a:r>
            <a:r>
              <a:rPr lang="zh-CN" altLang="fi-FI" i="0">
                <a:solidFill>
                  <a:schemeClr val="dk2"/>
                </a:solidFill>
              </a:rPr>
              <a:t>● </a:t>
            </a:r>
            <a:r>
              <a:rPr lang="zh-CN" altLang="fi-FI" i="0"/>
              <a:t>哥本哈根 </a:t>
            </a:r>
            <a:r>
              <a:rPr lang="zh-CN" altLang="fi-FI" i="0">
                <a:solidFill>
                  <a:schemeClr val="dk2"/>
                </a:solidFill>
              </a:rPr>
              <a:t>● </a:t>
            </a:r>
            <a:r>
              <a:rPr lang="zh-CN" altLang="fi-FI" i="0"/>
              <a:t>迪拜 </a:t>
            </a:r>
            <a:r>
              <a:rPr lang="zh-CN" altLang="fi-FI" i="0">
                <a:solidFill>
                  <a:schemeClr val="dk2"/>
                </a:solidFill>
              </a:rPr>
              <a:t>● </a:t>
            </a:r>
            <a:r>
              <a:rPr lang="zh-CN" altLang="fi-FI" i="0"/>
              <a:t>都柏林 </a:t>
            </a:r>
            <a:r>
              <a:rPr lang="zh-CN" altLang="fi-FI" i="0">
                <a:solidFill>
                  <a:schemeClr val="dk2"/>
                </a:solidFill>
              </a:rPr>
              <a:t>● </a:t>
            </a:r>
            <a:r>
              <a:rPr lang="zh-CN" altLang="fi-FI" i="0"/>
              <a:t>杜塞尔多夫 </a:t>
            </a:r>
            <a:br>
              <a:rPr lang="zh-CN" altLang="fi-FI" i="0"/>
            </a:br>
            <a:r>
              <a:rPr lang="zh-CN" altLang="fi-FI" i="0">
                <a:solidFill>
                  <a:schemeClr val="dk2"/>
                </a:solidFill>
              </a:rPr>
              <a:t>● </a:t>
            </a:r>
            <a:r>
              <a:rPr lang="zh-CN" altLang="fi-FI" i="0"/>
              <a:t>法兰克福 </a:t>
            </a:r>
            <a:r>
              <a:rPr lang="zh-CN" altLang="fi-FI" i="0">
                <a:solidFill>
                  <a:schemeClr val="dk2"/>
                </a:solidFill>
              </a:rPr>
              <a:t>● </a:t>
            </a:r>
            <a:r>
              <a:rPr lang="zh-CN" altLang="fi-FI" i="0"/>
              <a:t>海牙 </a:t>
            </a:r>
            <a:r>
              <a:rPr lang="zh-CN" altLang="fi-FI" i="0">
                <a:solidFill>
                  <a:schemeClr val="dk2"/>
                </a:solidFill>
              </a:rPr>
              <a:t>● </a:t>
            </a:r>
            <a:r>
              <a:rPr lang="zh-CN" altLang="fi-FI" i="0"/>
              <a:t>汉堡 </a:t>
            </a:r>
            <a:r>
              <a:rPr lang="zh-CN" altLang="fi-FI" i="0">
                <a:solidFill>
                  <a:schemeClr val="dk2"/>
                </a:solidFill>
              </a:rPr>
              <a:t>● </a:t>
            </a:r>
            <a:r>
              <a:rPr lang="zh-CN" altLang="fi-FI" i="0"/>
              <a:t>赫尔辛基 </a:t>
            </a:r>
            <a:r>
              <a:rPr lang="zh-CN" altLang="fi-FI" i="0">
                <a:solidFill>
                  <a:schemeClr val="dk2"/>
                </a:solidFill>
              </a:rPr>
              <a:t>● </a:t>
            </a:r>
            <a:r>
              <a:rPr lang="zh-CN" altLang="fi-FI" i="0"/>
              <a:t>香港 </a:t>
            </a:r>
            <a:r>
              <a:rPr lang="zh-CN" altLang="fi-FI" i="0">
                <a:solidFill>
                  <a:schemeClr val="dk2"/>
                </a:solidFill>
              </a:rPr>
              <a:t>● </a:t>
            </a:r>
            <a:r>
              <a:rPr lang="zh-CN" altLang="fi-FI" i="0"/>
              <a:t>伦敦 </a:t>
            </a:r>
            <a:r>
              <a:rPr lang="zh-CN" altLang="fi-FI" i="0">
                <a:solidFill>
                  <a:schemeClr val="dk2"/>
                </a:solidFill>
              </a:rPr>
              <a:t>● </a:t>
            </a:r>
            <a:r>
              <a:rPr lang="zh-CN" altLang="fi-FI" i="0"/>
              <a:t>卢森堡 </a:t>
            </a:r>
            <a:r>
              <a:rPr lang="zh-CN" altLang="fi-FI" i="0">
                <a:solidFill>
                  <a:schemeClr val="dk2"/>
                </a:solidFill>
              </a:rPr>
              <a:t>● </a:t>
            </a:r>
            <a:r>
              <a:rPr lang="zh-CN" altLang="fi-FI" i="0"/>
              <a:t>里昂 </a:t>
            </a:r>
            <a:r>
              <a:rPr lang="zh-CN" altLang="fi-FI" i="0">
                <a:solidFill>
                  <a:schemeClr val="dk2"/>
                </a:solidFill>
              </a:rPr>
              <a:t>● </a:t>
            </a:r>
            <a:r>
              <a:rPr lang="zh-CN" altLang="fi-FI" i="0"/>
              <a:t>马德里 </a:t>
            </a:r>
            <a:r>
              <a:rPr lang="zh-CN" altLang="fi-FI" i="0">
                <a:solidFill>
                  <a:schemeClr val="dk2"/>
                </a:solidFill>
              </a:rPr>
              <a:t>● </a:t>
            </a:r>
            <a:r>
              <a:rPr lang="zh-CN" altLang="fi-FI" i="0"/>
              <a:t>米兰 </a:t>
            </a:r>
            <a:r>
              <a:rPr lang="zh-CN" altLang="fi-FI" i="0">
                <a:solidFill>
                  <a:schemeClr val="dk2"/>
                </a:solidFill>
              </a:rPr>
              <a:t>● </a:t>
            </a:r>
            <a:r>
              <a:rPr lang="zh-CN" altLang="fi-FI" i="0"/>
              <a:t>慕尼黑 </a:t>
            </a:r>
            <a:r>
              <a:rPr lang="zh-CN" altLang="fi-FI" i="0">
                <a:solidFill>
                  <a:schemeClr val="dk2"/>
                </a:solidFill>
              </a:rPr>
              <a:t>● </a:t>
            </a:r>
            <a:r>
              <a:rPr lang="zh-CN" altLang="fi-FI" i="0"/>
              <a:t>巴黎 </a:t>
            </a:r>
            <a:r>
              <a:rPr lang="zh-CN" altLang="fi-FI" i="0">
                <a:solidFill>
                  <a:schemeClr val="dk2"/>
                </a:solidFill>
              </a:rPr>
              <a:t>● </a:t>
            </a:r>
            <a:r>
              <a:rPr lang="zh-CN" altLang="fi-FI" i="0"/>
              <a:t>布拉格 </a:t>
            </a:r>
            <a:r>
              <a:rPr lang="zh-CN" altLang="fi-FI" i="0">
                <a:solidFill>
                  <a:schemeClr val="dk2"/>
                </a:solidFill>
              </a:rPr>
              <a:t>● </a:t>
            </a:r>
            <a:r>
              <a:rPr lang="zh-CN" altLang="fi-FI" i="0"/>
              <a:t>罗马</a:t>
            </a:r>
            <a:br>
              <a:rPr lang="zh-CN" altLang="fi-FI" i="0"/>
            </a:br>
            <a:r>
              <a:rPr lang="zh-CN" altLang="fi-FI" i="0">
                <a:solidFill>
                  <a:schemeClr val="dk2"/>
                </a:solidFill>
              </a:rPr>
              <a:t>● </a:t>
            </a:r>
            <a:r>
              <a:rPr lang="zh-CN" altLang="fi-FI" i="0"/>
              <a:t>旧金山 </a:t>
            </a:r>
            <a:r>
              <a:rPr lang="zh-CN" altLang="fi-FI" i="0">
                <a:solidFill>
                  <a:schemeClr val="dk2"/>
                </a:solidFill>
              </a:rPr>
              <a:t>● </a:t>
            </a:r>
            <a:r>
              <a:rPr lang="zh-CN" altLang="fi-FI" i="0"/>
              <a:t>上海 </a:t>
            </a:r>
            <a:r>
              <a:rPr lang="zh-CN" altLang="fi-FI" i="0">
                <a:solidFill>
                  <a:schemeClr val="dk2"/>
                </a:solidFill>
              </a:rPr>
              <a:t>● </a:t>
            </a:r>
            <a:r>
              <a:rPr lang="zh-CN" altLang="fi-FI" i="0"/>
              <a:t>新加坡 </a:t>
            </a:r>
            <a:r>
              <a:rPr lang="zh-CN" altLang="fi-FI" i="0">
                <a:solidFill>
                  <a:schemeClr val="dk2"/>
                </a:solidFill>
              </a:rPr>
              <a:t>● </a:t>
            </a:r>
            <a:r>
              <a:rPr lang="zh-CN" altLang="fi-FI" i="0"/>
              <a:t>斯德哥尔摩 </a:t>
            </a:r>
            <a:r>
              <a:rPr lang="zh-CN" altLang="fi-FI" i="0">
                <a:solidFill>
                  <a:schemeClr val="dk2"/>
                </a:solidFill>
              </a:rPr>
              <a:t>● </a:t>
            </a:r>
            <a:r>
              <a:rPr lang="zh-CN" altLang="fi-FI" i="0"/>
              <a:t>悉尼 </a:t>
            </a:r>
            <a:r>
              <a:rPr lang="zh-CN" altLang="fi-FI" i="0">
                <a:solidFill>
                  <a:schemeClr val="dk2"/>
                </a:solidFill>
              </a:rPr>
              <a:t>● </a:t>
            </a:r>
            <a:r>
              <a:rPr lang="zh-CN" altLang="fi-FI" i="0"/>
              <a:t>华沙</a:t>
            </a:r>
          </a:p>
          <a:p>
            <a:pPr lvl="2">
              <a:lnSpc>
                <a:spcPct val="100000"/>
              </a:lnSpc>
              <a:spcBef>
                <a:spcPts val="300"/>
              </a:spcBef>
              <a:spcAft>
                <a:spcPts val="0"/>
              </a:spcAft>
            </a:pPr>
            <a:r>
              <a:rPr lang="zh-CN" altLang="fi-FI" sz="800" i="0" kern="800" spc="-10">
                <a:latin typeface="+mn-lt"/>
              </a:rPr>
              <a:t>本文件中提供的技术、法律或专业事项相关信息仅供参考，不构成法律或专业意见。如有任何具体法律问题或事项，请咨询具有适当资质的律师。鸿鹄对于本文件所含该等信息概不负责，并且对于该等信息不承担任何法律责任。</a:t>
            </a:r>
          </a:p>
          <a:p>
            <a:pPr lvl="2">
              <a:lnSpc>
                <a:spcPct val="100000"/>
              </a:lnSpc>
              <a:spcBef>
                <a:spcPts val="300"/>
              </a:spcBef>
              <a:spcAft>
                <a:spcPts val="0"/>
              </a:spcAft>
            </a:pPr>
            <a:r>
              <a:rPr lang="zh-CN" altLang="fi-FI" sz="800" i="0" kern="800" spc="-10">
                <a:latin typeface="+mn-lt"/>
              </a:rPr>
              <a:t>本文件属于保密信息。除非另有说明，鸿鹄对本文件及其内容拥有版权。不得以任何实质形式出版、传播、摘录、再使用或复制本文件的任何部分。</a:t>
            </a:r>
          </a:p>
          <a:p>
            <a:pPr lvl="2">
              <a:lnSpc>
                <a:spcPct val="100000"/>
              </a:lnSpc>
              <a:spcBef>
                <a:spcPts val="300"/>
              </a:spcBef>
              <a:spcAft>
                <a:spcPts val="0"/>
              </a:spcAft>
            </a:pPr>
            <a:r>
              <a:rPr lang="zh-CN" altLang="fi-FI" sz="800" i="0" kern="800" spc="-10">
                <a:latin typeface="+mn-lt"/>
              </a:rPr>
              <a:t>鸿鹄律师事务所是一家国际律师事务所，由鸿鹄律师事务所及其附属和关联实体组成。</a:t>
            </a:r>
          </a:p>
          <a:p>
            <a:pPr lvl="2">
              <a:lnSpc>
                <a:spcPct val="100000"/>
              </a:lnSpc>
              <a:spcBef>
                <a:spcPts val="300"/>
              </a:spcBef>
              <a:spcAft>
                <a:spcPts val="0"/>
              </a:spcAft>
            </a:pPr>
            <a:r>
              <a:rPr lang="zh-CN" altLang="fi-FI" sz="800" i="0" kern="800" spc="-10">
                <a:latin typeface="+mn-lt"/>
              </a:rPr>
              <a:t>鸿鹄律师事务所是在英格兰和威尔士注册的一家有限责任合伙企业，注册号</a:t>
            </a:r>
            <a:r>
              <a:rPr lang="fi-FI" altLang="zh-CN" sz="800" i="0" kern="800" spc="-10">
                <a:latin typeface="+mn-lt"/>
              </a:rPr>
              <a:t>OC340318</a:t>
            </a:r>
            <a:r>
              <a:rPr lang="zh-CN" altLang="fi-FI" sz="800" i="0" kern="800" spc="-10">
                <a:latin typeface="+mn-lt"/>
              </a:rPr>
              <a:t>，经律师监管局 </a:t>
            </a:r>
            <a:r>
              <a:rPr lang="fi-FI" altLang="zh-CN" sz="800" i="0" kern="800" spc="-10">
                <a:latin typeface="+mn-lt"/>
              </a:rPr>
              <a:t>(Solicitors Regulation Authority) </a:t>
            </a:r>
            <a:r>
              <a:rPr lang="zh-CN" altLang="fi-FI" sz="800" i="0" kern="800" spc="-10">
                <a:latin typeface="+mn-lt"/>
              </a:rPr>
              <a:t>授权并受其监管，编号为</a:t>
            </a:r>
            <a:r>
              <a:rPr lang="fi-FI" altLang="zh-CN" sz="800" i="0" kern="800" spc="-10">
                <a:latin typeface="+mn-lt"/>
              </a:rPr>
              <a:t>497264</a:t>
            </a:r>
            <a:r>
              <a:rPr lang="zh-CN" altLang="fi-FI" sz="800" i="0" kern="800" spc="-10">
                <a:latin typeface="+mn-lt"/>
              </a:rPr>
              <a:t>，注册办公室及主要营业地位于伦敦</a:t>
            </a:r>
            <a:r>
              <a:rPr lang="fi-FI" altLang="zh-CN" sz="800" i="0" kern="800" spc="-10">
                <a:latin typeface="+mn-lt"/>
              </a:rPr>
              <a:t>12 New Fetter Lane</a:t>
            </a:r>
            <a:r>
              <a:rPr lang="zh-CN" altLang="fi-FI" sz="800" i="0" kern="800" spc="-10">
                <a:latin typeface="+mn-lt"/>
              </a:rPr>
              <a:t>，</a:t>
            </a:r>
            <a:r>
              <a:rPr lang="fi-FI" altLang="zh-CN" sz="800" i="0" kern="800" spc="-10">
                <a:latin typeface="+mn-lt"/>
              </a:rPr>
              <a:t>EC4A1JP</a:t>
            </a:r>
            <a:r>
              <a:rPr lang="zh-CN" altLang="fi-FI" sz="800" i="0" kern="800" spc="-10">
                <a:latin typeface="+mn-lt"/>
              </a:rPr>
              <a:t>。有关鸿鹄律师事务所成员和任何经任命担任合伙人的非成员的名单及其各自的专业资质，均可在上述地址查阅。</a:t>
            </a:r>
            <a:endParaRPr lang="en-GB" sz="800" i="0" kern="800" spc="-10" baseline="0" dirty="0">
              <a:latin typeface="+mn-lt"/>
            </a:endParaRPr>
          </a:p>
        </p:txBody>
      </p:sp>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6916737" y="1944932"/>
            <a:ext cx="4533899" cy="1176684"/>
          </a:xfrm>
        </p:spPr>
        <p:txBody>
          <a:bodyPr lIns="0" rIns="0" anchor="t" anchorCtr="0">
            <a:noAutofit/>
          </a:bodyPr>
          <a:lstStyle>
            <a:lvl1pPr algn="l">
              <a:defRPr sz="4800" i="0">
                <a:solidFill>
                  <a:schemeClr val="tx2"/>
                </a:solidFill>
              </a:defRPr>
            </a:lvl1pPr>
            <a:lvl2pPr algn="l">
              <a:defRPr sz="6000" i="0" u="none">
                <a:solidFill>
                  <a:schemeClr val="tx1"/>
                </a:solidFill>
              </a:defRPr>
            </a:lvl2pPr>
            <a:lvl3pPr algn="l">
              <a:defRPr sz="6000" i="0">
                <a:solidFill>
                  <a:schemeClr val="bg1"/>
                </a:solidFill>
              </a:defRPr>
            </a:lvl3pPr>
            <a:lvl4pPr algn="l">
              <a:defRPr sz="5400" i="0">
                <a:solidFill>
                  <a:schemeClr val="tx2"/>
                </a:solidFill>
              </a:defRPr>
            </a:lvl4pPr>
            <a:lvl5pPr algn="l">
              <a:defRPr sz="5400" i="0">
                <a:solidFill>
                  <a:schemeClr val="tx1"/>
                </a:solidFill>
              </a:defRPr>
            </a:lvl5pPr>
            <a:lvl6pPr algn="l">
              <a:defRPr sz="5400" i="0">
                <a:solidFill>
                  <a:schemeClr val="bg1"/>
                </a:solidFill>
              </a:defRPr>
            </a:lvl6pPr>
            <a:lvl7pPr algn="l">
              <a:defRPr sz="4800" i="0">
                <a:solidFill>
                  <a:schemeClr val="tx2"/>
                </a:solidFill>
              </a:defRPr>
            </a:lvl7pPr>
            <a:lvl8pPr algn="l">
              <a:defRPr sz="4800" i="0">
                <a:solidFill>
                  <a:schemeClr val="tx1"/>
                </a:solidFill>
              </a:defRPr>
            </a:lvl8pPr>
            <a:lvl9pPr algn="l">
              <a:defRPr sz="4800" i="0">
                <a:solidFill>
                  <a:schemeClr val="bg1"/>
                </a:solidFill>
              </a:defRPr>
            </a:lvl9pPr>
          </a:lstStyle>
          <a:p>
            <a:pPr lvl="0"/>
            <a:r>
              <a:rPr lang="en-US"/>
              <a:t>Click to edit Master title style</a:t>
            </a:r>
            <a:endParaRPr lang="en-GB" dirty="0"/>
          </a:p>
        </p:txBody>
      </p:sp>
      <p:grpSp>
        <p:nvGrpSpPr>
          <p:cNvPr id="18" name="Group 17">
            <a:extLst>
              <a:ext uri="{FF2B5EF4-FFF2-40B4-BE49-F238E27FC236}">
                <a16:creationId xmlns:a16="http://schemas.microsoft.com/office/drawing/2014/main" id="{97C84B20-5499-4342-896D-723C87B7442C}"/>
              </a:ext>
            </a:extLst>
          </p:cNvPr>
          <p:cNvGrpSpPr/>
          <p:nvPr userDrawn="1"/>
        </p:nvGrpSpPr>
        <p:grpSpPr>
          <a:xfrm>
            <a:off x="0" y="2161032"/>
            <a:ext cx="6006209" cy="266700"/>
            <a:chOff x="0" y="2161032"/>
            <a:chExt cx="6006209" cy="266700"/>
          </a:xfrm>
        </p:grpSpPr>
        <p:sp>
          <p:nvSpPr>
            <p:cNvPr id="15" name="Freeform: Shape 14">
              <a:extLst>
                <a:ext uri="{FF2B5EF4-FFF2-40B4-BE49-F238E27FC236}">
                  <a16:creationId xmlns:a16="http://schemas.microsoft.com/office/drawing/2014/main" id="{D0CB0E7A-7933-467F-B168-69AEB01ABB2E}"/>
                </a:ext>
              </a:extLst>
            </p:cNvPr>
            <p:cNvSpPr/>
            <p:nvPr/>
          </p:nvSpPr>
          <p:spPr>
            <a:xfrm>
              <a:off x="2200782" y="2161032"/>
              <a:ext cx="3805427" cy="266700"/>
            </a:xfrm>
            <a:custGeom>
              <a:avLst/>
              <a:gdLst>
                <a:gd name="connsiteX0" fmla="*/ 3672078 w 3805427"/>
                <a:gd name="connsiteY0" fmla="*/ 266700 h 266700"/>
                <a:gd name="connsiteX1" fmla="*/ 133350 w 3805427"/>
                <a:gd name="connsiteY1" fmla="*/ 266700 h 266700"/>
                <a:gd name="connsiteX2" fmla="*/ 0 w 3805427"/>
                <a:gd name="connsiteY2" fmla="*/ 133350 h 266700"/>
                <a:gd name="connsiteX3" fmla="*/ 133350 w 3805427"/>
                <a:gd name="connsiteY3" fmla="*/ 0 h 266700"/>
                <a:gd name="connsiteX4" fmla="*/ 3672078 w 3805427"/>
                <a:gd name="connsiteY4" fmla="*/ 0 h 266700"/>
                <a:gd name="connsiteX5" fmla="*/ 3805428 w 3805427"/>
                <a:gd name="connsiteY5" fmla="*/ 133350 h 266700"/>
                <a:gd name="connsiteX6" fmla="*/ 3672078 w 3805427"/>
                <a:gd name="connsiteY6" fmla="*/ 2667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5427" h="266700">
                  <a:moveTo>
                    <a:pt x="3672078" y="266700"/>
                  </a:moveTo>
                  <a:lnTo>
                    <a:pt x="133350" y="266700"/>
                  </a:lnTo>
                  <a:cubicBezTo>
                    <a:pt x="59703" y="266700"/>
                    <a:pt x="0" y="206997"/>
                    <a:pt x="0" y="133350"/>
                  </a:cubicBezTo>
                  <a:cubicBezTo>
                    <a:pt x="0" y="59703"/>
                    <a:pt x="59703" y="0"/>
                    <a:pt x="133350" y="0"/>
                  </a:cubicBezTo>
                  <a:lnTo>
                    <a:pt x="3672078" y="0"/>
                  </a:lnTo>
                  <a:cubicBezTo>
                    <a:pt x="3745725" y="0"/>
                    <a:pt x="3805428" y="59703"/>
                    <a:pt x="3805428" y="133350"/>
                  </a:cubicBezTo>
                  <a:cubicBezTo>
                    <a:pt x="3805428" y="206997"/>
                    <a:pt x="3745725" y="266700"/>
                    <a:pt x="3672078" y="266700"/>
                  </a:cubicBezTo>
                  <a:close/>
                </a:path>
              </a:pathLst>
            </a:custGeom>
            <a:solidFill>
              <a:schemeClr val="tx2"/>
            </a:solidFill>
            <a:ln w="12700"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7B03A7AE-CEF5-4216-A585-33CCFF6B91E5}"/>
                </a:ext>
              </a:extLst>
            </p:cNvPr>
            <p:cNvSpPr/>
            <p:nvPr/>
          </p:nvSpPr>
          <p:spPr>
            <a:xfrm>
              <a:off x="0" y="2161032"/>
              <a:ext cx="3273552" cy="266700"/>
            </a:xfrm>
            <a:custGeom>
              <a:avLst/>
              <a:gdLst>
                <a:gd name="connsiteX0" fmla="*/ 3273552 w 3273552"/>
                <a:gd name="connsiteY0" fmla="*/ 133350 h 266700"/>
                <a:gd name="connsiteX1" fmla="*/ 3140202 w 3273552"/>
                <a:gd name="connsiteY1" fmla="*/ 0 h 266700"/>
                <a:gd name="connsiteX2" fmla="*/ 0 w 3273552"/>
                <a:gd name="connsiteY2" fmla="*/ 0 h 266700"/>
                <a:gd name="connsiteX3" fmla="*/ 0 w 3273552"/>
                <a:gd name="connsiteY3" fmla="*/ 266700 h 266700"/>
                <a:gd name="connsiteX4" fmla="*/ 3140202 w 3273552"/>
                <a:gd name="connsiteY4" fmla="*/ 266700 h 266700"/>
                <a:gd name="connsiteX5" fmla="*/ 3273552 w 3273552"/>
                <a:gd name="connsiteY5" fmla="*/ 13335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3552" h="266700">
                  <a:moveTo>
                    <a:pt x="3273552" y="133350"/>
                  </a:moveTo>
                  <a:cubicBezTo>
                    <a:pt x="3273552" y="59703"/>
                    <a:pt x="3213849" y="0"/>
                    <a:pt x="3140202" y="0"/>
                  </a:cubicBezTo>
                  <a:lnTo>
                    <a:pt x="0" y="0"/>
                  </a:lnTo>
                  <a:lnTo>
                    <a:pt x="0" y="266700"/>
                  </a:lnTo>
                  <a:lnTo>
                    <a:pt x="3140202" y="266700"/>
                  </a:lnTo>
                  <a:cubicBezTo>
                    <a:pt x="3213849" y="266700"/>
                    <a:pt x="3273552" y="206997"/>
                    <a:pt x="3273552" y="133350"/>
                  </a:cubicBezTo>
                  <a:close/>
                </a:path>
              </a:pathLst>
            </a:custGeom>
            <a:solidFill>
              <a:schemeClr val="accent2"/>
            </a:solidFill>
            <a:ln w="12700" cap="flat">
              <a:noFill/>
              <a:prstDash val="solid"/>
              <a:miter/>
            </a:ln>
          </p:spPr>
          <p:txBody>
            <a:bodyPr rtlCol="0" anchor="ctr"/>
            <a:lstStyle/>
            <a:p>
              <a:endParaRPr lang="en-GB"/>
            </a:p>
          </p:txBody>
        </p:sp>
      </p:grpSp>
    </p:spTree>
    <p:extLst>
      <p:ext uri="{BB962C8B-B14F-4D97-AF65-F5344CB8AC3E}">
        <p14:creationId xmlns:p14="http://schemas.microsoft.com/office/powerpoint/2010/main" val="152759126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Backpage 2">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6916737" y="1944932"/>
            <a:ext cx="4533899" cy="1176684"/>
          </a:xfrm>
        </p:spPr>
        <p:txBody>
          <a:bodyPr lIns="0" rIns="0" anchor="t" anchorCtr="0">
            <a:noAutofit/>
          </a:bodyPr>
          <a:lstStyle>
            <a:lvl1pPr algn="l">
              <a:defRPr sz="4800" i="0">
                <a:solidFill>
                  <a:schemeClr val="tx2"/>
                </a:solidFill>
              </a:defRPr>
            </a:lvl1pPr>
            <a:lvl2pPr algn="l">
              <a:defRPr sz="6000" i="0">
                <a:solidFill>
                  <a:schemeClr val="tx1"/>
                </a:solidFill>
              </a:defRPr>
            </a:lvl2pPr>
            <a:lvl3pPr algn="l">
              <a:defRPr sz="6000" i="0" u="none">
                <a:solidFill>
                  <a:schemeClr val="bg1"/>
                </a:solidFill>
              </a:defRPr>
            </a:lvl3pPr>
            <a:lvl4pPr algn="l">
              <a:defRPr sz="5400" i="0">
                <a:solidFill>
                  <a:schemeClr val="tx2"/>
                </a:solidFill>
              </a:defRPr>
            </a:lvl4pPr>
            <a:lvl5pPr algn="l">
              <a:defRPr sz="5400" i="0">
                <a:solidFill>
                  <a:schemeClr val="tx1"/>
                </a:solidFill>
              </a:defRPr>
            </a:lvl5pPr>
            <a:lvl6pPr algn="l">
              <a:defRPr sz="5400" i="0">
                <a:solidFill>
                  <a:schemeClr val="bg1"/>
                </a:solidFill>
              </a:defRPr>
            </a:lvl6pPr>
            <a:lvl7pPr algn="l">
              <a:defRPr sz="4800" i="0">
                <a:solidFill>
                  <a:schemeClr val="tx2"/>
                </a:solidFill>
              </a:defRPr>
            </a:lvl7pPr>
            <a:lvl8pPr algn="l">
              <a:defRPr sz="4800" i="0">
                <a:solidFill>
                  <a:schemeClr val="tx1"/>
                </a:solidFill>
              </a:defRPr>
            </a:lvl8pPr>
            <a:lvl9pPr algn="l">
              <a:defRPr sz="4800" i="0">
                <a:solidFill>
                  <a:schemeClr val="bg1"/>
                </a:solidFill>
              </a:defRPr>
            </a:lvl9pPr>
          </a:lstStyle>
          <a:p>
            <a:pPr lvl="0"/>
            <a:r>
              <a:rPr lang="en-US"/>
              <a:t>Click to edit Master title style</a:t>
            </a:r>
            <a:endParaRPr lang="en-GB" dirty="0"/>
          </a:p>
        </p:txBody>
      </p:sp>
      <p:grpSp>
        <p:nvGrpSpPr>
          <p:cNvPr id="16" name="Group 15">
            <a:extLst>
              <a:ext uri="{FF2B5EF4-FFF2-40B4-BE49-F238E27FC236}">
                <a16:creationId xmlns:a16="http://schemas.microsoft.com/office/drawing/2014/main" id="{5B7F25C4-5391-4351-A592-73666979B8D6}"/>
              </a:ext>
            </a:extLst>
          </p:cNvPr>
          <p:cNvGrpSpPr/>
          <p:nvPr userDrawn="1"/>
        </p:nvGrpSpPr>
        <p:grpSpPr>
          <a:xfrm>
            <a:off x="0" y="2161032"/>
            <a:ext cx="6006209" cy="266700"/>
            <a:chOff x="0" y="2161032"/>
            <a:chExt cx="6006209" cy="266700"/>
          </a:xfrm>
        </p:grpSpPr>
        <p:sp>
          <p:nvSpPr>
            <p:cNvPr id="17" name="Freeform: Shape 16">
              <a:extLst>
                <a:ext uri="{FF2B5EF4-FFF2-40B4-BE49-F238E27FC236}">
                  <a16:creationId xmlns:a16="http://schemas.microsoft.com/office/drawing/2014/main" id="{E4D40EB5-D7EF-4718-87C0-BC012360128F}"/>
                </a:ext>
              </a:extLst>
            </p:cNvPr>
            <p:cNvSpPr/>
            <p:nvPr/>
          </p:nvSpPr>
          <p:spPr>
            <a:xfrm>
              <a:off x="2200782" y="2161032"/>
              <a:ext cx="3805427" cy="266700"/>
            </a:xfrm>
            <a:custGeom>
              <a:avLst/>
              <a:gdLst>
                <a:gd name="connsiteX0" fmla="*/ 3672078 w 3805427"/>
                <a:gd name="connsiteY0" fmla="*/ 266700 h 266700"/>
                <a:gd name="connsiteX1" fmla="*/ 133350 w 3805427"/>
                <a:gd name="connsiteY1" fmla="*/ 266700 h 266700"/>
                <a:gd name="connsiteX2" fmla="*/ 0 w 3805427"/>
                <a:gd name="connsiteY2" fmla="*/ 133350 h 266700"/>
                <a:gd name="connsiteX3" fmla="*/ 133350 w 3805427"/>
                <a:gd name="connsiteY3" fmla="*/ 0 h 266700"/>
                <a:gd name="connsiteX4" fmla="*/ 3672078 w 3805427"/>
                <a:gd name="connsiteY4" fmla="*/ 0 h 266700"/>
                <a:gd name="connsiteX5" fmla="*/ 3805428 w 3805427"/>
                <a:gd name="connsiteY5" fmla="*/ 133350 h 266700"/>
                <a:gd name="connsiteX6" fmla="*/ 3672078 w 3805427"/>
                <a:gd name="connsiteY6" fmla="*/ 2667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5427" h="266700">
                  <a:moveTo>
                    <a:pt x="3672078" y="266700"/>
                  </a:moveTo>
                  <a:lnTo>
                    <a:pt x="133350" y="266700"/>
                  </a:lnTo>
                  <a:cubicBezTo>
                    <a:pt x="59703" y="266700"/>
                    <a:pt x="0" y="206997"/>
                    <a:pt x="0" y="133350"/>
                  </a:cubicBezTo>
                  <a:cubicBezTo>
                    <a:pt x="0" y="59703"/>
                    <a:pt x="59703" y="0"/>
                    <a:pt x="133350" y="0"/>
                  </a:cubicBezTo>
                  <a:lnTo>
                    <a:pt x="3672078" y="0"/>
                  </a:lnTo>
                  <a:cubicBezTo>
                    <a:pt x="3745725" y="0"/>
                    <a:pt x="3805428" y="59703"/>
                    <a:pt x="3805428" y="133350"/>
                  </a:cubicBezTo>
                  <a:cubicBezTo>
                    <a:pt x="3805428" y="206997"/>
                    <a:pt x="3745725" y="266700"/>
                    <a:pt x="3672078" y="266700"/>
                  </a:cubicBezTo>
                  <a:close/>
                </a:path>
              </a:pathLst>
            </a:custGeom>
            <a:solidFill>
              <a:schemeClr val="tx2"/>
            </a:solidFill>
            <a:ln w="12700"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5C4EE9B5-8FDD-4C14-8E74-0F02715AE664}"/>
                </a:ext>
              </a:extLst>
            </p:cNvPr>
            <p:cNvSpPr/>
            <p:nvPr/>
          </p:nvSpPr>
          <p:spPr>
            <a:xfrm>
              <a:off x="0" y="2161032"/>
              <a:ext cx="3273552" cy="266700"/>
            </a:xfrm>
            <a:custGeom>
              <a:avLst/>
              <a:gdLst>
                <a:gd name="connsiteX0" fmla="*/ 3273552 w 3273552"/>
                <a:gd name="connsiteY0" fmla="*/ 133350 h 266700"/>
                <a:gd name="connsiteX1" fmla="*/ 3140202 w 3273552"/>
                <a:gd name="connsiteY1" fmla="*/ 0 h 266700"/>
                <a:gd name="connsiteX2" fmla="*/ 0 w 3273552"/>
                <a:gd name="connsiteY2" fmla="*/ 0 h 266700"/>
                <a:gd name="connsiteX3" fmla="*/ 0 w 3273552"/>
                <a:gd name="connsiteY3" fmla="*/ 266700 h 266700"/>
                <a:gd name="connsiteX4" fmla="*/ 3140202 w 3273552"/>
                <a:gd name="connsiteY4" fmla="*/ 266700 h 266700"/>
                <a:gd name="connsiteX5" fmla="*/ 3273552 w 3273552"/>
                <a:gd name="connsiteY5" fmla="*/ 13335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3552" h="266700">
                  <a:moveTo>
                    <a:pt x="3273552" y="133350"/>
                  </a:moveTo>
                  <a:cubicBezTo>
                    <a:pt x="3273552" y="59703"/>
                    <a:pt x="3213849" y="0"/>
                    <a:pt x="3140202" y="0"/>
                  </a:cubicBezTo>
                  <a:lnTo>
                    <a:pt x="0" y="0"/>
                  </a:lnTo>
                  <a:lnTo>
                    <a:pt x="0" y="266700"/>
                  </a:lnTo>
                  <a:lnTo>
                    <a:pt x="3140202" y="266700"/>
                  </a:lnTo>
                  <a:cubicBezTo>
                    <a:pt x="3213849" y="266700"/>
                    <a:pt x="3273552" y="206997"/>
                    <a:pt x="3273552" y="133350"/>
                  </a:cubicBezTo>
                  <a:close/>
                </a:path>
              </a:pathLst>
            </a:custGeom>
            <a:solidFill>
              <a:schemeClr val="accent1"/>
            </a:solidFill>
            <a:ln w="12700" cap="flat">
              <a:noFill/>
              <a:prstDash val="solid"/>
              <a:miter/>
            </a:ln>
          </p:spPr>
          <p:txBody>
            <a:bodyPr rtlCol="0" anchor="ctr"/>
            <a:lstStyle/>
            <a:p>
              <a:endParaRPr lang="en-GB"/>
            </a:p>
          </p:txBody>
        </p:sp>
      </p:grpSp>
      <p:sp>
        <p:nvSpPr>
          <p:cNvPr id="9" name="Company string">
            <a:extLst>
              <a:ext uri="{FF2B5EF4-FFF2-40B4-BE49-F238E27FC236}">
                <a16:creationId xmlns:a16="http://schemas.microsoft.com/office/drawing/2014/main" id="{905F3556-7389-46ED-AEED-155B03E06C8D}"/>
              </a:ext>
            </a:extLst>
          </p:cNvPr>
          <p:cNvSpPr txBox="1"/>
          <p:nvPr userDrawn="1"/>
        </p:nvSpPr>
        <p:spPr>
          <a:xfrm>
            <a:off x="719137" y="3629731"/>
            <a:ext cx="10753723" cy="2507546"/>
          </a:xfrm>
          <a:prstGeom prst="rect">
            <a:avLst/>
          </a:prstGeom>
        </p:spPr>
        <p:txBody>
          <a:bodyPr vert="horz" wrap="square" lIns="0" tIns="0" rIns="0" bIns="0" rtlCol="0" anchor="b" anchorCtr="0">
            <a:spAutoFit/>
          </a:bodyPr>
          <a:lstStyle>
            <a:lvl1pPr lvl="0">
              <a:spcAft>
                <a:spcPts val="2400"/>
              </a:spcAft>
              <a:defRPr sz="2400">
                <a:latin typeface="+mj-lt"/>
              </a:defRPr>
            </a:lvl1pPr>
            <a:lvl2pPr marL="0" lvl="1" indent="0">
              <a:lnSpc>
                <a:spcPct val="120000"/>
              </a:lnSpc>
              <a:spcBef>
                <a:spcPts val="600"/>
              </a:spcBef>
              <a:buNone/>
              <a:defRPr sz="1400" i="1">
                <a:latin typeface="+mj-lt"/>
              </a:defRPr>
            </a:lvl2pPr>
            <a:lvl3pPr marL="0" lvl="2" indent="0">
              <a:lnSpc>
                <a:spcPct val="120000"/>
              </a:lnSpc>
              <a:spcBef>
                <a:spcPts val="600"/>
              </a:spcBef>
              <a:buNone/>
              <a:defRPr sz="1400" i="1">
                <a:latin typeface="+mj-lt"/>
              </a:defRPr>
            </a:lvl3pPr>
            <a:lvl4pPr marL="0" lvl="3" indent="0">
              <a:lnSpc>
                <a:spcPct val="120000"/>
              </a:lnSpc>
              <a:spcBef>
                <a:spcPts val="600"/>
              </a:spcBef>
              <a:buNone/>
              <a:defRPr sz="1400" i="1">
                <a:latin typeface="+mj-lt"/>
              </a:defRPr>
            </a:lvl4pPr>
            <a:lvl5pPr marL="0" lvl="4" indent="0">
              <a:lnSpc>
                <a:spcPct val="120000"/>
              </a:lnSpc>
              <a:spcBef>
                <a:spcPts val="600"/>
              </a:spcBef>
              <a:buFont typeface="Arial" panose="020B0604020202020204" pitchFamily="34" charset="0"/>
              <a:buNone/>
              <a:defRPr sz="1400" i="1">
                <a:latin typeface="+mj-lt"/>
              </a:defRPr>
            </a:lvl5pPr>
            <a:lvl6pPr marL="0" lvl="5" indent="0">
              <a:lnSpc>
                <a:spcPct val="120000"/>
              </a:lnSpc>
              <a:spcBef>
                <a:spcPts val="600"/>
              </a:spcBef>
              <a:buFont typeface="Arial" panose="020B0604020202020204" pitchFamily="34" charset="0"/>
              <a:buNone/>
              <a:defRPr sz="1400" i="1">
                <a:latin typeface="+mj-lt"/>
              </a:defRPr>
            </a:lvl6pPr>
            <a:lvl7pPr lvl="6">
              <a:lnSpc>
                <a:spcPct val="120000"/>
              </a:lnSpc>
              <a:spcBef>
                <a:spcPts val="600"/>
              </a:spcBef>
              <a:buFont typeface="Arial" panose="020B0604020202020204" pitchFamily="34" charset="0"/>
              <a:defRPr sz="1400" i="1"/>
            </a:lvl7pPr>
            <a:lvl8pPr lvl="7">
              <a:lnSpc>
                <a:spcPct val="120000"/>
              </a:lnSpc>
              <a:spcBef>
                <a:spcPts val="600"/>
              </a:spcBef>
              <a:defRPr sz="1400" i="1">
                <a:solidFill>
                  <a:schemeClr val="tx1"/>
                </a:solidFill>
              </a:defRPr>
            </a:lvl8pPr>
            <a:lvl9pPr lvl="8">
              <a:lnSpc>
                <a:spcPct val="120000"/>
              </a:lnSpc>
              <a:spcBef>
                <a:spcPts val="600"/>
              </a:spcBef>
              <a:defRPr sz="1400" i="1"/>
            </a:lvl9pPr>
          </a:lstStyle>
          <a:p>
            <a:pPr lvl="0">
              <a:spcAft>
                <a:spcPts val="1800"/>
              </a:spcAft>
            </a:pPr>
            <a:r>
              <a:rPr lang="fi-FI" altLang="zh-CN" i="0"/>
              <a:t>twobirds.com</a:t>
            </a:r>
          </a:p>
          <a:p>
            <a:pPr lvl="1">
              <a:spcAft>
                <a:spcPts val="1800"/>
              </a:spcAft>
            </a:pPr>
            <a:r>
              <a:rPr lang="zh-CN" altLang="fi-FI" i="0"/>
              <a:t>阿姆斯特丹 </a:t>
            </a:r>
            <a:r>
              <a:rPr lang="zh-CN" altLang="fi-FI" i="0">
                <a:solidFill>
                  <a:schemeClr val="dk2"/>
                </a:solidFill>
              </a:rPr>
              <a:t>● </a:t>
            </a:r>
            <a:r>
              <a:rPr lang="zh-CN" altLang="fi-FI" i="0"/>
              <a:t>阿布扎比 </a:t>
            </a:r>
            <a:r>
              <a:rPr lang="zh-CN" altLang="fi-FI" i="0">
                <a:solidFill>
                  <a:schemeClr val="dk2"/>
                </a:solidFill>
              </a:rPr>
              <a:t>● </a:t>
            </a:r>
            <a:r>
              <a:rPr lang="zh-CN" altLang="fi-FI" i="0"/>
              <a:t>北京 </a:t>
            </a:r>
            <a:r>
              <a:rPr lang="zh-CN" altLang="fi-FI" i="0">
                <a:solidFill>
                  <a:schemeClr val="dk2"/>
                </a:solidFill>
              </a:rPr>
              <a:t>● </a:t>
            </a:r>
            <a:r>
              <a:rPr lang="zh-CN" altLang="fi-FI" i="0"/>
              <a:t>布拉迪斯拉发 </a:t>
            </a:r>
            <a:r>
              <a:rPr lang="zh-CN" altLang="fi-FI" i="0">
                <a:solidFill>
                  <a:schemeClr val="dk2"/>
                </a:solidFill>
              </a:rPr>
              <a:t>● </a:t>
            </a:r>
            <a:r>
              <a:rPr lang="zh-CN" altLang="fi-FI" i="0"/>
              <a:t>布鲁塞尔 </a:t>
            </a:r>
            <a:r>
              <a:rPr lang="zh-CN" altLang="fi-FI" i="0">
                <a:solidFill>
                  <a:schemeClr val="dk2"/>
                </a:solidFill>
              </a:rPr>
              <a:t>● </a:t>
            </a:r>
            <a:r>
              <a:rPr lang="zh-CN" altLang="fi-FI" i="0"/>
              <a:t>布达佩斯 </a:t>
            </a:r>
            <a:r>
              <a:rPr lang="zh-CN" altLang="fi-FI" i="0">
                <a:solidFill>
                  <a:schemeClr val="dk2"/>
                </a:solidFill>
              </a:rPr>
              <a:t>● </a:t>
            </a:r>
            <a:r>
              <a:rPr lang="zh-CN" altLang="fi-FI" i="0"/>
              <a:t>卡萨布兰卡 </a:t>
            </a:r>
            <a:r>
              <a:rPr lang="zh-CN" altLang="fi-FI" i="0">
                <a:solidFill>
                  <a:schemeClr val="dk2"/>
                </a:solidFill>
              </a:rPr>
              <a:t>● </a:t>
            </a:r>
            <a:r>
              <a:rPr lang="zh-CN" altLang="fi-FI" i="0"/>
              <a:t>哥本哈根 </a:t>
            </a:r>
            <a:r>
              <a:rPr lang="zh-CN" altLang="fi-FI" i="0">
                <a:solidFill>
                  <a:schemeClr val="dk2"/>
                </a:solidFill>
              </a:rPr>
              <a:t>● </a:t>
            </a:r>
            <a:r>
              <a:rPr lang="zh-CN" altLang="fi-FI" i="0"/>
              <a:t>迪拜 </a:t>
            </a:r>
            <a:r>
              <a:rPr lang="zh-CN" altLang="fi-FI" i="0">
                <a:solidFill>
                  <a:schemeClr val="dk2"/>
                </a:solidFill>
              </a:rPr>
              <a:t>● </a:t>
            </a:r>
            <a:r>
              <a:rPr lang="zh-CN" altLang="fi-FI" i="0"/>
              <a:t>都柏林 </a:t>
            </a:r>
            <a:r>
              <a:rPr lang="zh-CN" altLang="fi-FI" i="0">
                <a:solidFill>
                  <a:schemeClr val="dk2"/>
                </a:solidFill>
              </a:rPr>
              <a:t>● </a:t>
            </a:r>
            <a:r>
              <a:rPr lang="zh-CN" altLang="fi-FI" i="0"/>
              <a:t>杜塞尔多夫 </a:t>
            </a:r>
            <a:br>
              <a:rPr lang="zh-CN" altLang="fi-FI" i="0"/>
            </a:br>
            <a:r>
              <a:rPr lang="zh-CN" altLang="fi-FI" i="0">
                <a:solidFill>
                  <a:schemeClr val="dk2"/>
                </a:solidFill>
              </a:rPr>
              <a:t>● </a:t>
            </a:r>
            <a:r>
              <a:rPr lang="zh-CN" altLang="fi-FI" i="0"/>
              <a:t>法兰克福 </a:t>
            </a:r>
            <a:r>
              <a:rPr lang="zh-CN" altLang="fi-FI" i="0">
                <a:solidFill>
                  <a:schemeClr val="dk2"/>
                </a:solidFill>
              </a:rPr>
              <a:t>● </a:t>
            </a:r>
            <a:r>
              <a:rPr lang="zh-CN" altLang="fi-FI" i="0"/>
              <a:t>海牙 </a:t>
            </a:r>
            <a:r>
              <a:rPr lang="zh-CN" altLang="fi-FI" i="0">
                <a:solidFill>
                  <a:schemeClr val="dk2"/>
                </a:solidFill>
              </a:rPr>
              <a:t>● </a:t>
            </a:r>
            <a:r>
              <a:rPr lang="zh-CN" altLang="fi-FI" i="0"/>
              <a:t>汉堡 </a:t>
            </a:r>
            <a:r>
              <a:rPr lang="zh-CN" altLang="fi-FI" i="0">
                <a:solidFill>
                  <a:schemeClr val="dk2"/>
                </a:solidFill>
              </a:rPr>
              <a:t>● </a:t>
            </a:r>
            <a:r>
              <a:rPr lang="zh-CN" altLang="fi-FI" i="0"/>
              <a:t>赫尔辛基 </a:t>
            </a:r>
            <a:r>
              <a:rPr lang="zh-CN" altLang="fi-FI" i="0">
                <a:solidFill>
                  <a:schemeClr val="dk2"/>
                </a:solidFill>
              </a:rPr>
              <a:t>● </a:t>
            </a:r>
            <a:r>
              <a:rPr lang="zh-CN" altLang="fi-FI" i="0"/>
              <a:t>香港 </a:t>
            </a:r>
            <a:r>
              <a:rPr lang="zh-CN" altLang="fi-FI" i="0">
                <a:solidFill>
                  <a:schemeClr val="dk2"/>
                </a:solidFill>
              </a:rPr>
              <a:t>● </a:t>
            </a:r>
            <a:r>
              <a:rPr lang="zh-CN" altLang="fi-FI" i="0"/>
              <a:t>伦敦 </a:t>
            </a:r>
            <a:r>
              <a:rPr lang="zh-CN" altLang="fi-FI" i="0">
                <a:solidFill>
                  <a:schemeClr val="dk2"/>
                </a:solidFill>
              </a:rPr>
              <a:t>● </a:t>
            </a:r>
            <a:r>
              <a:rPr lang="zh-CN" altLang="fi-FI" i="0"/>
              <a:t>卢森堡 </a:t>
            </a:r>
            <a:r>
              <a:rPr lang="zh-CN" altLang="fi-FI" i="0">
                <a:solidFill>
                  <a:schemeClr val="dk2"/>
                </a:solidFill>
              </a:rPr>
              <a:t>● </a:t>
            </a:r>
            <a:r>
              <a:rPr lang="zh-CN" altLang="fi-FI" i="0"/>
              <a:t>里昂 </a:t>
            </a:r>
            <a:r>
              <a:rPr lang="zh-CN" altLang="fi-FI" i="0">
                <a:solidFill>
                  <a:schemeClr val="dk2"/>
                </a:solidFill>
              </a:rPr>
              <a:t>● </a:t>
            </a:r>
            <a:r>
              <a:rPr lang="zh-CN" altLang="fi-FI" i="0"/>
              <a:t>马德里 </a:t>
            </a:r>
            <a:r>
              <a:rPr lang="zh-CN" altLang="fi-FI" i="0">
                <a:solidFill>
                  <a:schemeClr val="dk2"/>
                </a:solidFill>
              </a:rPr>
              <a:t>● </a:t>
            </a:r>
            <a:r>
              <a:rPr lang="zh-CN" altLang="fi-FI" i="0"/>
              <a:t>米兰 </a:t>
            </a:r>
            <a:r>
              <a:rPr lang="zh-CN" altLang="fi-FI" i="0">
                <a:solidFill>
                  <a:schemeClr val="dk2"/>
                </a:solidFill>
              </a:rPr>
              <a:t>● </a:t>
            </a:r>
            <a:r>
              <a:rPr lang="zh-CN" altLang="fi-FI" i="0"/>
              <a:t>慕尼黑 </a:t>
            </a:r>
            <a:r>
              <a:rPr lang="zh-CN" altLang="fi-FI" i="0">
                <a:solidFill>
                  <a:schemeClr val="dk2"/>
                </a:solidFill>
              </a:rPr>
              <a:t>● </a:t>
            </a:r>
            <a:r>
              <a:rPr lang="zh-CN" altLang="fi-FI" i="0"/>
              <a:t>巴黎 </a:t>
            </a:r>
            <a:r>
              <a:rPr lang="zh-CN" altLang="fi-FI" i="0">
                <a:solidFill>
                  <a:schemeClr val="dk2"/>
                </a:solidFill>
              </a:rPr>
              <a:t>● </a:t>
            </a:r>
            <a:r>
              <a:rPr lang="zh-CN" altLang="fi-FI" i="0"/>
              <a:t>布拉格 </a:t>
            </a:r>
            <a:r>
              <a:rPr lang="zh-CN" altLang="fi-FI" i="0">
                <a:solidFill>
                  <a:schemeClr val="dk2"/>
                </a:solidFill>
              </a:rPr>
              <a:t>● </a:t>
            </a:r>
            <a:r>
              <a:rPr lang="zh-CN" altLang="fi-FI" i="0"/>
              <a:t>罗马</a:t>
            </a:r>
            <a:br>
              <a:rPr lang="zh-CN" altLang="fi-FI" i="0"/>
            </a:br>
            <a:r>
              <a:rPr lang="zh-CN" altLang="fi-FI" i="0">
                <a:solidFill>
                  <a:schemeClr val="dk2"/>
                </a:solidFill>
              </a:rPr>
              <a:t>● </a:t>
            </a:r>
            <a:r>
              <a:rPr lang="zh-CN" altLang="fi-FI" i="0"/>
              <a:t>旧金山 </a:t>
            </a:r>
            <a:r>
              <a:rPr lang="zh-CN" altLang="fi-FI" i="0">
                <a:solidFill>
                  <a:schemeClr val="dk2"/>
                </a:solidFill>
              </a:rPr>
              <a:t>● </a:t>
            </a:r>
            <a:r>
              <a:rPr lang="zh-CN" altLang="fi-FI" i="0"/>
              <a:t>上海 </a:t>
            </a:r>
            <a:r>
              <a:rPr lang="zh-CN" altLang="fi-FI" i="0">
                <a:solidFill>
                  <a:schemeClr val="dk2"/>
                </a:solidFill>
              </a:rPr>
              <a:t>● </a:t>
            </a:r>
            <a:r>
              <a:rPr lang="zh-CN" altLang="fi-FI" i="0"/>
              <a:t>新加坡 </a:t>
            </a:r>
            <a:r>
              <a:rPr lang="zh-CN" altLang="fi-FI" i="0">
                <a:solidFill>
                  <a:schemeClr val="dk2"/>
                </a:solidFill>
              </a:rPr>
              <a:t>● </a:t>
            </a:r>
            <a:r>
              <a:rPr lang="zh-CN" altLang="fi-FI" i="0"/>
              <a:t>斯德哥尔摩 </a:t>
            </a:r>
            <a:r>
              <a:rPr lang="zh-CN" altLang="fi-FI" i="0">
                <a:solidFill>
                  <a:schemeClr val="dk2"/>
                </a:solidFill>
              </a:rPr>
              <a:t>● </a:t>
            </a:r>
            <a:r>
              <a:rPr lang="zh-CN" altLang="fi-FI" i="0"/>
              <a:t>悉尼 </a:t>
            </a:r>
            <a:r>
              <a:rPr lang="zh-CN" altLang="fi-FI" i="0">
                <a:solidFill>
                  <a:schemeClr val="dk2"/>
                </a:solidFill>
              </a:rPr>
              <a:t>● </a:t>
            </a:r>
            <a:r>
              <a:rPr lang="zh-CN" altLang="fi-FI" i="0"/>
              <a:t>华沙</a:t>
            </a:r>
          </a:p>
          <a:p>
            <a:pPr lvl="2">
              <a:lnSpc>
                <a:spcPct val="100000"/>
              </a:lnSpc>
              <a:spcBef>
                <a:spcPts val="300"/>
              </a:spcBef>
              <a:spcAft>
                <a:spcPts val="0"/>
              </a:spcAft>
            </a:pPr>
            <a:r>
              <a:rPr lang="zh-CN" altLang="fi-FI" sz="800" i="0" kern="800" spc="-10">
                <a:latin typeface="+mn-lt"/>
              </a:rPr>
              <a:t>本文件中提供的技术、法律或专业事项相关信息仅供参考，不构成法律或专业意见。如有任何具体法律问题或事项，请咨询具有适当资质的律师。鸿鹄对于本文件所含该等信息概不负责，并且对于该等信息不承担任何法律责任。</a:t>
            </a:r>
          </a:p>
          <a:p>
            <a:pPr lvl="2">
              <a:lnSpc>
                <a:spcPct val="100000"/>
              </a:lnSpc>
              <a:spcBef>
                <a:spcPts val="300"/>
              </a:spcBef>
              <a:spcAft>
                <a:spcPts val="0"/>
              </a:spcAft>
            </a:pPr>
            <a:r>
              <a:rPr lang="zh-CN" altLang="fi-FI" sz="800" i="0" kern="800" spc="-10">
                <a:latin typeface="+mn-lt"/>
              </a:rPr>
              <a:t>本文件属于保密信息。除非另有说明，鸿鹄对本文件及其内容拥有版权。不得以任何实质形式出版、传播、摘录、再使用或复制本文件的任何部分。</a:t>
            </a:r>
          </a:p>
          <a:p>
            <a:pPr lvl="2">
              <a:lnSpc>
                <a:spcPct val="100000"/>
              </a:lnSpc>
              <a:spcBef>
                <a:spcPts val="300"/>
              </a:spcBef>
              <a:spcAft>
                <a:spcPts val="0"/>
              </a:spcAft>
            </a:pPr>
            <a:r>
              <a:rPr lang="zh-CN" altLang="fi-FI" sz="800" i="0" kern="800" spc="-10">
                <a:latin typeface="+mn-lt"/>
              </a:rPr>
              <a:t>鸿鹄律师事务所是一家国际律师事务所，由鸿鹄律师事务所及其附属和关联实体组成。</a:t>
            </a:r>
          </a:p>
          <a:p>
            <a:pPr lvl="2">
              <a:lnSpc>
                <a:spcPct val="100000"/>
              </a:lnSpc>
              <a:spcBef>
                <a:spcPts val="300"/>
              </a:spcBef>
              <a:spcAft>
                <a:spcPts val="0"/>
              </a:spcAft>
            </a:pPr>
            <a:r>
              <a:rPr lang="zh-CN" altLang="fi-FI" sz="800" i="0" kern="800" spc="-10">
                <a:latin typeface="+mn-lt"/>
              </a:rPr>
              <a:t>鸿鹄律师事务所是在英格兰和威尔士注册的一家有限责任合伙企业，注册号</a:t>
            </a:r>
            <a:r>
              <a:rPr lang="fi-FI" altLang="zh-CN" sz="800" i="0" kern="800" spc="-10">
                <a:latin typeface="+mn-lt"/>
              </a:rPr>
              <a:t>OC340318</a:t>
            </a:r>
            <a:r>
              <a:rPr lang="zh-CN" altLang="fi-FI" sz="800" i="0" kern="800" spc="-10">
                <a:latin typeface="+mn-lt"/>
              </a:rPr>
              <a:t>，经律师监管局 </a:t>
            </a:r>
            <a:r>
              <a:rPr lang="fi-FI" altLang="zh-CN" sz="800" i="0" kern="800" spc="-10">
                <a:latin typeface="+mn-lt"/>
              </a:rPr>
              <a:t>(Solicitors Regulation Authority) </a:t>
            </a:r>
            <a:r>
              <a:rPr lang="zh-CN" altLang="fi-FI" sz="800" i="0" kern="800" spc="-10">
                <a:latin typeface="+mn-lt"/>
              </a:rPr>
              <a:t>授权并受其监管，编号为</a:t>
            </a:r>
            <a:r>
              <a:rPr lang="fi-FI" altLang="zh-CN" sz="800" i="0" kern="800" spc="-10">
                <a:latin typeface="+mn-lt"/>
              </a:rPr>
              <a:t>497264</a:t>
            </a:r>
            <a:r>
              <a:rPr lang="zh-CN" altLang="fi-FI" sz="800" i="0" kern="800" spc="-10">
                <a:latin typeface="+mn-lt"/>
              </a:rPr>
              <a:t>，注册办公室及主要营业地位于伦敦</a:t>
            </a:r>
            <a:r>
              <a:rPr lang="fi-FI" altLang="zh-CN" sz="800" i="0" kern="800" spc="-10">
                <a:latin typeface="+mn-lt"/>
              </a:rPr>
              <a:t>12 New Fetter Lane</a:t>
            </a:r>
            <a:r>
              <a:rPr lang="zh-CN" altLang="fi-FI" sz="800" i="0" kern="800" spc="-10">
                <a:latin typeface="+mn-lt"/>
              </a:rPr>
              <a:t>，</a:t>
            </a:r>
            <a:r>
              <a:rPr lang="fi-FI" altLang="zh-CN" sz="800" i="0" kern="800" spc="-10">
                <a:latin typeface="+mn-lt"/>
              </a:rPr>
              <a:t>EC4A1JP</a:t>
            </a:r>
            <a:r>
              <a:rPr lang="zh-CN" altLang="fi-FI" sz="800" i="0" kern="800" spc="-10">
                <a:latin typeface="+mn-lt"/>
              </a:rPr>
              <a:t>。有关鸿鹄律师事务所成员和任何经任命担任合伙人的非成员的名单及其各自的专业资质，均可在上述地址查阅。</a:t>
            </a:r>
            <a:endParaRPr lang="en-GB" sz="800" i="0" kern="800" spc="-10" baseline="0" dirty="0">
              <a:latin typeface="+mn-lt"/>
            </a:endParaRPr>
          </a:p>
        </p:txBody>
      </p:sp>
    </p:spTree>
    <p:extLst>
      <p:ext uri="{BB962C8B-B14F-4D97-AF65-F5344CB8AC3E}">
        <p14:creationId xmlns:p14="http://schemas.microsoft.com/office/powerpoint/2010/main" val="180745931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Backpage 3">
    <p:bg>
      <p:bgPr>
        <a:solidFill>
          <a:schemeClr val="accent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A81225-6A2B-4B54-93B4-0385442303F5}"/>
              </a:ext>
            </a:extLst>
          </p:cNvPr>
          <p:cNvSpPr>
            <a:spLocks noGrp="1"/>
          </p:cNvSpPr>
          <p:nvPr>
            <p:ph type="ctrTitle"/>
          </p:nvPr>
        </p:nvSpPr>
        <p:spPr>
          <a:xfrm>
            <a:off x="6916737" y="1944932"/>
            <a:ext cx="4533899" cy="1176684"/>
          </a:xfrm>
        </p:spPr>
        <p:txBody>
          <a:bodyPr lIns="0" rIns="0" anchor="t" anchorCtr="0">
            <a:noAutofit/>
          </a:bodyPr>
          <a:lstStyle>
            <a:lvl1pPr algn="l">
              <a:defRPr sz="4800" i="0">
                <a:solidFill>
                  <a:schemeClr val="tx2"/>
                </a:solidFill>
              </a:defRPr>
            </a:lvl1pPr>
            <a:lvl2pPr algn="l">
              <a:defRPr sz="6000" i="0">
                <a:solidFill>
                  <a:schemeClr val="tx1"/>
                </a:solidFill>
              </a:defRPr>
            </a:lvl2pPr>
            <a:lvl3pPr algn="l">
              <a:defRPr sz="6000" i="0">
                <a:solidFill>
                  <a:schemeClr val="bg1"/>
                </a:solidFill>
              </a:defRPr>
            </a:lvl3pPr>
            <a:lvl4pPr algn="l">
              <a:defRPr sz="5400" i="0">
                <a:solidFill>
                  <a:schemeClr val="tx2"/>
                </a:solidFill>
              </a:defRPr>
            </a:lvl4pPr>
            <a:lvl5pPr algn="l">
              <a:defRPr sz="5400" i="0">
                <a:solidFill>
                  <a:schemeClr val="tx1"/>
                </a:solidFill>
              </a:defRPr>
            </a:lvl5pPr>
            <a:lvl6pPr algn="l">
              <a:defRPr sz="5400" i="0">
                <a:solidFill>
                  <a:schemeClr val="bg1"/>
                </a:solidFill>
              </a:defRPr>
            </a:lvl6pPr>
            <a:lvl7pPr algn="l">
              <a:defRPr sz="4800" i="0">
                <a:solidFill>
                  <a:schemeClr val="tx2"/>
                </a:solidFill>
              </a:defRPr>
            </a:lvl7pPr>
            <a:lvl8pPr algn="l">
              <a:defRPr sz="4800" i="0">
                <a:solidFill>
                  <a:schemeClr val="tx1"/>
                </a:solidFill>
              </a:defRPr>
            </a:lvl8pPr>
            <a:lvl9pPr algn="l">
              <a:defRPr sz="4800" i="0">
                <a:solidFill>
                  <a:schemeClr val="bg1"/>
                </a:solidFill>
              </a:defRPr>
            </a:lvl9pPr>
          </a:lstStyle>
          <a:p>
            <a:pPr lvl="0"/>
            <a:r>
              <a:rPr lang="en-US"/>
              <a:t>Click to edit Master title style</a:t>
            </a:r>
            <a:endParaRPr lang="en-GB" dirty="0"/>
          </a:p>
        </p:txBody>
      </p:sp>
      <p:grpSp>
        <p:nvGrpSpPr>
          <p:cNvPr id="16" name="Group 15">
            <a:extLst>
              <a:ext uri="{FF2B5EF4-FFF2-40B4-BE49-F238E27FC236}">
                <a16:creationId xmlns:a16="http://schemas.microsoft.com/office/drawing/2014/main" id="{7BAFEFDD-A1D5-4013-90A4-2006FC450FC1}"/>
              </a:ext>
            </a:extLst>
          </p:cNvPr>
          <p:cNvGrpSpPr/>
          <p:nvPr userDrawn="1"/>
        </p:nvGrpSpPr>
        <p:grpSpPr>
          <a:xfrm>
            <a:off x="0" y="2161032"/>
            <a:ext cx="6006209" cy="266700"/>
            <a:chOff x="0" y="2161032"/>
            <a:chExt cx="6006209" cy="266700"/>
          </a:xfrm>
        </p:grpSpPr>
        <p:sp>
          <p:nvSpPr>
            <p:cNvPr id="17" name="Freeform: Shape 16">
              <a:extLst>
                <a:ext uri="{FF2B5EF4-FFF2-40B4-BE49-F238E27FC236}">
                  <a16:creationId xmlns:a16="http://schemas.microsoft.com/office/drawing/2014/main" id="{1F665660-FED0-4C90-B50D-D1B1550B3901}"/>
                </a:ext>
              </a:extLst>
            </p:cNvPr>
            <p:cNvSpPr/>
            <p:nvPr/>
          </p:nvSpPr>
          <p:spPr>
            <a:xfrm>
              <a:off x="2200782" y="2161032"/>
              <a:ext cx="3805427" cy="266700"/>
            </a:xfrm>
            <a:custGeom>
              <a:avLst/>
              <a:gdLst>
                <a:gd name="connsiteX0" fmla="*/ 3672078 w 3805427"/>
                <a:gd name="connsiteY0" fmla="*/ 266700 h 266700"/>
                <a:gd name="connsiteX1" fmla="*/ 133350 w 3805427"/>
                <a:gd name="connsiteY1" fmla="*/ 266700 h 266700"/>
                <a:gd name="connsiteX2" fmla="*/ 0 w 3805427"/>
                <a:gd name="connsiteY2" fmla="*/ 133350 h 266700"/>
                <a:gd name="connsiteX3" fmla="*/ 133350 w 3805427"/>
                <a:gd name="connsiteY3" fmla="*/ 0 h 266700"/>
                <a:gd name="connsiteX4" fmla="*/ 3672078 w 3805427"/>
                <a:gd name="connsiteY4" fmla="*/ 0 h 266700"/>
                <a:gd name="connsiteX5" fmla="*/ 3805428 w 3805427"/>
                <a:gd name="connsiteY5" fmla="*/ 133350 h 266700"/>
                <a:gd name="connsiteX6" fmla="*/ 3672078 w 3805427"/>
                <a:gd name="connsiteY6" fmla="*/ 26670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5427" h="266700">
                  <a:moveTo>
                    <a:pt x="3672078" y="266700"/>
                  </a:moveTo>
                  <a:lnTo>
                    <a:pt x="133350" y="266700"/>
                  </a:lnTo>
                  <a:cubicBezTo>
                    <a:pt x="59703" y="266700"/>
                    <a:pt x="0" y="206997"/>
                    <a:pt x="0" y="133350"/>
                  </a:cubicBezTo>
                  <a:cubicBezTo>
                    <a:pt x="0" y="59703"/>
                    <a:pt x="59703" y="0"/>
                    <a:pt x="133350" y="0"/>
                  </a:cubicBezTo>
                  <a:lnTo>
                    <a:pt x="3672078" y="0"/>
                  </a:lnTo>
                  <a:cubicBezTo>
                    <a:pt x="3745725" y="0"/>
                    <a:pt x="3805428" y="59703"/>
                    <a:pt x="3805428" y="133350"/>
                  </a:cubicBezTo>
                  <a:cubicBezTo>
                    <a:pt x="3805428" y="206997"/>
                    <a:pt x="3745725" y="266700"/>
                    <a:pt x="3672078" y="266700"/>
                  </a:cubicBezTo>
                  <a:close/>
                </a:path>
              </a:pathLst>
            </a:custGeom>
            <a:solidFill>
              <a:schemeClr val="tx2"/>
            </a:solidFill>
            <a:ln w="12700"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FF6FE938-8548-4B30-8E6B-1BCF3E2AF45A}"/>
                </a:ext>
              </a:extLst>
            </p:cNvPr>
            <p:cNvSpPr/>
            <p:nvPr/>
          </p:nvSpPr>
          <p:spPr>
            <a:xfrm>
              <a:off x="0" y="2161032"/>
              <a:ext cx="3273552" cy="266700"/>
            </a:xfrm>
            <a:custGeom>
              <a:avLst/>
              <a:gdLst>
                <a:gd name="connsiteX0" fmla="*/ 3273552 w 3273552"/>
                <a:gd name="connsiteY0" fmla="*/ 133350 h 266700"/>
                <a:gd name="connsiteX1" fmla="*/ 3140202 w 3273552"/>
                <a:gd name="connsiteY1" fmla="*/ 0 h 266700"/>
                <a:gd name="connsiteX2" fmla="*/ 0 w 3273552"/>
                <a:gd name="connsiteY2" fmla="*/ 0 h 266700"/>
                <a:gd name="connsiteX3" fmla="*/ 0 w 3273552"/>
                <a:gd name="connsiteY3" fmla="*/ 266700 h 266700"/>
                <a:gd name="connsiteX4" fmla="*/ 3140202 w 3273552"/>
                <a:gd name="connsiteY4" fmla="*/ 266700 h 266700"/>
                <a:gd name="connsiteX5" fmla="*/ 3273552 w 3273552"/>
                <a:gd name="connsiteY5" fmla="*/ 13335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3552" h="266700">
                  <a:moveTo>
                    <a:pt x="3273552" y="133350"/>
                  </a:moveTo>
                  <a:cubicBezTo>
                    <a:pt x="3273552" y="59703"/>
                    <a:pt x="3213849" y="0"/>
                    <a:pt x="3140202" y="0"/>
                  </a:cubicBezTo>
                  <a:lnTo>
                    <a:pt x="0" y="0"/>
                  </a:lnTo>
                  <a:lnTo>
                    <a:pt x="0" y="266700"/>
                  </a:lnTo>
                  <a:lnTo>
                    <a:pt x="3140202" y="266700"/>
                  </a:lnTo>
                  <a:cubicBezTo>
                    <a:pt x="3213849" y="266700"/>
                    <a:pt x="3273552" y="206997"/>
                    <a:pt x="3273552" y="133350"/>
                  </a:cubicBezTo>
                  <a:close/>
                </a:path>
              </a:pathLst>
            </a:custGeom>
            <a:solidFill>
              <a:schemeClr val="accent5"/>
            </a:solidFill>
            <a:ln w="12700" cap="flat">
              <a:noFill/>
              <a:prstDash val="solid"/>
              <a:miter/>
            </a:ln>
          </p:spPr>
          <p:txBody>
            <a:bodyPr rtlCol="0" anchor="ctr"/>
            <a:lstStyle/>
            <a:p>
              <a:endParaRPr lang="en-GB"/>
            </a:p>
          </p:txBody>
        </p:sp>
      </p:grpSp>
      <p:sp>
        <p:nvSpPr>
          <p:cNvPr id="9" name="Company string">
            <a:extLst>
              <a:ext uri="{FF2B5EF4-FFF2-40B4-BE49-F238E27FC236}">
                <a16:creationId xmlns:a16="http://schemas.microsoft.com/office/drawing/2014/main" id="{E73F8F8D-150C-4348-B806-6A5FA2941AEE}"/>
              </a:ext>
            </a:extLst>
          </p:cNvPr>
          <p:cNvSpPr txBox="1"/>
          <p:nvPr userDrawn="1"/>
        </p:nvSpPr>
        <p:spPr>
          <a:xfrm>
            <a:off x="719137" y="3629731"/>
            <a:ext cx="10753723" cy="2507546"/>
          </a:xfrm>
          <a:prstGeom prst="rect">
            <a:avLst/>
          </a:prstGeom>
        </p:spPr>
        <p:txBody>
          <a:bodyPr vert="horz" wrap="square" lIns="0" tIns="0" rIns="0" bIns="0" rtlCol="0" anchor="b" anchorCtr="0">
            <a:spAutoFit/>
          </a:bodyPr>
          <a:lstStyle>
            <a:lvl1pPr lvl="0">
              <a:spcAft>
                <a:spcPts val="2400"/>
              </a:spcAft>
              <a:defRPr sz="2400">
                <a:latin typeface="+mj-lt"/>
              </a:defRPr>
            </a:lvl1pPr>
            <a:lvl2pPr marL="0" lvl="1" indent="0">
              <a:lnSpc>
                <a:spcPct val="120000"/>
              </a:lnSpc>
              <a:spcBef>
                <a:spcPts val="600"/>
              </a:spcBef>
              <a:buNone/>
              <a:defRPr sz="1400" i="1">
                <a:latin typeface="+mj-lt"/>
              </a:defRPr>
            </a:lvl2pPr>
            <a:lvl3pPr marL="0" lvl="2" indent="0">
              <a:lnSpc>
                <a:spcPct val="120000"/>
              </a:lnSpc>
              <a:spcBef>
                <a:spcPts val="600"/>
              </a:spcBef>
              <a:buNone/>
              <a:defRPr sz="1400" i="1">
                <a:latin typeface="+mj-lt"/>
              </a:defRPr>
            </a:lvl3pPr>
            <a:lvl4pPr marL="0" lvl="3" indent="0">
              <a:lnSpc>
                <a:spcPct val="120000"/>
              </a:lnSpc>
              <a:spcBef>
                <a:spcPts val="600"/>
              </a:spcBef>
              <a:buNone/>
              <a:defRPr sz="1400" i="1">
                <a:latin typeface="+mj-lt"/>
              </a:defRPr>
            </a:lvl4pPr>
            <a:lvl5pPr marL="0" lvl="4" indent="0">
              <a:lnSpc>
                <a:spcPct val="120000"/>
              </a:lnSpc>
              <a:spcBef>
                <a:spcPts val="600"/>
              </a:spcBef>
              <a:buFont typeface="Arial" panose="020B0604020202020204" pitchFamily="34" charset="0"/>
              <a:buNone/>
              <a:defRPr sz="1400" i="1">
                <a:latin typeface="+mj-lt"/>
              </a:defRPr>
            </a:lvl5pPr>
            <a:lvl6pPr marL="0" lvl="5" indent="0">
              <a:lnSpc>
                <a:spcPct val="120000"/>
              </a:lnSpc>
              <a:spcBef>
                <a:spcPts val="600"/>
              </a:spcBef>
              <a:buFont typeface="Arial" panose="020B0604020202020204" pitchFamily="34" charset="0"/>
              <a:buNone/>
              <a:defRPr sz="1400" i="1">
                <a:latin typeface="+mj-lt"/>
              </a:defRPr>
            </a:lvl6pPr>
            <a:lvl7pPr lvl="6">
              <a:lnSpc>
                <a:spcPct val="120000"/>
              </a:lnSpc>
              <a:spcBef>
                <a:spcPts val="600"/>
              </a:spcBef>
              <a:buFont typeface="Arial" panose="020B0604020202020204" pitchFamily="34" charset="0"/>
              <a:defRPr sz="1400" i="1"/>
            </a:lvl7pPr>
            <a:lvl8pPr lvl="7">
              <a:lnSpc>
                <a:spcPct val="120000"/>
              </a:lnSpc>
              <a:spcBef>
                <a:spcPts val="600"/>
              </a:spcBef>
              <a:defRPr sz="1400" i="1">
                <a:solidFill>
                  <a:schemeClr val="tx1"/>
                </a:solidFill>
              </a:defRPr>
            </a:lvl8pPr>
            <a:lvl9pPr lvl="8">
              <a:lnSpc>
                <a:spcPct val="120000"/>
              </a:lnSpc>
              <a:spcBef>
                <a:spcPts val="600"/>
              </a:spcBef>
              <a:defRPr sz="1400" i="1"/>
            </a:lvl9pPr>
          </a:lstStyle>
          <a:p>
            <a:pPr lvl="0">
              <a:spcAft>
                <a:spcPts val="1800"/>
              </a:spcAft>
            </a:pPr>
            <a:r>
              <a:rPr lang="fi-FI" altLang="zh-CN" i="0"/>
              <a:t>twobirds.com</a:t>
            </a:r>
          </a:p>
          <a:p>
            <a:pPr lvl="1">
              <a:spcAft>
                <a:spcPts val="1800"/>
              </a:spcAft>
            </a:pPr>
            <a:r>
              <a:rPr lang="zh-CN" altLang="fi-FI" i="0"/>
              <a:t>阿姆斯特丹 </a:t>
            </a:r>
            <a:r>
              <a:rPr lang="zh-CN" altLang="fi-FI" i="0">
                <a:solidFill>
                  <a:schemeClr val="dk2"/>
                </a:solidFill>
              </a:rPr>
              <a:t>● </a:t>
            </a:r>
            <a:r>
              <a:rPr lang="zh-CN" altLang="fi-FI" i="0"/>
              <a:t>阿布扎比 </a:t>
            </a:r>
            <a:r>
              <a:rPr lang="zh-CN" altLang="fi-FI" i="0">
                <a:solidFill>
                  <a:schemeClr val="dk2"/>
                </a:solidFill>
              </a:rPr>
              <a:t>● </a:t>
            </a:r>
            <a:r>
              <a:rPr lang="zh-CN" altLang="fi-FI" i="0"/>
              <a:t>北京 </a:t>
            </a:r>
            <a:r>
              <a:rPr lang="zh-CN" altLang="fi-FI" i="0">
                <a:solidFill>
                  <a:schemeClr val="dk2"/>
                </a:solidFill>
              </a:rPr>
              <a:t>● </a:t>
            </a:r>
            <a:r>
              <a:rPr lang="zh-CN" altLang="fi-FI" i="0"/>
              <a:t>布拉迪斯拉发 </a:t>
            </a:r>
            <a:r>
              <a:rPr lang="zh-CN" altLang="fi-FI" i="0">
                <a:solidFill>
                  <a:schemeClr val="dk2"/>
                </a:solidFill>
              </a:rPr>
              <a:t>● </a:t>
            </a:r>
            <a:r>
              <a:rPr lang="zh-CN" altLang="fi-FI" i="0"/>
              <a:t>布鲁塞尔 </a:t>
            </a:r>
            <a:r>
              <a:rPr lang="zh-CN" altLang="fi-FI" i="0">
                <a:solidFill>
                  <a:schemeClr val="dk2"/>
                </a:solidFill>
              </a:rPr>
              <a:t>● </a:t>
            </a:r>
            <a:r>
              <a:rPr lang="zh-CN" altLang="fi-FI" i="0"/>
              <a:t>布达佩斯 </a:t>
            </a:r>
            <a:r>
              <a:rPr lang="zh-CN" altLang="fi-FI" i="0">
                <a:solidFill>
                  <a:schemeClr val="dk2"/>
                </a:solidFill>
              </a:rPr>
              <a:t>● </a:t>
            </a:r>
            <a:r>
              <a:rPr lang="zh-CN" altLang="fi-FI" i="0"/>
              <a:t>卡萨布兰卡 </a:t>
            </a:r>
            <a:r>
              <a:rPr lang="zh-CN" altLang="fi-FI" i="0">
                <a:solidFill>
                  <a:schemeClr val="dk2"/>
                </a:solidFill>
              </a:rPr>
              <a:t>● </a:t>
            </a:r>
            <a:r>
              <a:rPr lang="zh-CN" altLang="fi-FI" i="0"/>
              <a:t>哥本哈根 </a:t>
            </a:r>
            <a:r>
              <a:rPr lang="zh-CN" altLang="fi-FI" i="0">
                <a:solidFill>
                  <a:schemeClr val="dk2"/>
                </a:solidFill>
              </a:rPr>
              <a:t>● </a:t>
            </a:r>
            <a:r>
              <a:rPr lang="zh-CN" altLang="fi-FI" i="0"/>
              <a:t>迪拜 </a:t>
            </a:r>
            <a:r>
              <a:rPr lang="zh-CN" altLang="fi-FI" i="0">
                <a:solidFill>
                  <a:schemeClr val="dk2"/>
                </a:solidFill>
              </a:rPr>
              <a:t>● </a:t>
            </a:r>
            <a:r>
              <a:rPr lang="zh-CN" altLang="fi-FI" i="0"/>
              <a:t>都柏林 </a:t>
            </a:r>
            <a:r>
              <a:rPr lang="zh-CN" altLang="fi-FI" i="0">
                <a:solidFill>
                  <a:schemeClr val="dk2"/>
                </a:solidFill>
              </a:rPr>
              <a:t>● </a:t>
            </a:r>
            <a:r>
              <a:rPr lang="zh-CN" altLang="fi-FI" i="0"/>
              <a:t>杜塞尔多夫 </a:t>
            </a:r>
            <a:br>
              <a:rPr lang="zh-CN" altLang="fi-FI" i="0"/>
            </a:br>
            <a:r>
              <a:rPr lang="zh-CN" altLang="fi-FI" i="0">
                <a:solidFill>
                  <a:schemeClr val="dk2"/>
                </a:solidFill>
              </a:rPr>
              <a:t>● </a:t>
            </a:r>
            <a:r>
              <a:rPr lang="zh-CN" altLang="fi-FI" i="0"/>
              <a:t>法兰克福 </a:t>
            </a:r>
            <a:r>
              <a:rPr lang="zh-CN" altLang="fi-FI" i="0">
                <a:solidFill>
                  <a:schemeClr val="dk2"/>
                </a:solidFill>
              </a:rPr>
              <a:t>● </a:t>
            </a:r>
            <a:r>
              <a:rPr lang="zh-CN" altLang="fi-FI" i="0"/>
              <a:t>海牙 </a:t>
            </a:r>
            <a:r>
              <a:rPr lang="zh-CN" altLang="fi-FI" i="0">
                <a:solidFill>
                  <a:schemeClr val="dk2"/>
                </a:solidFill>
              </a:rPr>
              <a:t>● </a:t>
            </a:r>
            <a:r>
              <a:rPr lang="zh-CN" altLang="fi-FI" i="0"/>
              <a:t>汉堡 </a:t>
            </a:r>
            <a:r>
              <a:rPr lang="zh-CN" altLang="fi-FI" i="0">
                <a:solidFill>
                  <a:schemeClr val="dk2"/>
                </a:solidFill>
              </a:rPr>
              <a:t>● </a:t>
            </a:r>
            <a:r>
              <a:rPr lang="zh-CN" altLang="fi-FI" i="0"/>
              <a:t>赫尔辛基 </a:t>
            </a:r>
            <a:r>
              <a:rPr lang="zh-CN" altLang="fi-FI" i="0">
                <a:solidFill>
                  <a:schemeClr val="dk2"/>
                </a:solidFill>
              </a:rPr>
              <a:t>● </a:t>
            </a:r>
            <a:r>
              <a:rPr lang="zh-CN" altLang="fi-FI" i="0"/>
              <a:t>香港 </a:t>
            </a:r>
            <a:r>
              <a:rPr lang="zh-CN" altLang="fi-FI" i="0">
                <a:solidFill>
                  <a:schemeClr val="dk2"/>
                </a:solidFill>
              </a:rPr>
              <a:t>● </a:t>
            </a:r>
            <a:r>
              <a:rPr lang="zh-CN" altLang="fi-FI" i="0"/>
              <a:t>伦敦 </a:t>
            </a:r>
            <a:r>
              <a:rPr lang="zh-CN" altLang="fi-FI" i="0">
                <a:solidFill>
                  <a:schemeClr val="dk2"/>
                </a:solidFill>
              </a:rPr>
              <a:t>● </a:t>
            </a:r>
            <a:r>
              <a:rPr lang="zh-CN" altLang="fi-FI" i="0"/>
              <a:t>卢森堡 </a:t>
            </a:r>
            <a:r>
              <a:rPr lang="zh-CN" altLang="fi-FI" i="0">
                <a:solidFill>
                  <a:schemeClr val="dk2"/>
                </a:solidFill>
              </a:rPr>
              <a:t>● </a:t>
            </a:r>
            <a:r>
              <a:rPr lang="zh-CN" altLang="fi-FI" i="0"/>
              <a:t>里昂 </a:t>
            </a:r>
            <a:r>
              <a:rPr lang="zh-CN" altLang="fi-FI" i="0">
                <a:solidFill>
                  <a:schemeClr val="dk2"/>
                </a:solidFill>
              </a:rPr>
              <a:t>● </a:t>
            </a:r>
            <a:r>
              <a:rPr lang="zh-CN" altLang="fi-FI" i="0"/>
              <a:t>马德里 </a:t>
            </a:r>
            <a:r>
              <a:rPr lang="zh-CN" altLang="fi-FI" i="0">
                <a:solidFill>
                  <a:schemeClr val="dk2"/>
                </a:solidFill>
              </a:rPr>
              <a:t>● </a:t>
            </a:r>
            <a:r>
              <a:rPr lang="zh-CN" altLang="fi-FI" i="0"/>
              <a:t>米兰 </a:t>
            </a:r>
            <a:r>
              <a:rPr lang="zh-CN" altLang="fi-FI" i="0">
                <a:solidFill>
                  <a:schemeClr val="dk2"/>
                </a:solidFill>
              </a:rPr>
              <a:t>● </a:t>
            </a:r>
            <a:r>
              <a:rPr lang="zh-CN" altLang="fi-FI" i="0"/>
              <a:t>慕尼黑 </a:t>
            </a:r>
            <a:r>
              <a:rPr lang="zh-CN" altLang="fi-FI" i="0">
                <a:solidFill>
                  <a:schemeClr val="dk2"/>
                </a:solidFill>
              </a:rPr>
              <a:t>● </a:t>
            </a:r>
            <a:r>
              <a:rPr lang="zh-CN" altLang="fi-FI" i="0"/>
              <a:t>巴黎 </a:t>
            </a:r>
            <a:r>
              <a:rPr lang="zh-CN" altLang="fi-FI" i="0">
                <a:solidFill>
                  <a:schemeClr val="dk2"/>
                </a:solidFill>
              </a:rPr>
              <a:t>● </a:t>
            </a:r>
            <a:r>
              <a:rPr lang="zh-CN" altLang="fi-FI" i="0"/>
              <a:t>布拉格 </a:t>
            </a:r>
            <a:r>
              <a:rPr lang="zh-CN" altLang="fi-FI" i="0">
                <a:solidFill>
                  <a:schemeClr val="dk2"/>
                </a:solidFill>
              </a:rPr>
              <a:t>● </a:t>
            </a:r>
            <a:r>
              <a:rPr lang="zh-CN" altLang="fi-FI" i="0"/>
              <a:t>罗马</a:t>
            </a:r>
            <a:br>
              <a:rPr lang="zh-CN" altLang="fi-FI" i="0"/>
            </a:br>
            <a:r>
              <a:rPr lang="zh-CN" altLang="fi-FI" i="0">
                <a:solidFill>
                  <a:schemeClr val="dk2"/>
                </a:solidFill>
              </a:rPr>
              <a:t>● </a:t>
            </a:r>
            <a:r>
              <a:rPr lang="zh-CN" altLang="fi-FI" i="0"/>
              <a:t>旧金山 </a:t>
            </a:r>
            <a:r>
              <a:rPr lang="zh-CN" altLang="fi-FI" i="0">
                <a:solidFill>
                  <a:schemeClr val="dk2"/>
                </a:solidFill>
              </a:rPr>
              <a:t>● </a:t>
            </a:r>
            <a:r>
              <a:rPr lang="zh-CN" altLang="fi-FI" i="0"/>
              <a:t>上海 </a:t>
            </a:r>
            <a:r>
              <a:rPr lang="zh-CN" altLang="fi-FI" i="0">
                <a:solidFill>
                  <a:schemeClr val="dk2"/>
                </a:solidFill>
              </a:rPr>
              <a:t>● </a:t>
            </a:r>
            <a:r>
              <a:rPr lang="zh-CN" altLang="fi-FI" i="0"/>
              <a:t>新加坡 </a:t>
            </a:r>
            <a:r>
              <a:rPr lang="zh-CN" altLang="fi-FI" i="0">
                <a:solidFill>
                  <a:schemeClr val="dk2"/>
                </a:solidFill>
              </a:rPr>
              <a:t>● </a:t>
            </a:r>
            <a:r>
              <a:rPr lang="zh-CN" altLang="fi-FI" i="0"/>
              <a:t>斯德哥尔摩 </a:t>
            </a:r>
            <a:r>
              <a:rPr lang="zh-CN" altLang="fi-FI" i="0">
                <a:solidFill>
                  <a:schemeClr val="dk2"/>
                </a:solidFill>
              </a:rPr>
              <a:t>● </a:t>
            </a:r>
            <a:r>
              <a:rPr lang="zh-CN" altLang="fi-FI" i="0"/>
              <a:t>悉尼 </a:t>
            </a:r>
            <a:r>
              <a:rPr lang="zh-CN" altLang="fi-FI" i="0">
                <a:solidFill>
                  <a:schemeClr val="dk2"/>
                </a:solidFill>
              </a:rPr>
              <a:t>● </a:t>
            </a:r>
            <a:r>
              <a:rPr lang="zh-CN" altLang="fi-FI" i="0"/>
              <a:t>华沙</a:t>
            </a:r>
          </a:p>
          <a:p>
            <a:pPr lvl="2">
              <a:lnSpc>
                <a:spcPct val="100000"/>
              </a:lnSpc>
              <a:spcBef>
                <a:spcPts val="300"/>
              </a:spcBef>
              <a:spcAft>
                <a:spcPts val="0"/>
              </a:spcAft>
            </a:pPr>
            <a:r>
              <a:rPr lang="zh-CN" altLang="fi-FI" sz="800" i="0" kern="800" spc="-10">
                <a:latin typeface="+mn-lt"/>
              </a:rPr>
              <a:t>本文件中提供的技术、法律或专业事项相关信息仅供参考，不构成法律或专业意见。如有任何具体法律问题或事项，请咨询具有适当资质的律师。鸿鹄对于本文件所含该等信息概不负责，并且对于该等信息不承担任何法律责任。</a:t>
            </a:r>
          </a:p>
          <a:p>
            <a:pPr lvl="2">
              <a:lnSpc>
                <a:spcPct val="100000"/>
              </a:lnSpc>
              <a:spcBef>
                <a:spcPts val="300"/>
              </a:spcBef>
              <a:spcAft>
                <a:spcPts val="0"/>
              </a:spcAft>
            </a:pPr>
            <a:r>
              <a:rPr lang="zh-CN" altLang="fi-FI" sz="800" i="0" kern="800" spc="-10">
                <a:latin typeface="+mn-lt"/>
              </a:rPr>
              <a:t>本文件属于保密信息。除非另有说明，鸿鹄对本文件及其内容拥有版权。不得以任何实质形式出版、传播、摘录、再使用或复制本文件的任何部分。</a:t>
            </a:r>
          </a:p>
          <a:p>
            <a:pPr lvl="2">
              <a:lnSpc>
                <a:spcPct val="100000"/>
              </a:lnSpc>
              <a:spcBef>
                <a:spcPts val="300"/>
              </a:spcBef>
              <a:spcAft>
                <a:spcPts val="0"/>
              </a:spcAft>
            </a:pPr>
            <a:r>
              <a:rPr lang="zh-CN" altLang="fi-FI" sz="800" i="0" kern="800" spc="-10">
                <a:latin typeface="+mn-lt"/>
              </a:rPr>
              <a:t>鸿鹄律师事务所是一家国际律师事务所，由鸿鹄律师事务所及其附属和关联实体组成。</a:t>
            </a:r>
          </a:p>
          <a:p>
            <a:pPr lvl="2">
              <a:lnSpc>
                <a:spcPct val="100000"/>
              </a:lnSpc>
              <a:spcBef>
                <a:spcPts val="300"/>
              </a:spcBef>
              <a:spcAft>
                <a:spcPts val="0"/>
              </a:spcAft>
            </a:pPr>
            <a:r>
              <a:rPr lang="zh-CN" altLang="fi-FI" sz="800" i="0" kern="800" spc="-10">
                <a:latin typeface="+mn-lt"/>
              </a:rPr>
              <a:t>鸿鹄律师事务所是在英格兰和威尔士注册的一家有限责任合伙企业，注册号</a:t>
            </a:r>
            <a:r>
              <a:rPr lang="fi-FI" altLang="zh-CN" sz="800" i="0" kern="800" spc="-10">
                <a:latin typeface="+mn-lt"/>
              </a:rPr>
              <a:t>OC340318</a:t>
            </a:r>
            <a:r>
              <a:rPr lang="zh-CN" altLang="fi-FI" sz="800" i="0" kern="800" spc="-10">
                <a:latin typeface="+mn-lt"/>
              </a:rPr>
              <a:t>，经律师监管局 </a:t>
            </a:r>
            <a:r>
              <a:rPr lang="fi-FI" altLang="zh-CN" sz="800" i="0" kern="800" spc="-10">
                <a:latin typeface="+mn-lt"/>
              </a:rPr>
              <a:t>(Solicitors Regulation Authority) </a:t>
            </a:r>
            <a:r>
              <a:rPr lang="zh-CN" altLang="fi-FI" sz="800" i="0" kern="800" spc="-10">
                <a:latin typeface="+mn-lt"/>
              </a:rPr>
              <a:t>授权并受其监管，编号为</a:t>
            </a:r>
            <a:r>
              <a:rPr lang="fi-FI" altLang="zh-CN" sz="800" i="0" kern="800" spc="-10">
                <a:latin typeface="+mn-lt"/>
              </a:rPr>
              <a:t>497264</a:t>
            </a:r>
            <a:r>
              <a:rPr lang="zh-CN" altLang="fi-FI" sz="800" i="0" kern="800" spc="-10">
                <a:latin typeface="+mn-lt"/>
              </a:rPr>
              <a:t>，注册办公室及主要营业地位于伦敦</a:t>
            </a:r>
            <a:r>
              <a:rPr lang="fi-FI" altLang="zh-CN" sz="800" i="0" kern="800" spc="-10">
                <a:latin typeface="+mn-lt"/>
              </a:rPr>
              <a:t>12 New Fetter Lane</a:t>
            </a:r>
            <a:r>
              <a:rPr lang="zh-CN" altLang="fi-FI" sz="800" i="0" kern="800" spc="-10">
                <a:latin typeface="+mn-lt"/>
              </a:rPr>
              <a:t>，</a:t>
            </a:r>
            <a:r>
              <a:rPr lang="fi-FI" altLang="zh-CN" sz="800" i="0" kern="800" spc="-10">
                <a:latin typeface="+mn-lt"/>
              </a:rPr>
              <a:t>EC4A1JP</a:t>
            </a:r>
            <a:r>
              <a:rPr lang="zh-CN" altLang="fi-FI" sz="800" i="0" kern="800" spc="-10">
                <a:latin typeface="+mn-lt"/>
              </a:rPr>
              <a:t>。有关鸿鹄律师事务所成员和任何经任命担任合伙人的非成员的名单及其各自的专业资质，均可在上述地址查阅。</a:t>
            </a:r>
            <a:endParaRPr lang="en-GB" sz="800" i="0" kern="800" spc="-10" baseline="0" dirty="0">
              <a:latin typeface="+mn-lt"/>
            </a:endParaRPr>
          </a:p>
        </p:txBody>
      </p:sp>
    </p:spTree>
    <p:extLst>
      <p:ext uri="{BB962C8B-B14F-4D97-AF65-F5344CB8AC3E}">
        <p14:creationId xmlns:p14="http://schemas.microsoft.com/office/powerpoint/2010/main" val="23245212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Backpage Accolades 1">
    <p:bg>
      <p:bgPr>
        <a:solidFill>
          <a:schemeClr val="accent6"/>
        </a:solidFill>
        <a:effectLst/>
      </p:bgPr>
    </p:bg>
    <p:spTree>
      <p:nvGrpSpPr>
        <p:cNvPr id="1" name=""/>
        <p:cNvGrpSpPr/>
        <p:nvPr/>
      </p:nvGrpSpPr>
      <p:grpSpPr>
        <a:xfrm>
          <a:off x="0" y="0"/>
          <a:ext cx="0" cy="0"/>
          <a:chOff x="0" y="0"/>
          <a:chExt cx="0" cy="0"/>
        </a:xfrm>
      </p:grpSpPr>
      <p:sp>
        <p:nvSpPr>
          <p:cNvPr id="15" name="Company string">
            <a:extLst>
              <a:ext uri="{FF2B5EF4-FFF2-40B4-BE49-F238E27FC236}">
                <a16:creationId xmlns:a16="http://schemas.microsoft.com/office/drawing/2014/main" id="{3475BBE5-5D48-43AA-8A10-5D18E1065391}"/>
              </a:ext>
            </a:extLst>
          </p:cNvPr>
          <p:cNvSpPr txBox="1"/>
          <p:nvPr userDrawn="1"/>
        </p:nvSpPr>
        <p:spPr>
          <a:xfrm>
            <a:off x="719137" y="3629731"/>
            <a:ext cx="10753723" cy="2507546"/>
          </a:xfrm>
          <a:prstGeom prst="rect">
            <a:avLst/>
          </a:prstGeom>
        </p:spPr>
        <p:txBody>
          <a:bodyPr vert="horz" wrap="square" lIns="0" tIns="0" rIns="0" bIns="0" rtlCol="0" anchor="b" anchorCtr="0">
            <a:spAutoFit/>
          </a:bodyPr>
          <a:lstStyle>
            <a:lvl1pPr lvl="0">
              <a:spcAft>
                <a:spcPts val="2400"/>
              </a:spcAft>
              <a:defRPr sz="2400">
                <a:latin typeface="+mj-lt"/>
              </a:defRPr>
            </a:lvl1pPr>
            <a:lvl2pPr marL="0" lvl="1" indent="0">
              <a:lnSpc>
                <a:spcPct val="120000"/>
              </a:lnSpc>
              <a:spcBef>
                <a:spcPts val="600"/>
              </a:spcBef>
              <a:buNone/>
              <a:defRPr sz="1400" i="1">
                <a:latin typeface="+mj-lt"/>
              </a:defRPr>
            </a:lvl2pPr>
            <a:lvl3pPr marL="0" lvl="2" indent="0">
              <a:lnSpc>
                <a:spcPct val="120000"/>
              </a:lnSpc>
              <a:spcBef>
                <a:spcPts val="600"/>
              </a:spcBef>
              <a:buNone/>
              <a:defRPr sz="1400" i="1">
                <a:latin typeface="+mj-lt"/>
              </a:defRPr>
            </a:lvl3pPr>
            <a:lvl4pPr marL="0" lvl="3" indent="0">
              <a:lnSpc>
                <a:spcPct val="120000"/>
              </a:lnSpc>
              <a:spcBef>
                <a:spcPts val="600"/>
              </a:spcBef>
              <a:buNone/>
              <a:defRPr sz="1400" i="1">
                <a:latin typeface="+mj-lt"/>
              </a:defRPr>
            </a:lvl4pPr>
            <a:lvl5pPr marL="0" lvl="4" indent="0">
              <a:lnSpc>
                <a:spcPct val="120000"/>
              </a:lnSpc>
              <a:spcBef>
                <a:spcPts val="600"/>
              </a:spcBef>
              <a:buFont typeface="Arial" panose="020B0604020202020204" pitchFamily="34" charset="0"/>
              <a:buNone/>
              <a:defRPr sz="1400" i="1">
                <a:latin typeface="+mj-lt"/>
              </a:defRPr>
            </a:lvl5pPr>
            <a:lvl6pPr marL="0" lvl="5" indent="0">
              <a:lnSpc>
                <a:spcPct val="120000"/>
              </a:lnSpc>
              <a:spcBef>
                <a:spcPts val="600"/>
              </a:spcBef>
              <a:buFont typeface="Arial" panose="020B0604020202020204" pitchFamily="34" charset="0"/>
              <a:buNone/>
              <a:defRPr sz="1400" i="1">
                <a:latin typeface="+mj-lt"/>
              </a:defRPr>
            </a:lvl6pPr>
            <a:lvl7pPr lvl="6">
              <a:lnSpc>
                <a:spcPct val="120000"/>
              </a:lnSpc>
              <a:spcBef>
                <a:spcPts val="600"/>
              </a:spcBef>
              <a:buFont typeface="Arial" panose="020B0604020202020204" pitchFamily="34" charset="0"/>
              <a:defRPr sz="1400" i="1"/>
            </a:lvl7pPr>
            <a:lvl8pPr lvl="7">
              <a:lnSpc>
                <a:spcPct val="120000"/>
              </a:lnSpc>
              <a:spcBef>
                <a:spcPts val="600"/>
              </a:spcBef>
              <a:defRPr sz="1400" i="1">
                <a:solidFill>
                  <a:schemeClr val="tx1"/>
                </a:solidFill>
              </a:defRPr>
            </a:lvl8pPr>
            <a:lvl9pPr lvl="8">
              <a:lnSpc>
                <a:spcPct val="120000"/>
              </a:lnSpc>
              <a:spcBef>
                <a:spcPts val="600"/>
              </a:spcBef>
              <a:defRPr sz="1400" i="1"/>
            </a:lvl9pPr>
          </a:lstStyle>
          <a:p>
            <a:pPr lvl="0">
              <a:spcAft>
                <a:spcPts val="1800"/>
              </a:spcAft>
            </a:pPr>
            <a:r>
              <a:rPr lang="fi-FI" altLang="zh-CN" i="0"/>
              <a:t>twobirds.com</a:t>
            </a:r>
          </a:p>
          <a:p>
            <a:pPr lvl="1">
              <a:spcAft>
                <a:spcPts val="1800"/>
              </a:spcAft>
            </a:pPr>
            <a:r>
              <a:rPr lang="zh-CN" altLang="fi-FI" i="0"/>
              <a:t>阿姆斯特丹 </a:t>
            </a:r>
            <a:r>
              <a:rPr lang="zh-CN" altLang="fi-FI" i="0">
                <a:solidFill>
                  <a:schemeClr val="dk2"/>
                </a:solidFill>
              </a:rPr>
              <a:t>● </a:t>
            </a:r>
            <a:r>
              <a:rPr lang="zh-CN" altLang="fi-FI" i="0"/>
              <a:t>阿布扎比 </a:t>
            </a:r>
            <a:r>
              <a:rPr lang="zh-CN" altLang="fi-FI" i="0">
                <a:solidFill>
                  <a:schemeClr val="dk2"/>
                </a:solidFill>
              </a:rPr>
              <a:t>● </a:t>
            </a:r>
            <a:r>
              <a:rPr lang="zh-CN" altLang="fi-FI" i="0"/>
              <a:t>北京 </a:t>
            </a:r>
            <a:r>
              <a:rPr lang="zh-CN" altLang="fi-FI" i="0">
                <a:solidFill>
                  <a:schemeClr val="dk2"/>
                </a:solidFill>
              </a:rPr>
              <a:t>● </a:t>
            </a:r>
            <a:r>
              <a:rPr lang="zh-CN" altLang="fi-FI" i="0"/>
              <a:t>布拉迪斯拉发 </a:t>
            </a:r>
            <a:r>
              <a:rPr lang="zh-CN" altLang="fi-FI" i="0">
                <a:solidFill>
                  <a:schemeClr val="dk2"/>
                </a:solidFill>
              </a:rPr>
              <a:t>● </a:t>
            </a:r>
            <a:r>
              <a:rPr lang="zh-CN" altLang="fi-FI" i="0"/>
              <a:t>布鲁塞尔 </a:t>
            </a:r>
            <a:r>
              <a:rPr lang="zh-CN" altLang="fi-FI" i="0">
                <a:solidFill>
                  <a:schemeClr val="dk2"/>
                </a:solidFill>
              </a:rPr>
              <a:t>● </a:t>
            </a:r>
            <a:r>
              <a:rPr lang="zh-CN" altLang="fi-FI" i="0"/>
              <a:t>布达佩斯 </a:t>
            </a:r>
            <a:r>
              <a:rPr lang="zh-CN" altLang="fi-FI" i="0">
                <a:solidFill>
                  <a:schemeClr val="dk2"/>
                </a:solidFill>
              </a:rPr>
              <a:t>● </a:t>
            </a:r>
            <a:r>
              <a:rPr lang="zh-CN" altLang="fi-FI" i="0"/>
              <a:t>卡萨布兰卡 </a:t>
            </a:r>
            <a:r>
              <a:rPr lang="zh-CN" altLang="fi-FI" i="0">
                <a:solidFill>
                  <a:schemeClr val="dk2"/>
                </a:solidFill>
              </a:rPr>
              <a:t>● </a:t>
            </a:r>
            <a:r>
              <a:rPr lang="zh-CN" altLang="fi-FI" i="0"/>
              <a:t>哥本哈根 </a:t>
            </a:r>
            <a:r>
              <a:rPr lang="zh-CN" altLang="fi-FI" i="0">
                <a:solidFill>
                  <a:schemeClr val="dk2"/>
                </a:solidFill>
              </a:rPr>
              <a:t>● </a:t>
            </a:r>
            <a:r>
              <a:rPr lang="zh-CN" altLang="fi-FI" i="0"/>
              <a:t>迪拜 </a:t>
            </a:r>
            <a:r>
              <a:rPr lang="zh-CN" altLang="fi-FI" i="0">
                <a:solidFill>
                  <a:schemeClr val="dk2"/>
                </a:solidFill>
              </a:rPr>
              <a:t>● </a:t>
            </a:r>
            <a:r>
              <a:rPr lang="zh-CN" altLang="fi-FI" i="0"/>
              <a:t>都柏林 </a:t>
            </a:r>
            <a:r>
              <a:rPr lang="zh-CN" altLang="fi-FI" i="0">
                <a:solidFill>
                  <a:schemeClr val="dk2"/>
                </a:solidFill>
              </a:rPr>
              <a:t>● </a:t>
            </a:r>
            <a:r>
              <a:rPr lang="zh-CN" altLang="fi-FI" i="0"/>
              <a:t>杜塞尔多夫 </a:t>
            </a:r>
            <a:br>
              <a:rPr lang="zh-CN" altLang="fi-FI" i="0"/>
            </a:br>
            <a:r>
              <a:rPr lang="zh-CN" altLang="fi-FI" i="0">
                <a:solidFill>
                  <a:schemeClr val="dk2"/>
                </a:solidFill>
              </a:rPr>
              <a:t>● </a:t>
            </a:r>
            <a:r>
              <a:rPr lang="zh-CN" altLang="fi-FI" i="0"/>
              <a:t>法兰克福 </a:t>
            </a:r>
            <a:r>
              <a:rPr lang="zh-CN" altLang="fi-FI" i="0">
                <a:solidFill>
                  <a:schemeClr val="dk2"/>
                </a:solidFill>
              </a:rPr>
              <a:t>● </a:t>
            </a:r>
            <a:r>
              <a:rPr lang="zh-CN" altLang="fi-FI" i="0"/>
              <a:t>海牙 </a:t>
            </a:r>
            <a:r>
              <a:rPr lang="zh-CN" altLang="fi-FI" i="0">
                <a:solidFill>
                  <a:schemeClr val="dk2"/>
                </a:solidFill>
              </a:rPr>
              <a:t>● </a:t>
            </a:r>
            <a:r>
              <a:rPr lang="zh-CN" altLang="fi-FI" i="0"/>
              <a:t>汉堡 </a:t>
            </a:r>
            <a:r>
              <a:rPr lang="zh-CN" altLang="fi-FI" i="0">
                <a:solidFill>
                  <a:schemeClr val="dk2"/>
                </a:solidFill>
              </a:rPr>
              <a:t>● </a:t>
            </a:r>
            <a:r>
              <a:rPr lang="zh-CN" altLang="fi-FI" i="0"/>
              <a:t>赫尔辛基 </a:t>
            </a:r>
            <a:r>
              <a:rPr lang="zh-CN" altLang="fi-FI" i="0">
                <a:solidFill>
                  <a:schemeClr val="dk2"/>
                </a:solidFill>
              </a:rPr>
              <a:t>● </a:t>
            </a:r>
            <a:r>
              <a:rPr lang="zh-CN" altLang="fi-FI" i="0"/>
              <a:t>香港 </a:t>
            </a:r>
            <a:r>
              <a:rPr lang="zh-CN" altLang="fi-FI" i="0">
                <a:solidFill>
                  <a:schemeClr val="dk2"/>
                </a:solidFill>
              </a:rPr>
              <a:t>● </a:t>
            </a:r>
            <a:r>
              <a:rPr lang="zh-CN" altLang="fi-FI" i="0"/>
              <a:t>伦敦 </a:t>
            </a:r>
            <a:r>
              <a:rPr lang="zh-CN" altLang="fi-FI" i="0">
                <a:solidFill>
                  <a:schemeClr val="dk2"/>
                </a:solidFill>
              </a:rPr>
              <a:t>● </a:t>
            </a:r>
            <a:r>
              <a:rPr lang="zh-CN" altLang="fi-FI" i="0"/>
              <a:t>卢森堡 </a:t>
            </a:r>
            <a:r>
              <a:rPr lang="zh-CN" altLang="fi-FI" i="0">
                <a:solidFill>
                  <a:schemeClr val="dk2"/>
                </a:solidFill>
              </a:rPr>
              <a:t>● </a:t>
            </a:r>
            <a:r>
              <a:rPr lang="zh-CN" altLang="fi-FI" i="0"/>
              <a:t>里昂 </a:t>
            </a:r>
            <a:r>
              <a:rPr lang="zh-CN" altLang="fi-FI" i="0">
                <a:solidFill>
                  <a:schemeClr val="dk2"/>
                </a:solidFill>
              </a:rPr>
              <a:t>● </a:t>
            </a:r>
            <a:r>
              <a:rPr lang="zh-CN" altLang="fi-FI" i="0"/>
              <a:t>马德里 </a:t>
            </a:r>
            <a:r>
              <a:rPr lang="zh-CN" altLang="fi-FI" i="0">
                <a:solidFill>
                  <a:schemeClr val="dk2"/>
                </a:solidFill>
              </a:rPr>
              <a:t>● </a:t>
            </a:r>
            <a:r>
              <a:rPr lang="zh-CN" altLang="fi-FI" i="0"/>
              <a:t>米兰 </a:t>
            </a:r>
            <a:r>
              <a:rPr lang="zh-CN" altLang="fi-FI" i="0">
                <a:solidFill>
                  <a:schemeClr val="dk2"/>
                </a:solidFill>
              </a:rPr>
              <a:t>● </a:t>
            </a:r>
            <a:r>
              <a:rPr lang="zh-CN" altLang="fi-FI" i="0"/>
              <a:t>慕尼黑 </a:t>
            </a:r>
            <a:r>
              <a:rPr lang="zh-CN" altLang="fi-FI" i="0">
                <a:solidFill>
                  <a:schemeClr val="dk2"/>
                </a:solidFill>
              </a:rPr>
              <a:t>● </a:t>
            </a:r>
            <a:r>
              <a:rPr lang="zh-CN" altLang="fi-FI" i="0"/>
              <a:t>巴黎 </a:t>
            </a:r>
            <a:r>
              <a:rPr lang="zh-CN" altLang="fi-FI" i="0">
                <a:solidFill>
                  <a:schemeClr val="dk2"/>
                </a:solidFill>
              </a:rPr>
              <a:t>● </a:t>
            </a:r>
            <a:r>
              <a:rPr lang="zh-CN" altLang="fi-FI" i="0"/>
              <a:t>布拉格 </a:t>
            </a:r>
            <a:r>
              <a:rPr lang="zh-CN" altLang="fi-FI" i="0">
                <a:solidFill>
                  <a:schemeClr val="dk2"/>
                </a:solidFill>
              </a:rPr>
              <a:t>● </a:t>
            </a:r>
            <a:r>
              <a:rPr lang="zh-CN" altLang="fi-FI" i="0"/>
              <a:t>罗马</a:t>
            </a:r>
            <a:br>
              <a:rPr lang="zh-CN" altLang="fi-FI" i="0"/>
            </a:br>
            <a:r>
              <a:rPr lang="zh-CN" altLang="fi-FI" i="0">
                <a:solidFill>
                  <a:schemeClr val="dk2"/>
                </a:solidFill>
              </a:rPr>
              <a:t>● </a:t>
            </a:r>
            <a:r>
              <a:rPr lang="zh-CN" altLang="fi-FI" i="0"/>
              <a:t>旧金山 </a:t>
            </a:r>
            <a:r>
              <a:rPr lang="zh-CN" altLang="fi-FI" i="0">
                <a:solidFill>
                  <a:schemeClr val="dk2"/>
                </a:solidFill>
              </a:rPr>
              <a:t>● </a:t>
            </a:r>
            <a:r>
              <a:rPr lang="zh-CN" altLang="fi-FI" i="0"/>
              <a:t>上海 </a:t>
            </a:r>
            <a:r>
              <a:rPr lang="zh-CN" altLang="fi-FI" i="0">
                <a:solidFill>
                  <a:schemeClr val="dk2"/>
                </a:solidFill>
              </a:rPr>
              <a:t>● </a:t>
            </a:r>
            <a:r>
              <a:rPr lang="zh-CN" altLang="fi-FI" i="0"/>
              <a:t>新加坡 </a:t>
            </a:r>
            <a:r>
              <a:rPr lang="zh-CN" altLang="fi-FI" i="0">
                <a:solidFill>
                  <a:schemeClr val="dk2"/>
                </a:solidFill>
              </a:rPr>
              <a:t>● </a:t>
            </a:r>
            <a:r>
              <a:rPr lang="zh-CN" altLang="fi-FI" i="0"/>
              <a:t>斯德哥尔摩 </a:t>
            </a:r>
            <a:r>
              <a:rPr lang="zh-CN" altLang="fi-FI" i="0">
                <a:solidFill>
                  <a:schemeClr val="dk2"/>
                </a:solidFill>
              </a:rPr>
              <a:t>● </a:t>
            </a:r>
            <a:r>
              <a:rPr lang="zh-CN" altLang="fi-FI" i="0"/>
              <a:t>悉尼 </a:t>
            </a:r>
            <a:r>
              <a:rPr lang="zh-CN" altLang="fi-FI" i="0">
                <a:solidFill>
                  <a:schemeClr val="dk2"/>
                </a:solidFill>
              </a:rPr>
              <a:t>● </a:t>
            </a:r>
            <a:r>
              <a:rPr lang="zh-CN" altLang="fi-FI" i="0"/>
              <a:t>华沙</a:t>
            </a:r>
          </a:p>
          <a:p>
            <a:pPr lvl="2">
              <a:lnSpc>
                <a:spcPct val="100000"/>
              </a:lnSpc>
              <a:spcBef>
                <a:spcPts val="300"/>
              </a:spcBef>
              <a:spcAft>
                <a:spcPts val="0"/>
              </a:spcAft>
            </a:pPr>
            <a:r>
              <a:rPr lang="zh-CN" altLang="fi-FI" sz="800" i="0" kern="800" spc="-10">
                <a:latin typeface="+mn-lt"/>
              </a:rPr>
              <a:t>本文件中提供的技术、法律或专业事项相关信息仅供参考，不构成法律或专业意见。如有任何具体法律问题或事项，请咨询具有适当资质的律师。鸿鹄对于本文件所含该等信息概不负责，并且对于该等信息不承担任何法律责任。</a:t>
            </a:r>
          </a:p>
          <a:p>
            <a:pPr lvl="2">
              <a:lnSpc>
                <a:spcPct val="100000"/>
              </a:lnSpc>
              <a:spcBef>
                <a:spcPts val="300"/>
              </a:spcBef>
              <a:spcAft>
                <a:spcPts val="0"/>
              </a:spcAft>
            </a:pPr>
            <a:r>
              <a:rPr lang="zh-CN" altLang="fi-FI" sz="800" i="0" kern="800" spc="-10">
                <a:latin typeface="+mn-lt"/>
              </a:rPr>
              <a:t>本文件属于保密信息。除非另有说明，鸿鹄对本文件及其内容拥有版权。不得以任何实质形式出版、传播、摘录、再使用或复制本文件的任何部分。</a:t>
            </a:r>
          </a:p>
          <a:p>
            <a:pPr lvl="2">
              <a:lnSpc>
                <a:spcPct val="100000"/>
              </a:lnSpc>
              <a:spcBef>
                <a:spcPts val="300"/>
              </a:spcBef>
              <a:spcAft>
                <a:spcPts val="0"/>
              </a:spcAft>
            </a:pPr>
            <a:r>
              <a:rPr lang="zh-CN" altLang="fi-FI" sz="800" i="0" kern="800" spc="-10">
                <a:latin typeface="+mn-lt"/>
              </a:rPr>
              <a:t>鸿鹄律师事务所是一家国际律师事务所，由鸿鹄律师事务所及其附属和关联实体组成。</a:t>
            </a:r>
          </a:p>
          <a:p>
            <a:pPr lvl="2">
              <a:lnSpc>
                <a:spcPct val="100000"/>
              </a:lnSpc>
              <a:spcBef>
                <a:spcPts val="300"/>
              </a:spcBef>
              <a:spcAft>
                <a:spcPts val="0"/>
              </a:spcAft>
            </a:pPr>
            <a:r>
              <a:rPr lang="zh-CN" altLang="fi-FI" sz="800" i="0" kern="800" spc="-10">
                <a:latin typeface="+mn-lt"/>
              </a:rPr>
              <a:t>鸿鹄律师事务所是在英格兰和威尔士注册的一家有限责任合伙企业，注册号</a:t>
            </a:r>
            <a:r>
              <a:rPr lang="fi-FI" altLang="zh-CN" sz="800" i="0" kern="800" spc="-10">
                <a:latin typeface="+mn-lt"/>
              </a:rPr>
              <a:t>OC340318</a:t>
            </a:r>
            <a:r>
              <a:rPr lang="zh-CN" altLang="fi-FI" sz="800" i="0" kern="800" spc="-10">
                <a:latin typeface="+mn-lt"/>
              </a:rPr>
              <a:t>，经律师监管局 </a:t>
            </a:r>
            <a:r>
              <a:rPr lang="fi-FI" altLang="zh-CN" sz="800" i="0" kern="800" spc="-10">
                <a:latin typeface="+mn-lt"/>
              </a:rPr>
              <a:t>(Solicitors Regulation Authority) </a:t>
            </a:r>
            <a:r>
              <a:rPr lang="zh-CN" altLang="fi-FI" sz="800" i="0" kern="800" spc="-10">
                <a:latin typeface="+mn-lt"/>
              </a:rPr>
              <a:t>授权并受其监管，编号为</a:t>
            </a:r>
            <a:r>
              <a:rPr lang="fi-FI" altLang="zh-CN" sz="800" i="0" kern="800" spc="-10">
                <a:latin typeface="+mn-lt"/>
              </a:rPr>
              <a:t>497264</a:t>
            </a:r>
            <a:r>
              <a:rPr lang="zh-CN" altLang="fi-FI" sz="800" i="0" kern="800" spc="-10">
                <a:latin typeface="+mn-lt"/>
              </a:rPr>
              <a:t>，注册办公室及主要营业地位于伦敦</a:t>
            </a:r>
            <a:r>
              <a:rPr lang="fi-FI" altLang="zh-CN" sz="800" i="0" kern="800" spc="-10">
                <a:latin typeface="+mn-lt"/>
              </a:rPr>
              <a:t>12 New Fetter Lane</a:t>
            </a:r>
            <a:r>
              <a:rPr lang="zh-CN" altLang="fi-FI" sz="800" i="0" kern="800" spc="-10">
                <a:latin typeface="+mn-lt"/>
              </a:rPr>
              <a:t>，</a:t>
            </a:r>
            <a:r>
              <a:rPr lang="fi-FI" altLang="zh-CN" sz="800" i="0" kern="800" spc="-10">
                <a:latin typeface="+mn-lt"/>
              </a:rPr>
              <a:t>EC4A1JP</a:t>
            </a:r>
            <a:r>
              <a:rPr lang="zh-CN" altLang="fi-FI" sz="800" i="0" kern="800" spc="-10">
                <a:latin typeface="+mn-lt"/>
              </a:rPr>
              <a:t>。有关鸿鹄律师事务所成员和任何经任命担任合伙人的非成员的名单及其各自的专业资质，均可在上述地址查阅。</a:t>
            </a:r>
            <a:endParaRPr lang="en-GB" sz="800" i="0" kern="800" spc="-10" baseline="0" dirty="0">
              <a:latin typeface="+mn-lt"/>
            </a:endParaRPr>
          </a:p>
        </p:txBody>
      </p:sp>
    </p:spTree>
    <p:extLst>
      <p:ext uri="{BB962C8B-B14F-4D97-AF65-F5344CB8AC3E}">
        <p14:creationId xmlns:p14="http://schemas.microsoft.com/office/powerpoint/2010/main" val="171002709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Backpage Accolades 2">
    <p:bg>
      <p:bgPr>
        <a:solidFill>
          <a:schemeClr val="accent6"/>
        </a:solidFill>
        <a:effectLst/>
      </p:bgPr>
    </p:bg>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04FC684B-9B4A-4FDA-AD5A-E5DA3CF560DD}"/>
              </a:ext>
            </a:extLst>
          </p:cNvPr>
          <p:cNvGrpSpPr/>
          <p:nvPr userDrawn="1"/>
        </p:nvGrpSpPr>
        <p:grpSpPr>
          <a:xfrm>
            <a:off x="-1143" y="3151164"/>
            <a:ext cx="6006773" cy="266725"/>
            <a:chOff x="-1143" y="3151164"/>
            <a:chExt cx="6006773" cy="266725"/>
          </a:xfrm>
        </p:grpSpPr>
        <p:sp>
          <p:nvSpPr>
            <p:cNvPr id="7" name="Freeform: Shape 6">
              <a:extLst>
                <a:ext uri="{FF2B5EF4-FFF2-40B4-BE49-F238E27FC236}">
                  <a16:creationId xmlns:a16="http://schemas.microsoft.com/office/drawing/2014/main" id="{5D4031D4-7972-416B-9488-E5FD790CDC76}"/>
                </a:ext>
              </a:extLst>
            </p:cNvPr>
            <p:cNvSpPr/>
            <p:nvPr/>
          </p:nvSpPr>
          <p:spPr>
            <a:xfrm>
              <a:off x="2199846" y="3151164"/>
              <a:ext cx="3805784" cy="266725"/>
            </a:xfrm>
            <a:custGeom>
              <a:avLst/>
              <a:gdLst>
                <a:gd name="connsiteX0" fmla="*/ 3672422 w 3805784"/>
                <a:gd name="connsiteY0" fmla="*/ 266725 h 266725"/>
                <a:gd name="connsiteX1" fmla="*/ 133363 w 3805784"/>
                <a:gd name="connsiteY1" fmla="*/ 266725 h 266725"/>
                <a:gd name="connsiteX2" fmla="*/ 0 w 3805784"/>
                <a:gd name="connsiteY2" fmla="*/ 133363 h 266725"/>
                <a:gd name="connsiteX3" fmla="*/ 133363 w 3805784"/>
                <a:gd name="connsiteY3" fmla="*/ 0 h 266725"/>
                <a:gd name="connsiteX4" fmla="*/ 3672422 w 3805784"/>
                <a:gd name="connsiteY4" fmla="*/ 0 h 266725"/>
                <a:gd name="connsiteX5" fmla="*/ 3805785 w 3805784"/>
                <a:gd name="connsiteY5" fmla="*/ 133363 h 266725"/>
                <a:gd name="connsiteX6" fmla="*/ 3672422 w 3805784"/>
                <a:gd name="connsiteY6" fmla="*/ 266725 h 2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5784" h="266725">
                  <a:moveTo>
                    <a:pt x="3672422" y="266725"/>
                  </a:moveTo>
                  <a:lnTo>
                    <a:pt x="133363" y="266725"/>
                  </a:lnTo>
                  <a:cubicBezTo>
                    <a:pt x="59708" y="266725"/>
                    <a:pt x="0" y="207016"/>
                    <a:pt x="0" y="133363"/>
                  </a:cubicBezTo>
                  <a:cubicBezTo>
                    <a:pt x="0" y="59708"/>
                    <a:pt x="59708" y="0"/>
                    <a:pt x="133363" y="0"/>
                  </a:cubicBezTo>
                  <a:lnTo>
                    <a:pt x="3672422" y="0"/>
                  </a:lnTo>
                  <a:cubicBezTo>
                    <a:pt x="3746076" y="0"/>
                    <a:pt x="3805785" y="59708"/>
                    <a:pt x="3805785" y="133363"/>
                  </a:cubicBezTo>
                  <a:cubicBezTo>
                    <a:pt x="3805785" y="207016"/>
                    <a:pt x="3746076" y="266725"/>
                    <a:pt x="3672422" y="266725"/>
                  </a:cubicBezTo>
                  <a:close/>
                </a:path>
              </a:pathLst>
            </a:custGeom>
            <a:solidFill>
              <a:schemeClr val="tx2"/>
            </a:solidFill>
            <a:ln w="12700"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9D659ED3-A38A-4C5E-9EA9-5359317A1A2D}"/>
                </a:ext>
              </a:extLst>
            </p:cNvPr>
            <p:cNvSpPr/>
            <p:nvPr/>
          </p:nvSpPr>
          <p:spPr>
            <a:xfrm>
              <a:off x="-1143" y="3151164"/>
              <a:ext cx="3273859" cy="266725"/>
            </a:xfrm>
            <a:custGeom>
              <a:avLst/>
              <a:gdLst>
                <a:gd name="connsiteX0" fmla="*/ 3273859 w 3273859"/>
                <a:gd name="connsiteY0" fmla="*/ 133363 h 266725"/>
                <a:gd name="connsiteX1" fmla="*/ 3140497 w 3273859"/>
                <a:gd name="connsiteY1" fmla="*/ 0 h 266725"/>
                <a:gd name="connsiteX2" fmla="*/ 0 w 3273859"/>
                <a:gd name="connsiteY2" fmla="*/ 0 h 266725"/>
                <a:gd name="connsiteX3" fmla="*/ 0 w 3273859"/>
                <a:gd name="connsiteY3" fmla="*/ 266725 h 266725"/>
                <a:gd name="connsiteX4" fmla="*/ 3140496 w 3273859"/>
                <a:gd name="connsiteY4" fmla="*/ 266725 h 266725"/>
                <a:gd name="connsiteX5" fmla="*/ 3273859 w 3273859"/>
                <a:gd name="connsiteY5" fmla="*/ 133363 h 2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73859" h="266725">
                  <a:moveTo>
                    <a:pt x="3273859" y="133363"/>
                  </a:moveTo>
                  <a:cubicBezTo>
                    <a:pt x="3273859" y="59708"/>
                    <a:pt x="3214151" y="0"/>
                    <a:pt x="3140497" y="0"/>
                  </a:cubicBezTo>
                  <a:lnTo>
                    <a:pt x="0" y="0"/>
                  </a:lnTo>
                  <a:lnTo>
                    <a:pt x="0" y="266725"/>
                  </a:lnTo>
                  <a:lnTo>
                    <a:pt x="3140496" y="266725"/>
                  </a:lnTo>
                  <a:cubicBezTo>
                    <a:pt x="3214151" y="266725"/>
                    <a:pt x="3273859" y="207016"/>
                    <a:pt x="3273859" y="133363"/>
                  </a:cubicBezTo>
                  <a:close/>
                </a:path>
              </a:pathLst>
            </a:custGeom>
            <a:solidFill>
              <a:srgbClr val="85ABE3"/>
            </a:solidFill>
            <a:ln w="12700" cap="flat">
              <a:noFill/>
              <a:prstDash val="solid"/>
              <a:miter/>
            </a:ln>
          </p:spPr>
          <p:txBody>
            <a:bodyPr rtlCol="0" anchor="ctr"/>
            <a:lstStyle/>
            <a:p>
              <a:endParaRPr lang="en-GB"/>
            </a:p>
          </p:txBody>
        </p:sp>
      </p:grpSp>
      <p:sp>
        <p:nvSpPr>
          <p:cNvPr id="25" name="Company string">
            <a:extLst>
              <a:ext uri="{FF2B5EF4-FFF2-40B4-BE49-F238E27FC236}">
                <a16:creationId xmlns:a16="http://schemas.microsoft.com/office/drawing/2014/main" id="{74AE327E-BE78-44B5-802A-9526B798AEA9}"/>
              </a:ext>
            </a:extLst>
          </p:cNvPr>
          <p:cNvSpPr txBox="1"/>
          <p:nvPr userDrawn="1"/>
        </p:nvSpPr>
        <p:spPr>
          <a:xfrm>
            <a:off x="719137" y="3629731"/>
            <a:ext cx="10753723" cy="2507546"/>
          </a:xfrm>
          <a:prstGeom prst="rect">
            <a:avLst/>
          </a:prstGeom>
        </p:spPr>
        <p:txBody>
          <a:bodyPr vert="horz" wrap="square" lIns="0" tIns="0" rIns="0" bIns="0" rtlCol="0" anchor="b" anchorCtr="0">
            <a:spAutoFit/>
          </a:bodyPr>
          <a:lstStyle>
            <a:lvl1pPr lvl="0">
              <a:spcAft>
                <a:spcPts val="2400"/>
              </a:spcAft>
              <a:defRPr sz="2400">
                <a:latin typeface="+mj-lt"/>
              </a:defRPr>
            </a:lvl1pPr>
            <a:lvl2pPr marL="0" lvl="1" indent="0">
              <a:lnSpc>
                <a:spcPct val="120000"/>
              </a:lnSpc>
              <a:spcBef>
                <a:spcPts val="600"/>
              </a:spcBef>
              <a:buNone/>
              <a:defRPr sz="1400" i="1">
                <a:latin typeface="+mj-lt"/>
              </a:defRPr>
            </a:lvl2pPr>
            <a:lvl3pPr marL="0" lvl="2" indent="0">
              <a:lnSpc>
                <a:spcPct val="120000"/>
              </a:lnSpc>
              <a:spcBef>
                <a:spcPts val="600"/>
              </a:spcBef>
              <a:buNone/>
              <a:defRPr sz="1400" i="1">
                <a:latin typeface="+mj-lt"/>
              </a:defRPr>
            </a:lvl3pPr>
            <a:lvl4pPr marL="0" lvl="3" indent="0">
              <a:lnSpc>
                <a:spcPct val="120000"/>
              </a:lnSpc>
              <a:spcBef>
                <a:spcPts val="600"/>
              </a:spcBef>
              <a:buNone/>
              <a:defRPr sz="1400" i="1">
                <a:latin typeface="+mj-lt"/>
              </a:defRPr>
            </a:lvl4pPr>
            <a:lvl5pPr marL="0" lvl="4" indent="0">
              <a:lnSpc>
                <a:spcPct val="120000"/>
              </a:lnSpc>
              <a:spcBef>
                <a:spcPts val="600"/>
              </a:spcBef>
              <a:buFont typeface="Arial" panose="020B0604020202020204" pitchFamily="34" charset="0"/>
              <a:buNone/>
              <a:defRPr sz="1400" i="1">
                <a:latin typeface="+mj-lt"/>
              </a:defRPr>
            </a:lvl5pPr>
            <a:lvl6pPr marL="0" lvl="5" indent="0">
              <a:lnSpc>
                <a:spcPct val="120000"/>
              </a:lnSpc>
              <a:spcBef>
                <a:spcPts val="600"/>
              </a:spcBef>
              <a:buFont typeface="Arial" panose="020B0604020202020204" pitchFamily="34" charset="0"/>
              <a:buNone/>
              <a:defRPr sz="1400" i="1">
                <a:latin typeface="+mj-lt"/>
              </a:defRPr>
            </a:lvl6pPr>
            <a:lvl7pPr lvl="6">
              <a:lnSpc>
                <a:spcPct val="120000"/>
              </a:lnSpc>
              <a:spcBef>
                <a:spcPts val="600"/>
              </a:spcBef>
              <a:buFont typeface="Arial" panose="020B0604020202020204" pitchFamily="34" charset="0"/>
              <a:defRPr sz="1400" i="1"/>
            </a:lvl7pPr>
            <a:lvl8pPr lvl="7">
              <a:lnSpc>
                <a:spcPct val="120000"/>
              </a:lnSpc>
              <a:spcBef>
                <a:spcPts val="600"/>
              </a:spcBef>
              <a:defRPr sz="1400" i="1">
                <a:solidFill>
                  <a:schemeClr val="tx1"/>
                </a:solidFill>
              </a:defRPr>
            </a:lvl8pPr>
            <a:lvl9pPr lvl="8">
              <a:lnSpc>
                <a:spcPct val="120000"/>
              </a:lnSpc>
              <a:spcBef>
                <a:spcPts val="600"/>
              </a:spcBef>
              <a:defRPr sz="1400" i="1"/>
            </a:lvl9pPr>
          </a:lstStyle>
          <a:p>
            <a:pPr lvl="0">
              <a:spcAft>
                <a:spcPts val="1800"/>
              </a:spcAft>
            </a:pPr>
            <a:r>
              <a:rPr lang="fi-FI" altLang="zh-CN" i="0"/>
              <a:t>twobirds.com</a:t>
            </a:r>
          </a:p>
          <a:p>
            <a:pPr lvl="1">
              <a:spcAft>
                <a:spcPts val="1800"/>
              </a:spcAft>
            </a:pPr>
            <a:r>
              <a:rPr lang="zh-CN" altLang="fi-FI" i="0"/>
              <a:t>阿姆斯特丹 </a:t>
            </a:r>
            <a:r>
              <a:rPr lang="zh-CN" altLang="fi-FI" i="0">
                <a:solidFill>
                  <a:schemeClr val="dk2"/>
                </a:solidFill>
              </a:rPr>
              <a:t>● </a:t>
            </a:r>
            <a:r>
              <a:rPr lang="zh-CN" altLang="fi-FI" i="0"/>
              <a:t>阿布扎比 </a:t>
            </a:r>
            <a:r>
              <a:rPr lang="zh-CN" altLang="fi-FI" i="0">
                <a:solidFill>
                  <a:schemeClr val="dk2"/>
                </a:solidFill>
              </a:rPr>
              <a:t>● </a:t>
            </a:r>
            <a:r>
              <a:rPr lang="zh-CN" altLang="fi-FI" i="0"/>
              <a:t>北京 </a:t>
            </a:r>
            <a:r>
              <a:rPr lang="zh-CN" altLang="fi-FI" i="0">
                <a:solidFill>
                  <a:schemeClr val="dk2"/>
                </a:solidFill>
              </a:rPr>
              <a:t>● </a:t>
            </a:r>
            <a:r>
              <a:rPr lang="zh-CN" altLang="fi-FI" i="0"/>
              <a:t>布拉迪斯拉发 </a:t>
            </a:r>
            <a:r>
              <a:rPr lang="zh-CN" altLang="fi-FI" i="0">
                <a:solidFill>
                  <a:schemeClr val="dk2"/>
                </a:solidFill>
              </a:rPr>
              <a:t>● </a:t>
            </a:r>
            <a:r>
              <a:rPr lang="zh-CN" altLang="fi-FI" i="0"/>
              <a:t>布鲁塞尔 </a:t>
            </a:r>
            <a:r>
              <a:rPr lang="zh-CN" altLang="fi-FI" i="0">
                <a:solidFill>
                  <a:schemeClr val="dk2"/>
                </a:solidFill>
              </a:rPr>
              <a:t>● </a:t>
            </a:r>
            <a:r>
              <a:rPr lang="zh-CN" altLang="fi-FI" i="0"/>
              <a:t>布达佩斯 </a:t>
            </a:r>
            <a:r>
              <a:rPr lang="zh-CN" altLang="fi-FI" i="0">
                <a:solidFill>
                  <a:schemeClr val="dk2"/>
                </a:solidFill>
              </a:rPr>
              <a:t>● </a:t>
            </a:r>
            <a:r>
              <a:rPr lang="zh-CN" altLang="fi-FI" i="0"/>
              <a:t>卡萨布兰卡 </a:t>
            </a:r>
            <a:r>
              <a:rPr lang="zh-CN" altLang="fi-FI" i="0">
                <a:solidFill>
                  <a:schemeClr val="dk2"/>
                </a:solidFill>
              </a:rPr>
              <a:t>● </a:t>
            </a:r>
            <a:r>
              <a:rPr lang="zh-CN" altLang="fi-FI" i="0"/>
              <a:t>哥本哈根 </a:t>
            </a:r>
            <a:r>
              <a:rPr lang="zh-CN" altLang="fi-FI" i="0">
                <a:solidFill>
                  <a:schemeClr val="dk2"/>
                </a:solidFill>
              </a:rPr>
              <a:t>● </a:t>
            </a:r>
            <a:r>
              <a:rPr lang="zh-CN" altLang="fi-FI" i="0"/>
              <a:t>迪拜 </a:t>
            </a:r>
            <a:r>
              <a:rPr lang="zh-CN" altLang="fi-FI" i="0">
                <a:solidFill>
                  <a:schemeClr val="dk2"/>
                </a:solidFill>
              </a:rPr>
              <a:t>● </a:t>
            </a:r>
            <a:r>
              <a:rPr lang="zh-CN" altLang="fi-FI" i="0"/>
              <a:t>都柏林 </a:t>
            </a:r>
            <a:r>
              <a:rPr lang="zh-CN" altLang="fi-FI" i="0">
                <a:solidFill>
                  <a:schemeClr val="dk2"/>
                </a:solidFill>
              </a:rPr>
              <a:t>● </a:t>
            </a:r>
            <a:r>
              <a:rPr lang="zh-CN" altLang="fi-FI" i="0"/>
              <a:t>杜塞尔多夫 </a:t>
            </a:r>
            <a:br>
              <a:rPr lang="zh-CN" altLang="fi-FI" i="0"/>
            </a:br>
            <a:r>
              <a:rPr lang="zh-CN" altLang="fi-FI" i="0">
                <a:solidFill>
                  <a:schemeClr val="dk2"/>
                </a:solidFill>
              </a:rPr>
              <a:t>● </a:t>
            </a:r>
            <a:r>
              <a:rPr lang="zh-CN" altLang="fi-FI" i="0"/>
              <a:t>法兰克福 </a:t>
            </a:r>
            <a:r>
              <a:rPr lang="zh-CN" altLang="fi-FI" i="0">
                <a:solidFill>
                  <a:schemeClr val="dk2"/>
                </a:solidFill>
              </a:rPr>
              <a:t>● </a:t>
            </a:r>
            <a:r>
              <a:rPr lang="zh-CN" altLang="fi-FI" i="0"/>
              <a:t>海牙 </a:t>
            </a:r>
            <a:r>
              <a:rPr lang="zh-CN" altLang="fi-FI" i="0">
                <a:solidFill>
                  <a:schemeClr val="dk2"/>
                </a:solidFill>
              </a:rPr>
              <a:t>● </a:t>
            </a:r>
            <a:r>
              <a:rPr lang="zh-CN" altLang="fi-FI" i="0"/>
              <a:t>汉堡 </a:t>
            </a:r>
            <a:r>
              <a:rPr lang="zh-CN" altLang="fi-FI" i="0">
                <a:solidFill>
                  <a:schemeClr val="dk2"/>
                </a:solidFill>
              </a:rPr>
              <a:t>● </a:t>
            </a:r>
            <a:r>
              <a:rPr lang="zh-CN" altLang="fi-FI" i="0"/>
              <a:t>赫尔辛基 </a:t>
            </a:r>
            <a:r>
              <a:rPr lang="zh-CN" altLang="fi-FI" i="0">
                <a:solidFill>
                  <a:schemeClr val="dk2"/>
                </a:solidFill>
              </a:rPr>
              <a:t>● </a:t>
            </a:r>
            <a:r>
              <a:rPr lang="zh-CN" altLang="fi-FI" i="0"/>
              <a:t>香港 </a:t>
            </a:r>
            <a:r>
              <a:rPr lang="zh-CN" altLang="fi-FI" i="0">
                <a:solidFill>
                  <a:schemeClr val="dk2"/>
                </a:solidFill>
              </a:rPr>
              <a:t>● </a:t>
            </a:r>
            <a:r>
              <a:rPr lang="zh-CN" altLang="fi-FI" i="0"/>
              <a:t>伦敦 </a:t>
            </a:r>
            <a:r>
              <a:rPr lang="zh-CN" altLang="fi-FI" i="0">
                <a:solidFill>
                  <a:schemeClr val="dk2"/>
                </a:solidFill>
              </a:rPr>
              <a:t>● </a:t>
            </a:r>
            <a:r>
              <a:rPr lang="zh-CN" altLang="fi-FI" i="0"/>
              <a:t>卢森堡 </a:t>
            </a:r>
            <a:r>
              <a:rPr lang="zh-CN" altLang="fi-FI" i="0">
                <a:solidFill>
                  <a:schemeClr val="dk2"/>
                </a:solidFill>
              </a:rPr>
              <a:t>● </a:t>
            </a:r>
            <a:r>
              <a:rPr lang="zh-CN" altLang="fi-FI" i="0"/>
              <a:t>里昂 </a:t>
            </a:r>
            <a:r>
              <a:rPr lang="zh-CN" altLang="fi-FI" i="0">
                <a:solidFill>
                  <a:schemeClr val="dk2"/>
                </a:solidFill>
              </a:rPr>
              <a:t>● </a:t>
            </a:r>
            <a:r>
              <a:rPr lang="zh-CN" altLang="fi-FI" i="0"/>
              <a:t>马德里 </a:t>
            </a:r>
            <a:r>
              <a:rPr lang="zh-CN" altLang="fi-FI" i="0">
                <a:solidFill>
                  <a:schemeClr val="dk2"/>
                </a:solidFill>
              </a:rPr>
              <a:t>● </a:t>
            </a:r>
            <a:r>
              <a:rPr lang="zh-CN" altLang="fi-FI" i="0"/>
              <a:t>米兰 </a:t>
            </a:r>
            <a:r>
              <a:rPr lang="zh-CN" altLang="fi-FI" i="0">
                <a:solidFill>
                  <a:schemeClr val="dk2"/>
                </a:solidFill>
              </a:rPr>
              <a:t>● </a:t>
            </a:r>
            <a:r>
              <a:rPr lang="zh-CN" altLang="fi-FI" i="0"/>
              <a:t>慕尼黑 </a:t>
            </a:r>
            <a:r>
              <a:rPr lang="zh-CN" altLang="fi-FI" i="0">
                <a:solidFill>
                  <a:schemeClr val="dk2"/>
                </a:solidFill>
              </a:rPr>
              <a:t>● </a:t>
            </a:r>
            <a:r>
              <a:rPr lang="zh-CN" altLang="fi-FI" i="0"/>
              <a:t>巴黎 </a:t>
            </a:r>
            <a:r>
              <a:rPr lang="zh-CN" altLang="fi-FI" i="0">
                <a:solidFill>
                  <a:schemeClr val="dk2"/>
                </a:solidFill>
              </a:rPr>
              <a:t>● </a:t>
            </a:r>
            <a:r>
              <a:rPr lang="zh-CN" altLang="fi-FI" i="0"/>
              <a:t>布拉格 </a:t>
            </a:r>
            <a:r>
              <a:rPr lang="zh-CN" altLang="fi-FI" i="0">
                <a:solidFill>
                  <a:schemeClr val="dk2"/>
                </a:solidFill>
              </a:rPr>
              <a:t>● </a:t>
            </a:r>
            <a:r>
              <a:rPr lang="zh-CN" altLang="fi-FI" i="0"/>
              <a:t>罗马</a:t>
            </a:r>
            <a:br>
              <a:rPr lang="zh-CN" altLang="fi-FI" i="0"/>
            </a:br>
            <a:r>
              <a:rPr lang="zh-CN" altLang="fi-FI" i="0">
                <a:solidFill>
                  <a:schemeClr val="dk2"/>
                </a:solidFill>
              </a:rPr>
              <a:t>● </a:t>
            </a:r>
            <a:r>
              <a:rPr lang="zh-CN" altLang="fi-FI" i="0"/>
              <a:t>旧金山 </a:t>
            </a:r>
            <a:r>
              <a:rPr lang="zh-CN" altLang="fi-FI" i="0">
                <a:solidFill>
                  <a:schemeClr val="dk2"/>
                </a:solidFill>
              </a:rPr>
              <a:t>● </a:t>
            </a:r>
            <a:r>
              <a:rPr lang="zh-CN" altLang="fi-FI" i="0"/>
              <a:t>上海 </a:t>
            </a:r>
            <a:r>
              <a:rPr lang="zh-CN" altLang="fi-FI" i="0">
                <a:solidFill>
                  <a:schemeClr val="dk2"/>
                </a:solidFill>
              </a:rPr>
              <a:t>● </a:t>
            </a:r>
            <a:r>
              <a:rPr lang="zh-CN" altLang="fi-FI" i="0"/>
              <a:t>新加坡 </a:t>
            </a:r>
            <a:r>
              <a:rPr lang="zh-CN" altLang="fi-FI" i="0">
                <a:solidFill>
                  <a:schemeClr val="dk2"/>
                </a:solidFill>
              </a:rPr>
              <a:t>● </a:t>
            </a:r>
            <a:r>
              <a:rPr lang="zh-CN" altLang="fi-FI" i="0"/>
              <a:t>斯德哥尔摩 </a:t>
            </a:r>
            <a:r>
              <a:rPr lang="zh-CN" altLang="fi-FI" i="0">
                <a:solidFill>
                  <a:schemeClr val="dk2"/>
                </a:solidFill>
              </a:rPr>
              <a:t>● </a:t>
            </a:r>
            <a:r>
              <a:rPr lang="zh-CN" altLang="fi-FI" i="0"/>
              <a:t>悉尼 </a:t>
            </a:r>
            <a:r>
              <a:rPr lang="zh-CN" altLang="fi-FI" i="0">
                <a:solidFill>
                  <a:schemeClr val="dk2"/>
                </a:solidFill>
              </a:rPr>
              <a:t>● </a:t>
            </a:r>
            <a:r>
              <a:rPr lang="zh-CN" altLang="fi-FI" i="0"/>
              <a:t>华沙</a:t>
            </a:r>
          </a:p>
          <a:p>
            <a:pPr lvl="2">
              <a:lnSpc>
                <a:spcPct val="100000"/>
              </a:lnSpc>
              <a:spcBef>
                <a:spcPts val="300"/>
              </a:spcBef>
              <a:spcAft>
                <a:spcPts val="0"/>
              </a:spcAft>
            </a:pPr>
            <a:r>
              <a:rPr lang="zh-CN" altLang="fi-FI" sz="800" i="0" kern="800" spc="-10">
                <a:latin typeface="+mn-lt"/>
              </a:rPr>
              <a:t>本文件中提供的技术、法律或专业事项相关信息仅供参考，不构成法律或专业意见。如有任何具体法律问题或事项，请咨询具有适当资质的律师。鸿鹄对于本文件所含该等信息概不负责，并且对于该等信息不承担任何法律责任。</a:t>
            </a:r>
          </a:p>
          <a:p>
            <a:pPr lvl="2">
              <a:lnSpc>
                <a:spcPct val="100000"/>
              </a:lnSpc>
              <a:spcBef>
                <a:spcPts val="300"/>
              </a:spcBef>
              <a:spcAft>
                <a:spcPts val="0"/>
              </a:spcAft>
            </a:pPr>
            <a:r>
              <a:rPr lang="zh-CN" altLang="fi-FI" sz="800" i="0" kern="800" spc="-10">
                <a:latin typeface="+mn-lt"/>
              </a:rPr>
              <a:t>本文件属于保密信息。除非另有说明，鸿鹄对本文件及其内容拥有版权。不得以任何实质形式出版、传播、摘录、再使用或复制本文件的任何部分。</a:t>
            </a:r>
          </a:p>
          <a:p>
            <a:pPr lvl="2">
              <a:lnSpc>
                <a:spcPct val="100000"/>
              </a:lnSpc>
              <a:spcBef>
                <a:spcPts val="300"/>
              </a:spcBef>
              <a:spcAft>
                <a:spcPts val="0"/>
              </a:spcAft>
            </a:pPr>
            <a:r>
              <a:rPr lang="zh-CN" altLang="fi-FI" sz="800" i="0" kern="800" spc="-10">
                <a:latin typeface="+mn-lt"/>
              </a:rPr>
              <a:t>鸿鹄律师事务所是一家国际律师事务所，由鸿鹄律师事务所及其附属和关联实体组成。</a:t>
            </a:r>
          </a:p>
          <a:p>
            <a:pPr lvl="2">
              <a:lnSpc>
                <a:spcPct val="100000"/>
              </a:lnSpc>
              <a:spcBef>
                <a:spcPts val="300"/>
              </a:spcBef>
              <a:spcAft>
                <a:spcPts val="0"/>
              </a:spcAft>
            </a:pPr>
            <a:r>
              <a:rPr lang="zh-CN" altLang="fi-FI" sz="800" i="0" kern="800" spc="-10">
                <a:latin typeface="+mn-lt"/>
              </a:rPr>
              <a:t>鸿鹄律师事务所是在英格兰和威尔士注册的一家有限责任合伙企业，注册号</a:t>
            </a:r>
            <a:r>
              <a:rPr lang="fi-FI" altLang="zh-CN" sz="800" i="0" kern="800" spc="-10">
                <a:latin typeface="+mn-lt"/>
              </a:rPr>
              <a:t>OC340318</a:t>
            </a:r>
            <a:r>
              <a:rPr lang="zh-CN" altLang="fi-FI" sz="800" i="0" kern="800" spc="-10">
                <a:latin typeface="+mn-lt"/>
              </a:rPr>
              <a:t>，经律师监管局 </a:t>
            </a:r>
            <a:r>
              <a:rPr lang="fi-FI" altLang="zh-CN" sz="800" i="0" kern="800" spc="-10">
                <a:latin typeface="+mn-lt"/>
              </a:rPr>
              <a:t>(Solicitors Regulation Authority) </a:t>
            </a:r>
            <a:r>
              <a:rPr lang="zh-CN" altLang="fi-FI" sz="800" i="0" kern="800" spc="-10">
                <a:latin typeface="+mn-lt"/>
              </a:rPr>
              <a:t>授权并受其监管，编号为</a:t>
            </a:r>
            <a:r>
              <a:rPr lang="fi-FI" altLang="zh-CN" sz="800" i="0" kern="800" spc="-10">
                <a:latin typeface="+mn-lt"/>
              </a:rPr>
              <a:t>497264</a:t>
            </a:r>
            <a:r>
              <a:rPr lang="zh-CN" altLang="fi-FI" sz="800" i="0" kern="800" spc="-10">
                <a:latin typeface="+mn-lt"/>
              </a:rPr>
              <a:t>，注册办公室及主要营业地位于伦敦</a:t>
            </a:r>
            <a:r>
              <a:rPr lang="fi-FI" altLang="zh-CN" sz="800" i="0" kern="800" spc="-10">
                <a:latin typeface="+mn-lt"/>
              </a:rPr>
              <a:t>12 New Fetter Lane</a:t>
            </a:r>
            <a:r>
              <a:rPr lang="zh-CN" altLang="fi-FI" sz="800" i="0" kern="800" spc="-10">
                <a:latin typeface="+mn-lt"/>
              </a:rPr>
              <a:t>，</a:t>
            </a:r>
            <a:r>
              <a:rPr lang="fi-FI" altLang="zh-CN" sz="800" i="0" kern="800" spc="-10">
                <a:latin typeface="+mn-lt"/>
              </a:rPr>
              <a:t>EC4A1JP</a:t>
            </a:r>
            <a:r>
              <a:rPr lang="zh-CN" altLang="fi-FI" sz="800" i="0" kern="800" spc="-10">
                <a:latin typeface="+mn-lt"/>
              </a:rPr>
              <a:t>。有关鸿鹄律师事务所成员和任何经任命担任合伙人的非成员的名单及其各自的专业资质，均可在上述地址查阅。</a:t>
            </a:r>
            <a:endParaRPr lang="en-GB" sz="800" i="0" kern="800" spc="-10" baseline="0" dirty="0">
              <a:latin typeface="+mn-lt"/>
            </a:endParaRPr>
          </a:p>
        </p:txBody>
      </p:sp>
    </p:spTree>
    <p:extLst>
      <p:ext uri="{BB962C8B-B14F-4D97-AF65-F5344CB8AC3E}">
        <p14:creationId xmlns:p14="http://schemas.microsoft.com/office/powerpoint/2010/main" val="309764396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Backpage Accolades 3">
    <p:bg>
      <p:bgPr>
        <a:solidFill>
          <a:schemeClr val="accent6"/>
        </a:solidFill>
        <a:effectLst/>
      </p:bgPr>
    </p:bg>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68A69791-8F66-4248-B4BD-5CAA959AAC5B}"/>
              </a:ext>
            </a:extLst>
          </p:cNvPr>
          <p:cNvSpPr>
            <a:spLocks noGrp="1" noChangeAspect="1"/>
          </p:cNvSpPr>
          <p:nvPr>
            <p:ph type="pic" sz="quarter" idx="22"/>
          </p:nvPr>
        </p:nvSpPr>
        <p:spPr>
          <a:xfrm>
            <a:off x="6190039" y="719137"/>
            <a:ext cx="1641476" cy="1125159"/>
          </a:xfrm>
          <a:solidFill>
            <a:schemeClr val="bg2"/>
          </a:solidFill>
        </p:spPr>
        <p:txBody>
          <a:bodyPr/>
          <a:lstStyle/>
          <a:p>
            <a:r>
              <a:rPr lang="en-US"/>
              <a:t>Click icon to add picture</a:t>
            </a:r>
            <a:endParaRPr lang="en-GB" dirty="0"/>
          </a:p>
        </p:txBody>
      </p:sp>
      <p:sp>
        <p:nvSpPr>
          <p:cNvPr id="13" name="Name Placeholder 2">
            <a:extLst>
              <a:ext uri="{FF2B5EF4-FFF2-40B4-BE49-F238E27FC236}">
                <a16:creationId xmlns:a16="http://schemas.microsoft.com/office/drawing/2014/main" id="{AC03517A-2D8A-4F28-A43C-F4ED7F227273}"/>
              </a:ext>
            </a:extLst>
          </p:cNvPr>
          <p:cNvSpPr>
            <a:spLocks noGrp="1"/>
          </p:cNvSpPr>
          <p:nvPr>
            <p:ph type="body" sz="quarter" idx="23" hasCustomPrompt="1"/>
          </p:nvPr>
        </p:nvSpPr>
        <p:spPr>
          <a:xfrm>
            <a:off x="8004819" y="719138"/>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14" name="Job Title 2">
            <a:extLst>
              <a:ext uri="{FF2B5EF4-FFF2-40B4-BE49-F238E27FC236}">
                <a16:creationId xmlns:a16="http://schemas.microsoft.com/office/drawing/2014/main" id="{3BED7B0B-FE39-4205-BCA3-898609E38CEB}"/>
              </a:ext>
            </a:extLst>
          </p:cNvPr>
          <p:cNvSpPr>
            <a:spLocks noGrp="1"/>
          </p:cNvSpPr>
          <p:nvPr>
            <p:ph type="body" sz="quarter" idx="24" hasCustomPrompt="1"/>
          </p:nvPr>
        </p:nvSpPr>
        <p:spPr>
          <a:xfrm>
            <a:off x="8004819" y="1115138"/>
            <a:ext cx="1581963" cy="297809"/>
          </a:xfrm>
          <a:prstGeom prst="roundRect">
            <a:avLst>
              <a:gd name="adj" fmla="val 50000"/>
            </a:avLst>
          </a:prstGeom>
          <a:solidFill>
            <a:schemeClr val="accent1"/>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j-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15" name="Contact Details 2">
            <a:extLst>
              <a:ext uri="{FF2B5EF4-FFF2-40B4-BE49-F238E27FC236}">
                <a16:creationId xmlns:a16="http://schemas.microsoft.com/office/drawing/2014/main" id="{5075BC6D-C433-4358-B7E8-3CC989F09281}"/>
              </a:ext>
            </a:extLst>
          </p:cNvPr>
          <p:cNvSpPr>
            <a:spLocks noGrp="1"/>
          </p:cNvSpPr>
          <p:nvPr>
            <p:ph type="body" sz="quarter" idx="25" hasCustomPrompt="1"/>
          </p:nvPr>
        </p:nvSpPr>
        <p:spPr>
          <a:xfrm>
            <a:off x="8004819" y="1520947"/>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47" name="Picture Placeholder 1">
            <a:extLst>
              <a:ext uri="{FF2B5EF4-FFF2-40B4-BE49-F238E27FC236}">
                <a16:creationId xmlns:a16="http://schemas.microsoft.com/office/drawing/2014/main" id="{D094FB97-A611-4A6A-976C-667002DA3AF2}"/>
              </a:ext>
            </a:extLst>
          </p:cNvPr>
          <p:cNvSpPr>
            <a:spLocks noGrp="1" noChangeAspect="1"/>
          </p:cNvSpPr>
          <p:nvPr>
            <p:ph type="pic" sz="quarter" idx="18"/>
          </p:nvPr>
        </p:nvSpPr>
        <p:spPr>
          <a:xfrm>
            <a:off x="719137" y="719137"/>
            <a:ext cx="1641476" cy="1125159"/>
          </a:xfrm>
          <a:solidFill>
            <a:schemeClr val="bg2"/>
          </a:solidFill>
        </p:spPr>
        <p:txBody>
          <a:bodyPr/>
          <a:lstStyle/>
          <a:p>
            <a:r>
              <a:rPr lang="en-US"/>
              <a:t>Click icon to add picture</a:t>
            </a:r>
            <a:endParaRPr lang="en-GB" dirty="0"/>
          </a:p>
        </p:txBody>
      </p:sp>
      <p:sp>
        <p:nvSpPr>
          <p:cNvPr id="48" name="Name Placeholder 1">
            <a:extLst>
              <a:ext uri="{FF2B5EF4-FFF2-40B4-BE49-F238E27FC236}">
                <a16:creationId xmlns:a16="http://schemas.microsoft.com/office/drawing/2014/main" id="{234477CA-2216-46EC-85FB-45BFC31BDFFC}"/>
              </a:ext>
            </a:extLst>
          </p:cNvPr>
          <p:cNvSpPr>
            <a:spLocks noGrp="1"/>
          </p:cNvSpPr>
          <p:nvPr>
            <p:ph type="body" sz="quarter" idx="19" hasCustomPrompt="1"/>
          </p:nvPr>
        </p:nvSpPr>
        <p:spPr>
          <a:xfrm>
            <a:off x="2549713" y="719138"/>
            <a:ext cx="3463925" cy="288000"/>
          </a:xfrm>
        </p:spPr>
        <p:txBody>
          <a:bodyPr/>
          <a:lstStyle>
            <a:lvl1pPr marL="0">
              <a:lnSpc>
                <a:spcPct val="95000"/>
              </a:lnSpc>
              <a:spcBef>
                <a:spcPts val="0"/>
              </a:spcBef>
              <a:buFontTx/>
              <a:buNone/>
              <a:defRPr sz="1600" i="1">
                <a:solidFill>
                  <a:schemeClr val="tx1"/>
                </a:solidFill>
                <a:latin typeface="+mj-lt"/>
              </a:defRPr>
            </a:lvl1pPr>
            <a:lvl2pPr marL="0" indent="0">
              <a:lnSpc>
                <a:spcPct val="95000"/>
              </a:lnSpc>
              <a:spcBef>
                <a:spcPts val="0"/>
              </a:spcBef>
              <a:buFontTx/>
              <a:buNone/>
              <a:defRPr sz="1600" i="1">
                <a:solidFill>
                  <a:schemeClr val="tx1"/>
                </a:solidFill>
                <a:latin typeface="+mj-lt"/>
              </a:defRPr>
            </a:lvl2pPr>
            <a:lvl3pPr marL="0" indent="0">
              <a:lnSpc>
                <a:spcPct val="95000"/>
              </a:lnSpc>
              <a:spcBef>
                <a:spcPts val="0"/>
              </a:spcBef>
              <a:buFontTx/>
              <a:buNone/>
              <a:defRPr sz="1400" i="1">
                <a:solidFill>
                  <a:schemeClr val="tx1"/>
                </a:solidFill>
                <a:latin typeface="+mj-lt"/>
              </a:defRPr>
            </a:lvl3pPr>
            <a:lvl4pPr marL="0" indent="0">
              <a:lnSpc>
                <a:spcPct val="95000"/>
              </a:lnSpc>
              <a:spcBef>
                <a:spcPts val="0"/>
              </a:spcBef>
              <a:buFontTx/>
              <a:buNone/>
              <a:defRPr sz="1200" i="1">
                <a:solidFill>
                  <a:schemeClr val="tx1"/>
                </a:solidFill>
                <a:latin typeface="+mj-lt"/>
              </a:defRPr>
            </a:lvl4pPr>
            <a:lvl5pPr marL="0" indent="0">
              <a:lnSpc>
                <a:spcPct val="95000"/>
              </a:lnSpc>
              <a:spcBef>
                <a:spcPts val="0"/>
              </a:spcBef>
              <a:buFontTx/>
              <a:buNone/>
              <a:defRPr sz="1200" i="1">
                <a:solidFill>
                  <a:schemeClr val="tx1"/>
                </a:solidFill>
                <a:latin typeface="+mj-lt"/>
              </a:defRPr>
            </a:lvl5pPr>
            <a:lvl6pPr marL="0" indent="0">
              <a:lnSpc>
                <a:spcPct val="95000"/>
              </a:lnSpc>
              <a:spcBef>
                <a:spcPts val="0"/>
              </a:spcBef>
              <a:buFontTx/>
              <a:buNone/>
              <a:defRPr sz="1200" i="1">
                <a:solidFill>
                  <a:schemeClr val="tx1"/>
                </a:solidFill>
                <a:latin typeface="+mj-lt"/>
              </a:defRPr>
            </a:lvl6pPr>
            <a:lvl7pPr marL="0">
              <a:lnSpc>
                <a:spcPct val="95000"/>
              </a:lnSpc>
              <a:spcBef>
                <a:spcPts val="0"/>
              </a:spcBef>
              <a:buFontTx/>
              <a:buNone/>
              <a:defRPr sz="1200" i="1">
                <a:solidFill>
                  <a:schemeClr val="tx1"/>
                </a:solidFill>
                <a:latin typeface="+mj-lt"/>
              </a:defRPr>
            </a:lvl7pPr>
            <a:lvl8pPr marL="0">
              <a:lnSpc>
                <a:spcPct val="95000"/>
              </a:lnSpc>
              <a:spcBef>
                <a:spcPts val="0"/>
              </a:spcBef>
              <a:buFontTx/>
              <a:buNone/>
              <a:defRPr sz="1200" i="1">
                <a:solidFill>
                  <a:schemeClr val="tx1"/>
                </a:solidFill>
                <a:latin typeface="+mj-lt"/>
              </a:defRPr>
            </a:lvl8pPr>
            <a:lvl9pPr marL="0">
              <a:lnSpc>
                <a:spcPct val="95000"/>
              </a:lnSpc>
              <a:spcBef>
                <a:spcPts val="0"/>
              </a:spcBef>
              <a:buFontTx/>
              <a:buNone/>
              <a:defRPr sz="1200" i="1">
                <a:solidFill>
                  <a:schemeClr val="tx1"/>
                </a:solidFill>
                <a:latin typeface="+mj-lt"/>
              </a:defRPr>
            </a:lvl9pPr>
          </a:lstStyle>
          <a:p>
            <a:pPr lvl="0"/>
            <a:r>
              <a:rPr lang="en-GB" dirty="0"/>
              <a:t>Click to add Name</a:t>
            </a:r>
          </a:p>
        </p:txBody>
      </p:sp>
      <p:sp>
        <p:nvSpPr>
          <p:cNvPr id="49" name="Job Title 1">
            <a:extLst>
              <a:ext uri="{FF2B5EF4-FFF2-40B4-BE49-F238E27FC236}">
                <a16:creationId xmlns:a16="http://schemas.microsoft.com/office/drawing/2014/main" id="{DE1173B7-7D1B-41AC-A56A-5CAB2050BF21}"/>
              </a:ext>
            </a:extLst>
          </p:cNvPr>
          <p:cNvSpPr>
            <a:spLocks noGrp="1"/>
          </p:cNvSpPr>
          <p:nvPr>
            <p:ph type="body" sz="quarter" idx="20" hasCustomPrompt="1"/>
          </p:nvPr>
        </p:nvSpPr>
        <p:spPr>
          <a:xfrm>
            <a:off x="2549713" y="1115138"/>
            <a:ext cx="1581963" cy="297809"/>
          </a:xfrm>
          <a:prstGeom prst="roundRect">
            <a:avLst>
              <a:gd name="adj" fmla="val 50000"/>
            </a:avLst>
          </a:prstGeom>
          <a:solidFill>
            <a:schemeClr val="accent1"/>
          </a:solidFill>
        </p:spPr>
        <p:txBody>
          <a:bodyPr wrap="none" lIns="36000" tIns="18000" rIns="36000" bIns="18000" anchor="ctr" anchorCtr="0">
            <a:spAutoFit/>
          </a:bodyPr>
          <a:lstStyle>
            <a:lvl1pPr marL="0" indent="0">
              <a:lnSpc>
                <a:spcPct val="95000"/>
              </a:lnSpc>
              <a:spcBef>
                <a:spcPts val="0"/>
              </a:spcBef>
              <a:buFont typeface="Arial" panose="020B0604020202020204" pitchFamily="34" charset="0"/>
              <a:buNone/>
              <a:defRPr sz="1200">
                <a:solidFill>
                  <a:schemeClr val="tx1"/>
                </a:solidFill>
                <a:latin typeface="+mj-lt"/>
              </a:defRPr>
            </a:lvl1pPr>
            <a:lvl2pPr marL="0" indent="0">
              <a:lnSpc>
                <a:spcPct val="95000"/>
              </a:lnSpc>
              <a:spcBef>
                <a:spcPts val="0"/>
              </a:spcBef>
              <a:buNone/>
              <a:defRPr sz="1000">
                <a:solidFill>
                  <a:schemeClr val="tx1"/>
                </a:solidFill>
                <a:latin typeface="+mn-lt"/>
              </a:defRPr>
            </a:lvl2pPr>
            <a:lvl3pPr marL="0" indent="0">
              <a:lnSpc>
                <a:spcPct val="95000"/>
              </a:lnSpc>
              <a:spcBef>
                <a:spcPts val="0"/>
              </a:spcBef>
              <a:buNone/>
              <a:defRPr sz="1000">
                <a:solidFill>
                  <a:schemeClr val="tx1"/>
                </a:solidFill>
                <a:latin typeface="+mn-lt"/>
              </a:defRPr>
            </a:lvl3pPr>
            <a:lvl4pPr marL="0" indent="0">
              <a:lnSpc>
                <a:spcPct val="95000"/>
              </a:lnSpc>
              <a:spcBef>
                <a:spcPts val="0"/>
              </a:spcBef>
              <a:buNone/>
              <a:defRPr sz="1000">
                <a:solidFill>
                  <a:schemeClr val="tx1"/>
                </a:solidFill>
                <a:latin typeface="+mn-lt"/>
              </a:defRPr>
            </a:lvl4pPr>
            <a:lvl5pPr marL="0" indent="0">
              <a:lnSpc>
                <a:spcPct val="95000"/>
              </a:lnSpc>
              <a:spcBef>
                <a:spcPts val="0"/>
              </a:spcBef>
              <a:buFont typeface="Arial" panose="020B0604020202020204" pitchFamily="34" charset="0"/>
              <a:buNone/>
              <a:defRPr sz="1000">
                <a:solidFill>
                  <a:schemeClr val="tx1"/>
                </a:solidFill>
                <a:latin typeface="+mn-lt"/>
              </a:defRPr>
            </a:lvl5pPr>
            <a:lvl6pPr marL="0" indent="0">
              <a:lnSpc>
                <a:spcPct val="95000"/>
              </a:lnSpc>
              <a:spcBef>
                <a:spcPts val="0"/>
              </a:spcBef>
              <a:buFont typeface="Arial" panose="020B0604020202020204" pitchFamily="34" charset="0"/>
              <a:buNone/>
              <a:defRPr sz="1000">
                <a:solidFill>
                  <a:schemeClr val="tx1"/>
                </a:solidFill>
                <a:latin typeface="+mn-lt"/>
              </a:defRPr>
            </a:lvl6pPr>
            <a:lvl7pPr marL="0" indent="0">
              <a:lnSpc>
                <a:spcPct val="95000"/>
              </a:lnSpc>
              <a:spcBef>
                <a:spcPts val="0"/>
              </a:spcBef>
              <a:buFont typeface="Arial" panose="020B0604020202020204" pitchFamily="34" charset="0"/>
              <a:buNone/>
              <a:defRPr sz="1000">
                <a:solidFill>
                  <a:schemeClr val="tx1"/>
                </a:solidFill>
                <a:latin typeface="+mn-lt"/>
              </a:defRPr>
            </a:lvl7pPr>
            <a:lvl8pPr marL="0" indent="0">
              <a:lnSpc>
                <a:spcPct val="95000"/>
              </a:lnSpc>
              <a:spcBef>
                <a:spcPts val="0"/>
              </a:spcBef>
              <a:buFont typeface="Arial" panose="020B0604020202020204" pitchFamily="34" charset="0"/>
              <a:buNone/>
              <a:defRPr sz="1000">
                <a:solidFill>
                  <a:schemeClr val="tx1"/>
                </a:solidFill>
                <a:latin typeface="+mn-lt"/>
              </a:defRPr>
            </a:lvl8pPr>
            <a:lvl9pPr marL="0" indent="0">
              <a:lnSpc>
                <a:spcPct val="95000"/>
              </a:lnSpc>
              <a:spcBef>
                <a:spcPts val="0"/>
              </a:spcBef>
              <a:buFont typeface="Arial" panose="020B0604020202020204" pitchFamily="34" charset="0"/>
              <a:buNone/>
              <a:defRPr sz="1000">
                <a:solidFill>
                  <a:schemeClr val="tx1"/>
                </a:solidFill>
                <a:latin typeface="+mn-lt"/>
              </a:defRPr>
            </a:lvl9pPr>
          </a:lstStyle>
          <a:p>
            <a:pPr lvl="0"/>
            <a:r>
              <a:rPr lang="en-GB" dirty="0"/>
              <a:t>Click to add Job Title</a:t>
            </a:r>
          </a:p>
        </p:txBody>
      </p:sp>
      <p:sp>
        <p:nvSpPr>
          <p:cNvPr id="50" name="Contact Details 1">
            <a:extLst>
              <a:ext uri="{FF2B5EF4-FFF2-40B4-BE49-F238E27FC236}">
                <a16:creationId xmlns:a16="http://schemas.microsoft.com/office/drawing/2014/main" id="{2CB3E333-E395-401C-84C4-710A919D98F0}"/>
              </a:ext>
            </a:extLst>
          </p:cNvPr>
          <p:cNvSpPr>
            <a:spLocks noGrp="1"/>
          </p:cNvSpPr>
          <p:nvPr>
            <p:ph type="body" sz="quarter" idx="21" hasCustomPrompt="1"/>
          </p:nvPr>
        </p:nvSpPr>
        <p:spPr>
          <a:xfrm>
            <a:off x="2549713" y="1520947"/>
            <a:ext cx="3463925" cy="360100"/>
          </a:xfrm>
        </p:spPr>
        <p:txBody>
          <a:bodyPr>
            <a:noAutofit/>
          </a:bodyPr>
          <a:lstStyle>
            <a:lvl1pPr marL="0" indent="0">
              <a:lnSpc>
                <a:spcPct val="95000"/>
              </a:lnSpc>
              <a:spcBef>
                <a:spcPts val="300"/>
              </a:spcBef>
              <a:buFont typeface="Arial" panose="020B0604020202020204" pitchFamily="34" charset="0"/>
              <a:buNone/>
              <a:defRPr sz="1000">
                <a:solidFill>
                  <a:schemeClr val="tx1"/>
                </a:solidFill>
                <a:latin typeface="+mn-lt"/>
              </a:defRPr>
            </a:lvl1pPr>
            <a:lvl2pPr marL="0" indent="0">
              <a:lnSpc>
                <a:spcPct val="95000"/>
              </a:lnSpc>
              <a:spcBef>
                <a:spcPts val="300"/>
              </a:spcBef>
              <a:buNone/>
              <a:defRPr sz="1000">
                <a:solidFill>
                  <a:schemeClr val="tx1"/>
                </a:solidFill>
                <a:latin typeface="+mn-lt"/>
              </a:defRPr>
            </a:lvl2pPr>
            <a:lvl3pPr marL="0" indent="0">
              <a:lnSpc>
                <a:spcPct val="95000"/>
              </a:lnSpc>
              <a:spcBef>
                <a:spcPts val="300"/>
              </a:spcBef>
              <a:buNone/>
              <a:defRPr sz="1000">
                <a:solidFill>
                  <a:schemeClr val="tx1"/>
                </a:solidFill>
                <a:latin typeface="+mn-lt"/>
              </a:defRPr>
            </a:lvl3pPr>
            <a:lvl4pPr marL="0" indent="0">
              <a:lnSpc>
                <a:spcPct val="95000"/>
              </a:lnSpc>
              <a:spcBef>
                <a:spcPts val="300"/>
              </a:spcBef>
              <a:buNone/>
              <a:defRPr sz="1000">
                <a:solidFill>
                  <a:schemeClr val="tx1"/>
                </a:solidFill>
                <a:latin typeface="+mn-lt"/>
              </a:defRPr>
            </a:lvl4pPr>
            <a:lvl5pPr marL="0" indent="0">
              <a:lnSpc>
                <a:spcPct val="95000"/>
              </a:lnSpc>
              <a:spcBef>
                <a:spcPts val="300"/>
              </a:spcBef>
              <a:buFont typeface="Arial" panose="020B0604020202020204" pitchFamily="34" charset="0"/>
              <a:buNone/>
              <a:defRPr sz="1000">
                <a:solidFill>
                  <a:schemeClr val="tx1"/>
                </a:solidFill>
                <a:latin typeface="+mn-lt"/>
              </a:defRPr>
            </a:lvl5pPr>
            <a:lvl6pPr marL="0" indent="0">
              <a:lnSpc>
                <a:spcPct val="95000"/>
              </a:lnSpc>
              <a:spcBef>
                <a:spcPts val="300"/>
              </a:spcBef>
              <a:buFont typeface="Arial" panose="020B0604020202020204" pitchFamily="34" charset="0"/>
              <a:buNone/>
              <a:defRPr sz="1000">
                <a:solidFill>
                  <a:schemeClr val="tx1"/>
                </a:solidFill>
                <a:latin typeface="+mn-lt"/>
              </a:defRPr>
            </a:lvl6pPr>
            <a:lvl7pPr marL="0" indent="0">
              <a:lnSpc>
                <a:spcPct val="95000"/>
              </a:lnSpc>
              <a:spcBef>
                <a:spcPts val="300"/>
              </a:spcBef>
              <a:buFont typeface="Arial" panose="020B0604020202020204" pitchFamily="34" charset="0"/>
              <a:buNone/>
              <a:defRPr sz="1000">
                <a:solidFill>
                  <a:schemeClr val="tx1"/>
                </a:solidFill>
                <a:latin typeface="+mn-lt"/>
              </a:defRPr>
            </a:lvl7pPr>
            <a:lvl8pPr marL="0" indent="0">
              <a:lnSpc>
                <a:spcPct val="95000"/>
              </a:lnSpc>
              <a:spcBef>
                <a:spcPts val="300"/>
              </a:spcBef>
              <a:buFont typeface="Arial" panose="020B0604020202020204" pitchFamily="34" charset="0"/>
              <a:buNone/>
              <a:defRPr sz="1000">
                <a:solidFill>
                  <a:schemeClr val="tx1"/>
                </a:solidFill>
                <a:latin typeface="+mn-lt"/>
              </a:defRPr>
            </a:lvl8pPr>
            <a:lvl9pPr marL="0" indent="0">
              <a:lnSpc>
                <a:spcPct val="95000"/>
              </a:lnSpc>
              <a:spcBef>
                <a:spcPts val="300"/>
              </a:spcBef>
              <a:buFont typeface="Arial" panose="020B0604020202020204" pitchFamily="34" charset="0"/>
              <a:buNone/>
              <a:defRPr sz="1000">
                <a:solidFill>
                  <a:schemeClr val="tx1"/>
                </a:solidFill>
                <a:latin typeface="+mn-lt"/>
              </a:defRPr>
            </a:lvl9pPr>
          </a:lstStyle>
          <a:p>
            <a:pPr lvl="0"/>
            <a:r>
              <a:rPr lang="en-GB" dirty="0"/>
              <a:t>Click to add email address</a:t>
            </a:r>
          </a:p>
        </p:txBody>
      </p:sp>
      <p:sp>
        <p:nvSpPr>
          <p:cNvPr id="23" name="Company string">
            <a:extLst>
              <a:ext uri="{FF2B5EF4-FFF2-40B4-BE49-F238E27FC236}">
                <a16:creationId xmlns:a16="http://schemas.microsoft.com/office/drawing/2014/main" id="{D5E9259D-4B74-4885-BACA-341C27531D1C}"/>
              </a:ext>
            </a:extLst>
          </p:cNvPr>
          <p:cNvSpPr txBox="1"/>
          <p:nvPr userDrawn="1"/>
        </p:nvSpPr>
        <p:spPr>
          <a:xfrm>
            <a:off x="719137" y="3629731"/>
            <a:ext cx="10753723" cy="2507546"/>
          </a:xfrm>
          <a:prstGeom prst="rect">
            <a:avLst/>
          </a:prstGeom>
        </p:spPr>
        <p:txBody>
          <a:bodyPr vert="horz" wrap="square" lIns="0" tIns="0" rIns="0" bIns="0" rtlCol="0" anchor="b" anchorCtr="0">
            <a:spAutoFit/>
          </a:bodyPr>
          <a:lstStyle>
            <a:lvl1pPr lvl="0">
              <a:spcAft>
                <a:spcPts val="2400"/>
              </a:spcAft>
              <a:defRPr sz="2400">
                <a:latin typeface="+mj-lt"/>
              </a:defRPr>
            </a:lvl1pPr>
            <a:lvl2pPr marL="0" lvl="1" indent="0">
              <a:lnSpc>
                <a:spcPct val="120000"/>
              </a:lnSpc>
              <a:spcBef>
                <a:spcPts val="600"/>
              </a:spcBef>
              <a:buNone/>
              <a:defRPr sz="1400" i="1">
                <a:latin typeface="+mj-lt"/>
              </a:defRPr>
            </a:lvl2pPr>
            <a:lvl3pPr marL="0" lvl="2" indent="0">
              <a:lnSpc>
                <a:spcPct val="120000"/>
              </a:lnSpc>
              <a:spcBef>
                <a:spcPts val="600"/>
              </a:spcBef>
              <a:buNone/>
              <a:defRPr sz="1400" i="1">
                <a:latin typeface="+mj-lt"/>
              </a:defRPr>
            </a:lvl3pPr>
            <a:lvl4pPr marL="0" lvl="3" indent="0">
              <a:lnSpc>
                <a:spcPct val="120000"/>
              </a:lnSpc>
              <a:spcBef>
                <a:spcPts val="600"/>
              </a:spcBef>
              <a:buNone/>
              <a:defRPr sz="1400" i="1">
                <a:latin typeface="+mj-lt"/>
              </a:defRPr>
            </a:lvl4pPr>
            <a:lvl5pPr marL="0" lvl="4" indent="0">
              <a:lnSpc>
                <a:spcPct val="120000"/>
              </a:lnSpc>
              <a:spcBef>
                <a:spcPts val="600"/>
              </a:spcBef>
              <a:buFont typeface="Arial" panose="020B0604020202020204" pitchFamily="34" charset="0"/>
              <a:buNone/>
              <a:defRPr sz="1400" i="1">
                <a:latin typeface="+mj-lt"/>
              </a:defRPr>
            </a:lvl5pPr>
            <a:lvl6pPr marL="0" lvl="5" indent="0">
              <a:lnSpc>
                <a:spcPct val="120000"/>
              </a:lnSpc>
              <a:spcBef>
                <a:spcPts val="600"/>
              </a:spcBef>
              <a:buFont typeface="Arial" panose="020B0604020202020204" pitchFamily="34" charset="0"/>
              <a:buNone/>
              <a:defRPr sz="1400" i="1">
                <a:latin typeface="+mj-lt"/>
              </a:defRPr>
            </a:lvl6pPr>
            <a:lvl7pPr lvl="6">
              <a:lnSpc>
                <a:spcPct val="120000"/>
              </a:lnSpc>
              <a:spcBef>
                <a:spcPts val="600"/>
              </a:spcBef>
              <a:buFont typeface="Arial" panose="020B0604020202020204" pitchFamily="34" charset="0"/>
              <a:defRPr sz="1400" i="1"/>
            </a:lvl7pPr>
            <a:lvl8pPr lvl="7">
              <a:lnSpc>
                <a:spcPct val="120000"/>
              </a:lnSpc>
              <a:spcBef>
                <a:spcPts val="600"/>
              </a:spcBef>
              <a:defRPr sz="1400" i="1">
                <a:solidFill>
                  <a:schemeClr val="tx1"/>
                </a:solidFill>
              </a:defRPr>
            </a:lvl8pPr>
            <a:lvl9pPr lvl="8">
              <a:lnSpc>
                <a:spcPct val="120000"/>
              </a:lnSpc>
              <a:spcBef>
                <a:spcPts val="600"/>
              </a:spcBef>
              <a:defRPr sz="1400" i="1"/>
            </a:lvl9pPr>
          </a:lstStyle>
          <a:p>
            <a:pPr lvl="0">
              <a:spcAft>
                <a:spcPts val="1800"/>
              </a:spcAft>
            </a:pPr>
            <a:r>
              <a:rPr lang="fi-FI" altLang="zh-CN" i="0"/>
              <a:t>twobirds.com</a:t>
            </a:r>
          </a:p>
          <a:p>
            <a:pPr lvl="1">
              <a:spcAft>
                <a:spcPts val="1800"/>
              </a:spcAft>
            </a:pPr>
            <a:r>
              <a:rPr lang="zh-CN" altLang="fi-FI" i="0"/>
              <a:t>阿姆斯特丹 </a:t>
            </a:r>
            <a:r>
              <a:rPr lang="zh-CN" altLang="fi-FI" i="0">
                <a:solidFill>
                  <a:schemeClr val="dk2"/>
                </a:solidFill>
              </a:rPr>
              <a:t>● </a:t>
            </a:r>
            <a:r>
              <a:rPr lang="zh-CN" altLang="fi-FI" i="0"/>
              <a:t>阿布扎比 </a:t>
            </a:r>
            <a:r>
              <a:rPr lang="zh-CN" altLang="fi-FI" i="0">
                <a:solidFill>
                  <a:schemeClr val="dk2"/>
                </a:solidFill>
              </a:rPr>
              <a:t>● </a:t>
            </a:r>
            <a:r>
              <a:rPr lang="zh-CN" altLang="fi-FI" i="0"/>
              <a:t>北京 </a:t>
            </a:r>
            <a:r>
              <a:rPr lang="zh-CN" altLang="fi-FI" i="0">
                <a:solidFill>
                  <a:schemeClr val="dk2"/>
                </a:solidFill>
              </a:rPr>
              <a:t>● </a:t>
            </a:r>
            <a:r>
              <a:rPr lang="zh-CN" altLang="fi-FI" i="0"/>
              <a:t>布拉迪斯拉发 </a:t>
            </a:r>
            <a:r>
              <a:rPr lang="zh-CN" altLang="fi-FI" i="0">
                <a:solidFill>
                  <a:schemeClr val="dk2"/>
                </a:solidFill>
              </a:rPr>
              <a:t>● </a:t>
            </a:r>
            <a:r>
              <a:rPr lang="zh-CN" altLang="fi-FI" i="0"/>
              <a:t>布鲁塞尔 </a:t>
            </a:r>
            <a:r>
              <a:rPr lang="zh-CN" altLang="fi-FI" i="0">
                <a:solidFill>
                  <a:schemeClr val="dk2"/>
                </a:solidFill>
              </a:rPr>
              <a:t>● </a:t>
            </a:r>
            <a:r>
              <a:rPr lang="zh-CN" altLang="fi-FI" i="0"/>
              <a:t>布达佩斯 </a:t>
            </a:r>
            <a:r>
              <a:rPr lang="zh-CN" altLang="fi-FI" i="0">
                <a:solidFill>
                  <a:schemeClr val="dk2"/>
                </a:solidFill>
              </a:rPr>
              <a:t>● </a:t>
            </a:r>
            <a:r>
              <a:rPr lang="zh-CN" altLang="fi-FI" i="0"/>
              <a:t>卡萨布兰卡 </a:t>
            </a:r>
            <a:r>
              <a:rPr lang="zh-CN" altLang="fi-FI" i="0">
                <a:solidFill>
                  <a:schemeClr val="dk2"/>
                </a:solidFill>
              </a:rPr>
              <a:t>● </a:t>
            </a:r>
            <a:r>
              <a:rPr lang="zh-CN" altLang="fi-FI" i="0"/>
              <a:t>哥本哈根 </a:t>
            </a:r>
            <a:r>
              <a:rPr lang="zh-CN" altLang="fi-FI" i="0">
                <a:solidFill>
                  <a:schemeClr val="dk2"/>
                </a:solidFill>
              </a:rPr>
              <a:t>● </a:t>
            </a:r>
            <a:r>
              <a:rPr lang="zh-CN" altLang="fi-FI" i="0"/>
              <a:t>迪拜 </a:t>
            </a:r>
            <a:r>
              <a:rPr lang="zh-CN" altLang="fi-FI" i="0">
                <a:solidFill>
                  <a:schemeClr val="dk2"/>
                </a:solidFill>
              </a:rPr>
              <a:t>● </a:t>
            </a:r>
            <a:r>
              <a:rPr lang="zh-CN" altLang="fi-FI" i="0"/>
              <a:t>都柏林 </a:t>
            </a:r>
            <a:r>
              <a:rPr lang="zh-CN" altLang="fi-FI" i="0">
                <a:solidFill>
                  <a:schemeClr val="dk2"/>
                </a:solidFill>
              </a:rPr>
              <a:t>● </a:t>
            </a:r>
            <a:r>
              <a:rPr lang="zh-CN" altLang="fi-FI" i="0"/>
              <a:t>杜塞尔多夫 </a:t>
            </a:r>
            <a:br>
              <a:rPr lang="zh-CN" altLang="fi-FI" i="0"/>
            </a:br>
            <a:r>
              <a:rPr lang="zh-CN" altLang="fi-FI" i="0">
                <a:solidFill>
                  <a:schemeClr val="dk2"/>
                </a:solidFill>
              </a:rPr>
              <a:t>● </a:t>
            </a:r>
            <a:r>
              <a:rPr lang="zh-CN" altLang="fi-FI" i="0"/>
              <a:t>法兰克福 </a:t>
            </a:r>
            <a:r>
              <a:rPr lang="zh-CN" altLang="fi-FI" i="0">
                <a:solidFill>
                  <a:schemeClr val="dk2"/>
                </a:solidFill>
              </a:rPr>
              <a:t>● </a:t>
            </a:r>
            <a:r>
              <a:rPr lang="zh-CN" altLang="fi-FI" i="0"/>
              <a:t>海牙 </a:t>
            </a:r>
            <a:r>
              <a:rPr lang="zh-CN" altLang="fi-FI" i="0">
                <a:solidFill>
                  <a:schemeClr val="dk2"/>
                </a:solidFill>
              </a:rPr>
              <a:t>● </a:t>
            </a:r>
            <a:r>
              <a:rPr lang="zh-CN" altLang="fi-FI" i="0"/>
              <a:t>汉堡 </a:t>
            </a:r>
            <a:r>
              <a:rPr lang="zh-CN" altLang="fi-FI" i="0">
                <a:solidFill>
                  <a:schemeClr val="dk2"/>
                </a:solidFill>
              </a:rPr>
              <a:t>● </a:t>
            </a:r>
            <a:r>
              <a:rPr lang="zh-CN" altLang="fi-FI" i="0"/>
              <a:t>赫尔辛基 </a:t>
            </a:r>
            <a:r>
              <a:rPr lang="zh-CN" altLang="fi-FI" i="0">
                <a:solidFill>
                  <a:schemeClr val="dk2"/>
                </a:solidFill>
              </a:rPr>
              <a:t>● </a:t>
            </a:r>
            <a:r>
              <a:rPr lang="zh-CN" altLang="fi-FI" i="0"/>
              <a:t>香港 </a:t>
            </a:r>
            <a:r>
              <a:rPr lang="zh-CN" altLang="fi-FI" i="0">
                <a:solidFill>
                  <a:schemeClr val="dk2"/>
                </a:solidFill>
              </a:rPr>
              <a:t>● </a:t>
            </a:r>
            <a:r>
              <a:rPr lang="zh-CN" altLang="fi-FI" i="0"/>
              <a:t>伦敦 </a:t>
            </a:r>
            <a:r>
              <a:rPr lang="zh-CN" altLang="fi-FI" i="0">
                <a:solidFill>
                  <a:schemeClr val="dk2"/>
                </a:solidFill>
              </a:rPr>
              <a:t>● </a:t>
            </a:r>
            <a:r>
              <a:rPr lang="zh-CN" altLang="fi-FI" i="0"/>
              <a:t>卢森堡 </a:t>
            </a:r>
            <a:r>
              <a:rPr lang="zh-CN" altLang="fi-FI" i="0">
                <a:solidFill>
                  <a:schemeClr val="dk2"/>
                </a:solidFill>
              </a:rPr>
              <a:t>● </a:t>
            </a:r>
            <a:r>
              <a:rPr lang="zh-CN" altLang="fi-FI" i="0"/>
              <a:t>里昂 </a:t>
            </a:r>
            <a:r>
              <a:rPr lang="zh-CN" altLang="fi-FI" i="0">
                <a:solidFill>
                  <a:schemeClr val="dk2"/>
                </a:solidFill>
              </a:rPr>
              <a:t>● </a:t>
            </a:r>
            <a:r>
              <a:rPr lang="zh-CN" altLang="fi-FI" i="0"/>
              <a:t>马德里 </a:t>
            </a:r>
            <a:r>
              <a:rPr lang="zh-CN" altLang="fi-FI" i="0">
                <a:solidFill>
                  <a:schemeClr val="dk2"/>
                </a:solidFill>
              </a:rPr>
              <a:t>● </a:t>
            </a:r>
            <a:r>
              <a:rPr lang="zh-CN" altLang="fi-FI" i="0"/>
              <a:t>米兰 </a:t>
            </a:r>
            <a:r>
              <a:rPr lang="zh-CN" altLang="fi-FI" i="0">
                <a:solidFill>
                  <a:schemeClr val="dk2"/>
                </a:solidFill>
              </a:rPr>
              <a:t>● </a:t>
            </a:r>
            <a:r>
              <a:rPr lang="zh-CN" altLang="fi-FI" i="0"/>
              <a:t>慕尼黑 </a:t>
            </a:r>
            <a:r>
              <a:rPr lang="zh-CN" altLang="fi-FI" i="0">
                <a:solidFill>
                  <a:schemeClr val="dk2"/>
                </a:solidFill>
              </a:rPr>
              <a:t>● </a:t>
            </a:r>
            <a:r>
              <a:rPr lang="zh-CN" altLang="fi-FI" i="0"/>
              <a:t>巴黎 </a:t>
            </a:r>
            <a:r>
              <a:rPr lang="zh-CN" altLang="fi-FI" i="0">
                <a:solidFill>
                  <a:schemeClr val="dk2"/>
                </a:solidFill>
              </a:rPr>
              <a:t>● </a:t>
            </a:r>
            <a:r>
              <a:rPr lang="zh-CN" altLang="fi-FI" i="0"/>
              <a:t>布拉格 </a:t>
            </a:r>
            <a:r>
              <a:rPr lang="zh-CN" altLang="fi-FI" i="0">
                <a:solidFill>
                  <a:schemeClr val="dk2"/>
                </a:solidFill>
              </a:rPr>
              <a:t>● </a:t>
            </a:r>
            <a:r>
              <a:rPr lang="zh-CN" altLang="fi-FI" i="0"/>
              <a:t>罗马</a:t>
            </a:r>
            <a:br>
              <a:rPr lang="zh-CN" altLang="fi-FI" i="0"/>
            </a:br>
            <a:r>
              <a:rPr lang="zh-CN" altLang="fi-FI" i="0">
                <a:solidFill>
                  <a:schemeClr val="dk2"/>
                </a:solidFill>
              </a:rPr>
              <a:t>● </a:t>
            </a:r>
            <a:r>
              <a:rPr lang="zh-CN" altLang="fi-FI" i="0"/>
              <a:t>旧金山 </a:t>
            </a:r>
            <a:r>
              <a:rPr lang="zh-CN" altLang="fi-FI" i="0">
                <a:solidFill>
                  <a:schemeClr val="dk2"/>
                </a:solidFill>
              </a:rPr>
              <a:t>● </a:t>
            </a:r>
            <a:r>
              <a:rPr lang="zh-CN" altLang="fi-FI" i="0"/>
              <a:t>上海 </a:t>
            </a:r>
            <a:r>
              <a:rPr lang="zh-CN" altLang="fi-FI" i="0">
                <a:solidFill>
                  <a:schemeClr val="dk2"/>
                </a:solidFill>
              </a:rPr>
              <a:t>● </a:t>
            </a:r>
            <a:r>
              <a:rPr lang="zh-CN" altLang="fi-FI" i="0"/>
              <a:t>新加坡 </a:t>
            </a:r>
            <a:r>
              <a:rPr lang="zh-CN" altLang="fi-FI" i="0">
                <a:solidFill>
                  <a:schemeClr val="dk2"/>
                </a:solidFill>
              </a:rPr>
              <a:t>● </a:t>
            </a:r>
            <a:r>
              <a:rPr lang="zh-CN" altLang="fi-FI" i="0"/>
              <a:t>斯德哥尔摩 </a:t>
            </a:r>
            <a:r>
              <a:rPr lang="zh-CN" altLang="fi-FI" i="0">
                <a:solidFill>
                  <a:schemeClr val="dk2"/>
                </a:solidFill>
              </a:rPr>
              <a:t>● </a:t>
            </a:r>
            <a:r>
              <a:rPr lang="zh-CN" altLang="fi-FI" i="0"/>
              <a:t>悉尼 </a:t>
            </a:r>
            <a:r>
              <a:rPr lang="zh-CN" altLang="fi-FI" i="0">
                <a:solidFill>
                  <a:schemeClr val="dk2"/>
                </a:solidFill>
              </a:rPr>
              <a:t>● </a:t>
            </a:r>
            <a:r>
              <a:rPr lang="zh-CN" altLang="fi-FI" i="0"/>
              <a:t>华沙</a:t>
            </a:r>
          </a:p>
          <a:p>
            <a:pPr lvl="2">
              <a:lnSpc>
                <a:spcPct val="100000"/>
              </a:lnSpc>
              <a:spcBef>
                <a:spcPts val="300"/>
              </a:spcBef>
              <a:spcAft>
                <a:spcPts val="0"/>
              </a:spcAft>
            </a:pPr>
            <a:r>
              <a:rPr lang="zh-CN" altLang="fi-FI" sz="800" i="0" kern="800" spc="-10">
                <a:latin typeface="+mn-lt"/>
              </a:rPr>
              <a:t>本文件中提供的技术、法律或专业事项相关信息仅供参考，不构成法律或专业意见。如有任何具体法律问题或事项，请咨询具有适当资质的律师。鸿鹄对于本文件所含该等信息概不负责，并且对于该等信息不承担任何法律责任。</a:t>
            </a:r>
          </a:p>
          <a:p>
            <a:pPr lvl="2">
              <a:lnSpc>
                <a:spcPct val="100000"/>
              </a:lnSpc>
              <a:spcBef>
                <a:spcPts val="300"/>
              </a:spcBef>
              <a:spcAft>
                <a:spcPts val="0"/>
              </a:spcAft>
            </a:pPr>
            <a:r>
              <a:rPr lang="zh-CN" altLang="fi-FI" sz="800" i="0" kern="800" spc="-10">
                <a:latin typeface="+mn-lt"/>
              </a:rPr>
              <a:t>本文件属于保密信息。除非另有说明，鸿鹄对本文件及其内容拥有版权。不得以任何实质形式出版、传播、摘录、再使用或复制本文件的任何部分。</a:t>
            </a:r>
          </a:p>
          <a:p>
            <a:pPr lvl="2">
              <a:lnSpc>
                <a:spcPct val="100000"/>
              </a:lnSpc>
              <a:spcBef>
                <a:spcPts val="300"/>
              </a:spcBef>
              <a:spcAft>
                <a:spcPts val="0"/>
              </a:spcAft>
            </a:pPr>
            <a:r>
              <a:rPr lang="zh-CN" altLang="fi-FI" sz="800" i="0" kern="800" spc="-10">
                <a:latin typeface="+mn-lt"/>
              </a:rPr>
              <a:t>鸿鹄律师事务所是一家国际律师事务所，由鸿鹄律师事务所及其附属和关联实体组成。</a:t>
            </a:r>
          </a:p>
          <a:p>
            <a:pPr lvl="2">
              <a:lnSpc>
                <a:spcPct val="100000"/>
              </a:lnSpc>
              <a:spcBef>
                <a:spcPts val="300"/>
              </a:spcBef>
              <a:spcAft>
                <a:spcPts val="0"/>
              </a:spcAft>
            </a:pPr>
            <a:r>
              <a:rPr lang="zh-CN" altLang="fi-FI" sz="800" i="0" kern="800" spc="-10">
                <a:latin typeface="+mn-lt"/>
              </a:rPr>
              <a:t>鸿鹄律师事务所是在英格兰和威尔士注册的一家有限责任合伙企业，注册号</a:t>
            </a:r>
            <a:r>
              <a:rPr lang="fi-FI" altLang="zh-CN" sz="800" i="0" kern="800" spc="-10">
                <a:latin typeface="+mn-lt"/>
              </a:rPr>
              <a:t>OC340318</a:t>
            </a:r>
            <a:r>
              <a:rPr lang="zh-CN" altLang="fi-FI" sz="800" i="0" kern="800" spc="-10">
                <a:latin typeface="+mn-lt"/>
              </a:rPr>
              <a:t>，经律师监管局 </a:t>
            </a:r>
            <a:r>
              <a:rPr lang="fi-FI" altLang="zh-CN" sz="800" i="0" kern="800" spc="-10">
                <a:latin typeface="+mn-lt"/>
              </a:rPr>
              <a:t>(Solicitors Regulation Authority) </a:t>
            </a:r>
            <a:r>
              <a:rPr lang="zh-CN" altLang="fi-FI" sz="800" i="0" kern="800" spc="-10">
                <a:latin typeface="+mn-lt"/>
              </a:rPr>
              <a:t>授权并受其监管，编号为</a:t>
            </a:r>
            <a:r>
              <a:rPr lang="fi-FI" altLang="zh-CN" sz="800" i="0" kern="800" spc="-10">
                <a:latin typeface="+mn-lt"/>
              </a:rPr>
              <a:t>497264</a:t>
            </a:r>
            <a:r>
              <a:rPr lang="zh-CN" altLang="fi-FI" sz="800" i="0" kern="800" spc="-10">
                <a:latin typeface="+mn-lt"/>
              </a:rPr>
              <a:t>，注册办公室及主要营业地位于伦敦</a:t>
            </a:r>
            <a:r>
              <a:rPr lang="fi-FI" altLang="zh-CN" sz="800" i="0" kern="800" spc="-10">
                <a:latin typeface="+mn-lt"/>
              </a:rPr>
              <a:t>12 New Fetter Lane</a:t>
            </a:r>
            <a:r>
              <a:rPr lang="zh-CN" altLang="fi-FI" sz="800" i="0" kern="800" spc="-10">
                <a:latin typeface="+mn-lt"/>
              </a:rPr>
              <a:t>，</a:t>
            </a:r>
            <a:r>
              <a:rPr lang="fi-FI" altLang="zh-CN" sz="800" i="0" kern="800" spc="-10">
                <a:latin typeface="+mn-lt"/>
              </a:rPr>
              <a:t>EC4A1JP</a:t>
            </a:r>
            <a:r>
              <a:rPr lang="zh-CN" altLang="fi-FI" sz="800" i="0" kern="800" spc="-10">
                <a:latin typeface="+mn-lt"/>
              </a:rPr>
              <a:t>。有关鸿鹄律师事务所成员和任何经任命担任合伙人的非成员的名单及其各自的专业资质，均可在上述地址查阅。</a:t>
            </a:r>
            <a:endParaRPr lang="en-GB" sz="800" i="0" kern="800" spc="-10" baseline="0" dirty="0">
              <a:latin typeface="+mn-lt"/>
            </a:endParaRPr>
          </a:p>
        </p:txBody>
      </p:sp>
    </p:spTree>
    <p:extLst>
      <p:ext uri="{BB962C8B-B14F-4D97-AF65-F5344CB8AC3E}">
        <p14:creationId xmlns:p14="http://schemas.microsoft.com/office/powerpoint/2010/main" val="13387333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8" name="Rectangle 7"/>
          <p:cNvSpPr/>
          <p:nvPr/>
        </p:nvSpPr>
        <p:spPr>
          <a:xfrm>
            <a:off x="0" y="0"/>
            <a:ext cx="12192000" cy="107987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dirty="0"/>
          </a:p>
        </p:txBody>
      </p:sp>
      <p:pic>
        <p:nvPicPr>
          <p:cNvPr id="11" name="Picture 10"/>
          <p:cNvPicPr>
            <a:picLocks noChangeAspect="1"/>
          </p:cNvPicPr>
          <p:nvPr/>
        </p:nvPicPr>
        <p:blipFill rotWithShape="1">
          <a:blip r:embed="rId2" cstate="print">
            <a:duotone>
              <a:schemeClr val="accent2">
                <a:shade val="45000"/>
                <a:satMod val="135000"/>
              </a:schemeClr>
              <a:prstClr val="white"/>
            </a:duotone>
            <a:extLst>
              <a:ext uri="{BEBA8EAE-BF5A-486C-A8C5-ECC9F3942E4B}">
                <a14:imgProps xmlns:a14="http://schemas.microsoft.com/office/drawing/2010/main">
                  <a14:imgLayer r:embed="rId3">
                    <a14:imgEffect>
                      <a14:saturation sat="30000"/>
                    </a14:imgEffect>
                  </a14:imgLayer>
                </a14:imgProps>
              </a:ext>
              <a:ext uri="{28A0092B-C50C-407E-A947-70E740481C1C}">
                <a14:useLocalDpi xmlns:a14="http://schemas.microsoft.com/office/drawing/2010/main"/>
              </a:ext>
            </a:extLst>
          </a:blip>
          <a:srcRect/>
          <a:stretch/>
        </p:blipFill>
        <p:spPr>
          <a:xfrm>
            <a:off x="1324445" y="0"/>
            <a:ext cx="1747524" cy="2292094"/>
          </a:xfrm>
          <a:prstGeom prst="rect">
            <a:avLst/>
          </a:prstGeom>
        </p:spPr>
      </p:pic>
      <p:sp>
        <p:nvSpPr>
          <p:cNvPr id="2" name="Title 1"/>
          <p:cNvSpPr>
            <a:spLocks noGrp="1"/>
          </p:cNvSpPr>
          <p:nvPr>
            <p:ph type="ctrTitle"/>
          </p:nvPr>
        </p:nvSpPr>
        <p:spPr>
          <a:xfrm>
            <a:off x="1104900" y="2292094"/>
            <a:ext cx="10096500" cy="2219691"/>
          </a:xfrm>
        </p:spPr>
        <p:txBody>
          <a:bodyPr anchor="ctr">
            <a:normAutofit/>
          </a:bodyPr>
          <a:lstStyle>
            <a:lvl1pPr algn="l">
              <a:defRPr sz="4400" cap="all" baseline="0"/>
            </a:lvl1pPr>
          </a:lstStyle>
          <a:p>
            <a:r>
              <a:rPr lang="en-US"/>
              <a:t>Click to edit Master title style</a:t>
            </a:r>
            <a:endParaRPr/>
          </a:p>
        </p:txBody>
      </p:sp>
      <p:sp>
        <p:nvSpPr>
          <p:cNvPr id="3" name="Subtitle 2"/>
          <p:cNvSpPr>
            <a:spLocks noGrp="1"/>
          </p:cNvSpPr>
          <p:nvPr>
            <p:ph type="subTitle" idx="1"/>
          </p:nvPr>
        </p:nvSpPr>
        <p:spPr>
          <a:xfrm>
            <a:off x="1104898" y="4511784"/>
            <a:ext cx="10096501" cy="955565"/>
          </a:xfrm>
        </p:spPr>
        <p:txBody>
          <a:bodyPr>
            <a:normAutofit/>
          </a:bodyPr>
          <a:lstStyle>
            <a:lvl1pPr marL="0" indent="0" algn="l">
              <a:spcBef>
                <a:spcPts val="0"/>
              </a:spcBef>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sp>
        <p:nvSpPr>
          <p:cNvPr id="7" name="Rectangle 6"/>
          <p:cNvSpPr/>
          <p:nvPr/>
        </p:nvSpPr>
        <p:spPr>
          <a:xfrm>
            <a:off x="0" y="5778124"/>
            <a:ext cx="12192000" cy="107987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dirty="0"/>
          </a:p>
        </p:txBody>
      </p:sp>
      <p:sp>
        <p:nvSpPr>
          <p:cNvPr id="4" name="Date Placeholder 3"/>
          <p:cNvSpPr>
            <a:spLocks noGrp="1"/>
          </p:cNvSpPr>
          <p:nvPr>
            <p:ph type="dt" sz="half" idx="10"/>
          </p:nvPr>
        </p:nvSpPr>
        <p:spPr/>
        <p:txBody>
          <a:bodyPr/>
          <a:lstStyle>
            <a:lvl1pPr>
              <a:defRPr baseline="0">
                <a:solidFill>
                  <a:schemeClr val="tx1">
                    <a:lumMod val="20000"/>
                    <a:lumOff val="80000"/>
                  </a:schemeClr>
                </a:solidFill>
              </a:defRPr>
            </a:lvl1pPr>
          </a:lstStyle>
          <a:p>
            <a:fld id="{402B9795-92DC-40DC-A1CA-9A4B349D7824}" type="datetimeFigureOut">
              <a:rPr lang="en-US" smtClean="0"/>
              <a:pPr/>
              <a:t>10/10/2022</a:t>
            </a:fld>
            <a:endParaRPr lang="en-US" dirty="0"/>
          </a:p>
        </p:txBody>
      </p:sp>
      <p:sp>
        <p:nvSpPr>
          <p:cNvPr id="5" name="Footer Placeholder 4"/>
          <p:cNvSpPr>
            <a:spLocks noGrp="1"/>
          </p:cNvSpPr>
          <p:nvPr>
            <p:ph type="ftr" sz="quarter" idx="11"/>
          </p:nvPr>
        </p:nvSpPr>
        <p:spPr/>
        <p:txBody>
          <a:bodyPr/>
          <a:lstStyle>
            <a:lvl1pPr>
              <a:defRPr baseline="0">
                <a:solidFill>
                  <a:schemeClr val="tx1">
                    <a:lumMod val="20000"/>
                    <a:lumOff val="80000"/>
                  </a:schemeClr>
                </a:solidFill>
              </a:defRPr>
            </a:lvl1pPr>
          </a:lstStyle>
          <a:p>
            <a:endParaRPr lang="en-US" dirty="0"/>
          </a:p>
        </p:txBody>
      </p:sp>
      <p:sp>
        <p:nvSpPr>
          <p:cNvPr id="6" name="Slide Number Placeholder 5"/>
          <p:cNvSpPr>
            <a:spLocks noGrp="1"/>
          </p:cNvSpPr>
          <p:nvPr>
            <p:ph type="sldNum" sz="quarter" idx="12"/>
          </p:nvPr>
        </p:nvSpPr>
        <p:spPr/>
        <p:txBody>
          <a:bodyPr/>
          <a:lstStyle>
            <a:lvl1pPr>
              <a:defRPr baseline="0">
                <a:solidFill>
                  <a:schemeClr val="tx1">
                    <a:lumMod val="20000"/>
                    <a:lumOff val="80000"/>
                  </a:schemeClr>
                </a:solidFill>
              </a:defRPr>
            </a:lvl1pPr>
          </a:lstStyle>
          <a:p>
            <a:fld id="{0FF54DE5-C571-48E8-A5BC-B369434E2F44}" type="slidenum">
              <a:rPr lang="en-US" smtClean="0"/>
              <a:pPr/>
              <a:t>‹#›</a:t>
            </a:fld>
            <a:endParaRPr lang="en-US" dirty="0"/>
          </a:p>
        </p:txBody>
      </p:sp>
    </p:spTree>
    <p:extLst>
      <p:ext uri="{BB962C8B-B14F-4D97-AF65-F5344CB8AC3E}">
        <p14:creationId xmlns:p14="http://schemas.microsoft.com/office/powerpoint/2010/main" val="2416878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402B9795-92DC-40DC-A1CA-9A4B349D7824}" type="datetimeFigureOut">
              <a:rPr lang="en-US"/>
              <a:t>10/10/2022</a:t>
            </a:fld>
            <a:endParaRPr dirty="0"/>
          </a:p>
        </p:txBody>
      </p:sp>
      <p:sp>
        <p:nvSpPr>
          <p:cNvPr id="5" name="Footer Placeholder 4"/>
          <p:cNvSpPr>
            <a:spLocks noGrp="1"/>
          </p:cNvSpPr>
          <p:nvPr>
            <p:ph type="ftr" sz="quarter" idx="11"/>
          </p:nvPr>
        </p:nvSpPr>
        <p:spPr/>
        <p:txBody>
          <a:bodyPr/>
          <a:lstStyle/>
          <a:p>
            <a:endParaRPr dirty="0"/>
          </a:p>
        </p:txBody>
      </p:sp>
      <p:sp>
        <p:nvSpPr>
          <p:cNvPr id="6" name="Slide Number Placeholder 5"/>
          <p:cNvSpPr>
            <a:spLocks noGrp="1"/>
          </p:cNvSpPr>
          <p:nvPr>
            <p:ph type="sldNum" sz="quarter" idx="12"/>
          </p:nvPr>
        </p:nvSpPr>
        <p:spPr/>
        <p:txBody>
          <a:bodyPr/>
          <a:lstStyle/>
          <a:p>
            <a:fld id="{0FF54DE5-C571-48E8-A5BC-B369434E2F44}" type="slidenum">
              <a:rPr/>
              <a:t>‹#›</a:t>
            </a:fld>
            <a:endParaRPr dirty="0"/>
          </a:p>
        </p:txBody>
      </p:sp>
    </p:spTree>
    <p:extLst>
      <p:ext uri="{BB962C8B-B14F-4D97-AF65-F5344CB8AC3E}">
        <p14:creationId xmlns:p14="http://schemas.microsoft.com/office/powerpoint/2010/main" val="20084446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Title Slide with Picture">
    <p:spTree>
      <p:nvGrpSpPr>
        <p:cNvPr id="1" name=""/>
        <p:cNvGrpSpPr/>
        <p:nvPr/>
      </p:nvGrpSpPr>
      <p:grpSpPr>
        <a:xfrm>
          <a:off x="0" y="0"/>
          <a:ext cx="0" cy="0"/>
          <a:chOff x="0" y="0"/>
          <a:chExt cx="0" cy="0"/>
        </a:xfrm>
      </p:grpSpPr>
      <p:sp>
        <p:nvSpPr>
          <p:cNvPr id="2" name="Title 1"/>
          <p:cNvSpPr>
            <a:spLocks noGrp="1"/>
          </p:cNvSpPr>
          <p:nvPr>
            <p:ph type="ctrTitle"/>
          </p:nvPr>
        </p:nvSpPr>
        <p:spPr>
          <a:xfrm>
            <a:off x="1104900" y="2292094"/>
            <a:ext cx="5734050" cy="2219691"/>
          </a:xfrm>
        </p:spPr>
        <p:txBody>
          <a:bodyPr anchor="ctr">
            <a:normAutofit/>
          </a:bodyPr>
          <a:lstStyle>
            <a:lvl1pPr algn="l">
              <a:defRPr sz="4400" cap="all" baseline="0"/>
            </a:lvl1pPr>
          </a:lstStyle>
          <a:p>
            <a:r>
              <a:rPr lang="en-US"/>
              <a:t>Click to edit Master title style</a:t>
            </a:r>
            <a:endParaRPr/>
          </a:p>
        </p:txBody>
      </p:sp>
      <p:sp>
        <p:nvSpPr>
          <p:cNvPr id="3" name="Subtitle 2"/>
          <p:cNvSpPr>
            <a:spLocks noGrp="1"/>
          </p:cNvSpPr>
          <p:nvPr>
            <p:ph type="subTitle" idx="1"/>
          </p:nvPr>
        </p:nvSpPr>
        <p:spPr>
          <a:xfrm>
            <a:off x="1104900" y="4511784"/>
            <a:ext cx="5734050" cy="955565"/>
          </a:xfrm>
        </p:spPr>
        <p:txBody>
          <a:bodyPr>
            <a:normAutofit/>
          </a:bodyPr>
          <a:lstStyle>
            <a:lvl1pPr marL="0" indent="0" algn="l">
              <a:spcBef>
                <a:spcPts val="0"/>
              </a:spcBef>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sp>
        <p:nvSpPr>
          <p:cNvPr id="11" name="Picture Placeholder 10" descr="An empty placeholder to add an image. Click on the placeholder and select the image that you wish to add."/>
          <p:cNvSpPr>
            <a:spLocks noGrp="1"/>
          </p:cNvSpPr>
          <p:nvPr>
            <p:ph type="pic" sz="quarter" idx="13"/>
          </p:nvPr>
        </p:nvSpPr>
        <p:spPr>
          <a:xfrm>
            <a:off x="6981063" y="1310656"/>
            <a:ext cx="5210937" cy="4208604"/>
          </a:xfrm>
          <a:solidFill>
            <a:schemeClr val="tx1">
              <a:lumMod val="20000"/>
              <a:lumOff val="80000"/>
            </a:schemeClr>
          </a:solidFill>
        </p:spPr>
        <p:txBody>
          <a:bodyPr tIns="1005840"/>
          <a:lstStyle>
            <a:lvl1pPr marL="0" indent="0" algn="ctr">
              <a:buNone/>
              <a:defRPr/>
            </a:lvl1pPr>
          </a:lstStyle>
          <a:p>
            <a:r>
              <a:rPr lang="en-US" dirty="0"/>
              <a:t>Click icon to add picture</a:t>
            </a:r>
            <a:endParaRPr dirty="0"/>
          </a:p>
        </p:txBody>
      </p:sp>
      <p:sp>
        <p:nvSpPr>
          <p:cNvPr id="8" name="Rectangle 7"/>
          <p:cNvSpPr/>
          <p:nvPr/>
        </p:nvSpPr>
        <p:spPr>
          <a:xfrm>
            <a:off x="0" y="0"/>
            <a:ext cx="12192000" cy="107987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dirty="0"/>
          </a:p>
        </p:txBody>
      </p:sp>
      <p:grpSp>
        <p:nvGrpSpPr>
          <p:cNvPr id="14" name="Group 13"/>
          <p:cNvGrpSpPr/>
          <p:nvPr/>
        </p:nvGrpSpPr>
        <p:grpSpPr>
          <a:xfrm>
            <a:off x="0" y="1143000"/>
            <a:ext cx="12192000" cy="63125"/>
            <a:chOff x="507492" y="1501519"/>
            <a:chExt cx="8129016" cy="63125"/>
          </a:xfrm>
        </p:grpSpPr>
        <p:cxnSp>
          <p:nvCxnSpPr>
            <p:cNvPr id="15" name="Straight Connector 14"/>
            <p:cNvCxnSpPr/>
            <p:nvPr/>
          </p:nvCxnSpPr>
          <p:spPr>
            <a:xfrm>
              <a:off x="507492" y="1564644"/>
              <a:ext cx="8129016" cy="0"/>
            </a:xfrm>
            <a:prstGeom prst="line">
              <a:avLst/>
            </a:prstGeom>
            <a:ln w="381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507492" y="1501519"/>
              <a:ext cx="8129016" cy="0"/>
            </a:xfrm>
            <a:prstGeom prst="line">
              <a:avLst/>
            </a:prstGeom>
            <a:ln w="127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grpSp>
      <p:pic>
        <p:nvPicPr>
          <p:cNvPr id="10" name="Picture 9"/>
          <p:cNvPicPr>
            <a:picLocks noChangeAspect="1"/>
          </p:cNvPicPr>
          <p:nvPr/>
        </p:nvPicPr>
        <p:blipFill rotWithShape="1">
          <a:blip r:embed="rId2" cstate="print">
            <a:duotone>
              <a:schemeClr val="accent2">
                <a:shade val="45000"/>
                <a:satMod val="135000"/>
              </a:schemeClr>
              <a:prstClr val="white"/>
            </a:duotone>
            <a:extLst>
              <a:ext uri="{BEBA8EAE-BF5A-486C-A8C5-ECC9F3942E4B}">
                <a14:imgProps xmlns:a14="http://schemas.microsoft.com/office/drawing/2010/main">
                  <a14:imgLayer r:embed="rId3">
                    <a14:imgEffect>
                      <a14:saturation sat="30000"/>
                    </a14:imgEffect>
                  </a14:imgLayer>
                </a14:imgProps>
              </a:ext>
              <a:ext uri="{28A0092B-C50C-407E-A947-70E740481C1C}">
                <a14:useLocalDpi xmlns:a14="http://schemas.microsoft.com/office/drawing/2010/main"/>
              </a:ext>
            </a:extLst>
          </a:blip>
          <a:srcRect/>
          <a:stretch/>
        </p:blipFill>
        <p:spPr>
          <a:xfrm>
            <a:off x="1325880" y="0"/>
            <a:ext cx="1747524" cy="2292094"/>
          </a:xfrm>
          <a:prstGeom prst="rect">
            <a:avLst/>
          </a:prstGeom>
        </p:spPr>
      </p:pic>
      <p:grpSp>
        <p:nvGrpSpPr>
          <p:cNvPr id="13" name="Group 12"/>
          <p:cNvGrpSpPr/>
          <p:nvPr/>
        </p:nvGrpSpPr>
        <p:grpSpPr>
          <a:xfrm rot="10800000">
            <a:off x="0" y="5645510"/>
            <a:ext cx="12192000" cy="63125"/>
            <a:chOff x="507492" y="1501519"/>
            <a:chExt cx="8129016" cy="63125"/>
          </a:xfrm>
        </p:grpSpPr>
        <p:cxnSp>
          <p:nvCxnSpPr>
            <p:cNvPr id="17" name="Straight Connector 16"/>
            <p:cNvCxnSpPr/>
            <p:nvPr/>
          </p:nvCxnSpPr>
          <p:spPr>
            <a:xfrm>
              <a:off x="507492" y="1564644"/>
              <a:ext cx="8129016" cy="0"/>
            </a:xfrm>
            <a:prstGeom prst="line">
              <a:avLst/>
            </a:prstGeom>
            <a:ln w="381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507492" y="1501519"/>
              <a:ext cx="8129016" cy="0"/>
            </a:xfrm>
            <a:prstGeom prst="line">
              <a:avLst/>
            </a:prstGeom>
            <a:ln w="127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grpSp>
      <p:sp>
        <p:nvSpPr>
          <p:cNvPr id="7" name="Rectangle 6"/>
          <p:cNvSpPr/>
          <p:nvPr/>
        </p:nvSpPr>
        <p:spPr>
          <a:xfrm>
            <a:off x="0" y="5778124"/>
            <a:ext cx="12192000" cy="107987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dirty="0"/>
          </a:p>
        </p:txBody>
      </p:sp>
    </p:spTree>
    <p:extLst>
      <p:ext uri="{BB962C8B-B14F-4D97-AF65-F5344CB8AC3E}">
        <p14:creationId xmlns:p14="http://schemas.microsoft.com/office/powerpoint/2010/main" val="1122844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3">
    <p:bg>
      <p:bgPr>
        <a:solidFill>
          <a:schemeClr val="accent1"/>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782DB56D-3F79-4772-A7FD-A3AB3FA4F710}"/>
              </a:ext>
            </a:extLst>
          </p:cNvPr>
          <p:cNvSpPr>
            <a:spLocks noGrp="1"/>
          </p:cNvSpPr>
          <p:nvPr>
            <p:ph type="dt" sz="half" idx="10"/>
          </p:nvPr>
        </p:nvSpPr>
        <p:spPr/>
        <p:txBody>
          <a:bodyPr/>
          <a:lstStyle/>
          <a:p>
            <a:r>
              <a:rPr lang="en-US"/>
              <a:t>dd Month 2021</a:t>
            </a:r>
            <a:endParaRPr lang="en-GB" dirty="0"/>
          </a:p>
        </p:txBody>
      </p:sp>
      <p:sp>
        <p:nvSpPr>
          <p:cNvPr id="4" name="Footer Placeholder 3">
            <a:extLst>
              <a:ext uri="{FF2B5EF4-FFF2-40B4-BE49-F238E27FC236}">
                <a16:creationId xmlns:a16="http://schemas.microsoft.com/office/drawing/2014/main" id="{906399CC-6BFE-43AA-8E28-390D76066980}"/>
              </a:ext>
            </a:extLst>
          </p:cNvPr>
          <p:cNvSpPr>
            <a:spLocks noGrp="1"/>
          </p:cNvSpPr>
          <p:nvPr>
            <p:ph type="ftr" sz="quarter" idx="11"/>
          </p:nvPr>
        </p:nvSpPr>
        <p:spPr/>
        <p:txBody>
          <a:bodyPr/>
          <a:lstStyle/>
          <a:p>
            <a:r>
              <a:rPr lang="en-GB"/>
              <a:t>Update Footer to add the Document title</a:t>
            </a:r>
            <a:endParaRPr lang="en-GB" dirty="0"/>
          </a:p>
        </p:txBody>
      </p:sp>
      <p:sp>
        <p:nvSpPr>
          <p:cNvPr id="2" name="Title 1">
            <a:extLst>
              <a:ext uri="{FF2B5EF4-FFF2-40B4-BE49-F238E27FC236}">
                <a16:creationId xmlns:a16="http://schemas.microsoft.com/office/drawing/2014/main" id="{38EC3CE8-1D82-43F7-9E8B-65849360FC2D}"/>
              </a:ext>
            </a:extLst>
          </p:cNvPr>
          <p:cNvSpPr>
            <a:spLocks noGrp="1"/>
          </p:cNvSpPr>
          <p:nvPr>
            <p:ph type="title"/>
          </p:nvPr>
        </p:nvSpPr>
        <p:spPr/>
        <p:txBody>
          <a:bodyPr/>
          <a:lstStyle/>
          <a:p>
            <a:r>
              <a:rPr lang="en-US"/>
              <a:t>Click to edit Master title style</a:t>
            </a:r>
            <a:endParaRPr lang="en-GB" dirty="0"/>
          </a:p>
        </p:txBody>
      </p:sp>
    </p:spTree>
    <p:extLst>
      <p:ext uri="{BB962C8B-B14F-4D97-AF65-F5344CB8AC3E}">
        <p14:creationId xmlns:p14="http://schemas.microsoft.com/office/powerpoint/2010/main" val="3205414553"/>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pSp>
        <p:nvGrpSpPr>
          <p:cNvPr id="8" name="Group 7"/>
          <p:cNvGrpSpPr/>
          <p:nvPr/>
        </p:nvGrpSpPr>
        <p:grpSpPr>
          <a:xfrm>
            <a:off x="0" y="2514600"/>
            <a:ext cx="12192000" cy="3194035"/>
            <a:chOff x="647402" y="2514600"/>
            <a:chExt cx="10838688" cy="3194035"/>
          </a:xfrm>
        </p:grpSpPr>
        <p:grpSp>
          <p:nvGrpSpPr>
            <p:cNvPr id="9" name="Group 8"/>
            <p:cNvGrpSpPr/>
            <p:nvPr/>
          </p:nvGrpSpPr>
          <p:grpSpPr>
            <a:xfrm>
              <a:off x="647402" y="2514600"/>
              <a:ext cx="10838688" cy="63125"/>
              <a:chOff x="507492" y="1501519"/>
              <a:chExt cx="8129016" cy="63125"/>
            </a:xfrm>
          </p:grpSpPr>
          <p:cxnSp>
            <p:nvCxnSpPr>
              <p:cNvPr id="14" name="Straight Connector 13"/>
              <p:cNvCxnSpPr/>
              <p:nvPr/>
            </p:nvCxnSpPr>
            <p:spPr>
              <a:xfrm>
                <a:off x="507492" y="1564644"/>
                <a:ext cx="8129016" cy="0"/>
              </a:xfrm>
              <a:prstGeom prst="line">
                <a:avLst/>
              </a:prstGeom>
              <a:ln w="381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507492" y="1501519"/>
                <a:ext cx="8129016" cy="0"/>
              </a:xfrm>
              <a:prstGeom prst="line">
                <a:avLst/>
              </a:prstGeom>
              <a:ln w="127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grpSp>
        <p:sp>
          <p:nvSpPr>
            <p:cNvPr id="10" name="Rectangle 9"/>
            <p:cNvSpPr/>
            <p:nvPr/>
          </p:nvSpPr>
          <p:spPr>
            <a:xfrm>
              <a:off x="647402" y="2640850"/>
              <a:ext cx="10838688" cy="294153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dirty="0"/>
            </a:p>
          </p:txBody>
        </p:sp>
        <p:grpSp>
          <p:nvGrpSpPr>
            <p:cNvPr id="11" name="Group 10"/>
            <p:cNvGrpSpPr/>
            <p:nvPr/>
          </p:nvGrpSpPr>
          <p:grpSpPr>
            <a:xfrm rot="10800000">
              <a:off x="647402" y="5645510"/>
              <a:ext cx="10838688" cy="63125"/>
              <a:chOff x="507492" y="1501519"/>
              <a:chExt cx="8129016" cy="63125"/>
            </a:xfrm>
          </p:grpSpPr>
          <p:cxnSp>
            <p:nvCxnSpPr>
              <p:cNvPr id="12" name="Straight Connector 11"/>
              <p:cNvCxnSpPr/>
              <p:nvPr/>
            </p:nvCxnSpPr>
            <p:spPr>
              <a:xfrm>
                <a:off x="507492" y="1564644"/>
                <a:ext cx="8129016" cy="0"/>
              </a:xfrm>
              <a:prstGeom prst="line">
                <a:avLst/>
              </a:prstGeom>
              <a:ln w="381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507492" y="1501519"/>
                <a:ext cx="8129016" cy="0"/>
              </a:xfrm>
              <a:prstGeom prst="line">
                <a:avLst/>
              </a:prstGeom>
              <a:ln w="127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grpSp>
      </p:grpSp>
      <p:pic>
        <p:nvPicPr>
          <p:cNvPr id="7" name="Picture 6"/>
          <p:cNvPicPr>
            <a:picLocks noChangeAspect="1"/>
          </p:cNvPicPr>
          <p:nvPr/>
        </p:nvPicPr>
        <p:blipFill>
          <a:blip r:embed="rId2" cstate="print">
            <a:duotone>
              <a:schemeClr val="accent2">
                <a:shade val="45000"/>
                <a:satMod val="135000"/>
              </a:schemeClr>
              <a:prstClr val="white"/>
            </a:duotone>
            <a:extLst>
              <a:ext uri="{28A0092B-C50C-407E-A947-70E740481C1C}">
                <a14:useLocalDpi xmlns:a14="http://schemas.microsoft.com/office/drawing/2010/main"/>
              </a:ext>
            </a:extLst>
          </a:blip>
          <a:stretch>
            <a:fillRect/>
          </a:stretch>
        </p:blipFill>
        <p:spPr>
          <a:xfrm>
            <a:off x="1325880" y="0"/>
            <a:ext cx="1783188" cy="2971806"/>
          </a:xfrm>
          <a:prstGeom prst="rect">
            <a:avLst/>
          </a:prstGeom>
        </p:spPr>
      </p:pic>
      <p:sp>
        <p:nvSpPr>
          <p:cNvPr id="2" name="Title 1"/>
          <p:cNvSpPr>
            <a:spLocks noGrp="1"/>
          </p:cNvSpPr>
          <p:nvPr>
            <p:ph type="title"/>
          </p:nvPr>
        </p:nvSpPr>
        <p:spPr>
          <a:xfrm>
            <a:off x="1104899" y="2971806"/>
            <a:ext cx="10071099" cy="1684150"/>
          </a:xfrm>
        </p:spPr>
        <p:txBody>
          <a:bodyPr anchor="ctr">
            <a:normAutofit/>
          </a:bodyPr>
          <a:lstStyle>
            <a:lvl1pPr>
              <a:defRPr sz="4400" cap="all" baseline="0">
                <a:solidFill>
                  <a:schemeClr val="bg1"/>
                </a:solidFill>
              </a:defRPr>
            </a:lvl1pPr>
          </a:lstStyle>
          <a:p>
            <a:r>
              <a:rPr lang="en-US"/>
              <a:t>Click to edit Master title style</a:t>
            </a:r>
            <a:endParaRPr/>
          </a:p>
        </p:txBody>
      </p:sp>
      <p:sp>
        <p:nvSpPr>
          <p:cNvPr id="3" name="Text Placeholder 2"/>
          <p:cNvSpPr>
            <a:spLocks noGrp="1"/>
          </p:cNvSpPr>
          <p:nvPr>
            <p:ph type="body" idx="1"/>
          </p:nvPr>
        </p:nvSpPr>
        <p:spPr>
          <a:xfrm>
            <a:off x="1104899" y="4655956"/>
            <a:ext cx="10071099" cy="509750"/>
          </a:xfrm>
        </p:spPr>
        <p:txBody>
          <a:bodyPr>
            <a:normAutofit/>
          </a:bodyPr>
          <a:lstStyle>
            <a:lvl1pPr marL="0" indent="0">
              <a:spcBef>
                <a:spcPts val="0"/>
              </a:spcBef>
              <a:buNone/>
              <a:defRPr sz="1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402B9795-92DC-40DC-A1CA-9A4B349D7824}" type="datetimeFigureOut">
              <a:rPr lang="en-US"/>
              <a:t>10/10/2022</a:t>
            </a:fld>
            <a:endParaRPr dirty="0"/>
          </a:p>
        </p:txBody>
      </p:sp>
      <p:sp>
        <p:nvSpPr>
          <p:cNvPr id="5" name="Footer Placeholder 4"/>
          <p:cNvSpPr>
            <a:spLocks noGrp="1"/>
          </p:cNvSpPr>
          <p:nvPr>
            <p:ph type="ftr" sz="quarter" idx="11"/>
          </p:nvPr>
        </p:nvSpPr>
        <p:spPr/>
        <p:txBody>
          <a:bodyPr/>
          <a:lstStyle/>
          <a:p>
            <a:endParaRPr dirty="0"/>
          </a:p>
        </p:txBody>
      </p:sp>
      <p:sp>
        <p:nvSpPr>
          <p:cNvPr id="6" name="Slide Number Placeholder 5"/>
          <p:cNvSpPr>
            <a:spLocks noGrp="1"/>
          </p:cNvSpPr>
          <p:nvPr>
            <p:ph type="sldNum" sz="quarter" idx="12"/>
          </p:nvPr>
        </p:nvSpPr>
        <p:spPr/>
        <p:txBody>
          <a:bodyPr/>
          <a:lstStyle/>
          <a:p>
            <a:fld id="{0FF54DE5-C571-48E8-A5BC-B369434E2F44}" type="slidenum">
              <a:rPr/>
              <a:t>‹#›</a:t>
            </a:fld>
            <a:endParaRPr dirty="0"/>
          </a:p>
        </p:txBody>
      </p:sp>
    </p:spTree>
    <p:extLst>
      <p:ext uri="{BB962C8B-B14F-4D97-AF65-F5344CB8AC3E}">
        <p14:creationId xmlns:p14="http://schemas.microsoft.com/office/powerpoint/2010/main" val="4266856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sz="half" idx="1"/>
          </p:nvPr>
        </p:nvSpPr>
        <p:spPr>
          <a:xfrm>
            <a:off x="1104900" y="1600200"/>
            <a:ext cx="4914900" cy="4571999"/>
          </a:xfrm>
        </p:spPr>
        <p:txBody>
          <a:bodyPr/>
          <a:lstStyle>
            <a:lvl5pPr>
              <a:defRPr/>
            </a:lvl5pPr>
            <a:lvl6pPr>
              <a:defRPr/>
            </a:lvl6pPr>
            <a:lvl7pPr>
              <a:defRPr/>
            </a:lvl7pPr>
            <a:lvl8pPr>
              <a:defRPr/>
            </a:lvl8pPr>
            <a:lvl9pP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Placeholder 3"/>
          <p:cNvSpPr>
            <a:spLocks noGrp="1"/>
          </p:cNvSpPr>
          <p:nvPr>
            <p:ph sz="half" idx="2"/>
          </p:nvPr>
        </p:nvSpPr>
        <p:spPr>
          <a:xfrm>
            <a:off x="6172200" y="1600200"/>
            <a:ext cx="4914900" cy="4571999"/>
          </a:xfrm>
        </p:spPr>
        <p:txBody>
          <a:bodyPr/>
          <a:lstStyle>
            <a:lvl5pPr>
              <a:defRPr/>
            </a:lvl5pPr>
            <a:lvl6pPr>
              <a:defRPr/>
            </a:lvl6pPr>
            <a:lvl7pPr>
              <a:defRPr/>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4"/>
          <p:cNvSpPr>
            <a:spLocks noGrp="1"/>
          </p:cNvSpPr>
          <p:nvPr>
            <p:ph type="dt" sz="half" idx="10"/>
          </p:nvPr>
        </p:nvSpPr>
        <p:spPr/>
        <p:txBody>
          <a:bodyPr/>
          <a:lstStyle/>
          <a:p>
            <a:fld id="{402B9795-92DC-40DC-A1CA-9A4B349D7824}" type="datetimeFigureOut">
              <a:rPr lang="en-US"/>
              <a:t>10/10/2022</a:t>
            </a:fld>
            <a:endParaRPr dirty="0"/>
          </a:p>
        </p:txBody>
      </p:sp>
      <p:sp>
        <p:nvSpPr>
          <p:cNvPr id="6" name="Footer Placeholder 5"/>
          <p:cNvSpPr>
            <a:spLocks noGrp="1"/>
          </p:cNvSpPr>
          <p:nvPr>
            <p:ph type="ftr" sz="quarter" idx="11"/>
          </p:nvPr>
        </p:nvSpPr>
        <p:spPr/>
        <p:txBody>
          <a:bodyPr/>
          <a:lstStyle/>
          <a:p>
            <a:endParaRPr dirty="0"/>
          </a:p>
        </p:txBody>
      </p:sp>
      <p:sp>
        <p:nvSpPr>
          <p:cNvPr id="7" name="Slide Number Placeholder 6"/>
          <p:cNvSpPr>
            <a:spLocks noGrp="1"/>
          </p:cNvSpPr>
          <p:nvPr>
            <p:ph type="sldNum" sz="quarter" idx="12"/>
          </p:nvPr>
        </p:nvSpPr>
        <p:spPr/>
        <p:txBody>
          <a:bodyPr/>
          <a:lstStyle/>
          <a:p>
            <a:fld id="{0FF54DE5-C571-48E8-A5BC-B369434E2F44}" type="slidenum">
              <a:rPr/>
              <a:t>‹#›</a:t>
            </a:fld>
            <a:endParaRPr dirty="0"/>
          </a:p>
        </p:txBody>
      </p:sp>
    </p:spTree>
    <p:extLst>
      <p:ext uri="{BB962C8B-B14F-4D97-AF65-F5344CB8AC3E}">
        <p14:creationId xmlns:p14="http://schemas.microsoft.com/office/powerpoint/2010/main" val="1921216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Text Placeholder 2"/>
          <p:cNvSpPr>
            <a:spLocks noGrp="1"/>
          </p:cNvSpPr>
          <p:nvPr>
            <p:ph type="body" idx="1"/>
          </p:nvPr>
        </p:nvSpPr>
        <p:spPr>
          <a:xfrm>
            <a:off x="1104900" y="1600200"/>
            <a:ext cx="4919472" cy="823912"/>
          </a:xfrm>
        </p:spPr>
        <p:txBody>
          <a:bodyPr anchor="b"/>
          <a:lstStyle>
            <a:lvl1pPr marL="0" indent="0">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104900" y="2424112"/>
            <a:ext cx="4919472" cy="37480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4"/>
          <p:cNvSpPr>
            <a:spLocks noGrp="1"/>
          </p:cNvSpPr>
          <p:nvPr>
            <p:ph type="body" sz="quarter" idx="3"/>
          </p:nvPr>
        </p:nvSpPr>
        <p:spPr>
          <a:xfrm>
            <a:off x="6166110" y="1600200"/>
            <a:ext cx="4919472" cy="823912"/>
          </a:xfrm>
        </p:spPr>
        <p:txBody>
          <a:bodyPr anchor="b"/>
          <a:lstStyle>
            <a:lvl1pPr marL="0" indent="0">
              <a:spcBef>
                <a:spcPts val="0"/>
              </a:spcBef>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66110" y="2424112"/>
            <a:ext cx="4919472" cy="37480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Date Placeholder 6"/>
          <p:cNvSpPr>
            <a:spLocks noGrp="1"/>
          </p:cNvSpPr>
          <p:nvPr>
            <p:ph type="dt" sz="half" idx="10"/>
          </p:nvPr>
        </p:nvSpPr>
        <p:spPr/>
        <p:txBody>
          <a:bodyPr/>
          <a:lstStyle/>
          <a:p>
            <a:fld id="{402B9795-92DC-40DC-A1CA-9A4B349D7824}" type="datetimeFigureOut">
              <a:rPr lang="en-US"/>
              <a:t>10/10/2022</a:t>
            </a:fld>
            <a:endParaRPr dirty="0"/>
          </a:p>
        </p:txBody>
      </p:sp>
      <p:sp>
        <p:nvSpPr>
          <p:cNvPr id="8" name="Footer Placeholder 7"/>
          <p:cNvSpPr>
            <a:spLocks noGrp="1"/>
          </p:cNvSpPr>
          <p:nvPr>
            <p:ph type="ftr" sz="quarter" idx="11"/>
          </p:nvPr>
        </p:nvSpPr>
        <p:spPr/>
        <p:txBody>
          <a:bodyPr/>
          <a:lstStyle/>
          <a:p>
            <a:endParaRPr dirty="0"/>
          </a:p>
        </p:txBody>
      </p:sp>
      <p:sp>
        <p:nvSpPr>
          <p:cNvPr id="9" name="Slide Number Placeholder 8"/>
          <p:cNvSpPr>
            <a:spLocks noGrp="1"/>
          </p:cNvSpPr>
          <p:nvPr>
            <p:ph type="sldNum" sz="quarter" idx="12"/>
          </p:nvPr>
        </p:nvSpPr>
        <p:spPr/>
        <p:txBody>
          <a:bodyPr/>
          <a:lstStyle/>
          <a:p>
            <a:fld id="{0FF54DE5-C571-48E8-A5BC-B369434E2F44}" type="slidenum">
              <a:rPr/>
              <a:t>‹#›</a:t>
            </a:fld>
            <a:endParaRPr dirty="0"/>
          </a:p>
        </p:txBody>
      </p:sp>
    </p:spTree>
    <p:extLst>
      <p:ext uri="{BB962C8B-B14F-4D97-AF65-F5344CB8AC3E}">
        <p14:creationId xmlns:p14="http://schemas.microsoft.com/office/powerpoint/2010/main" val="266100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fld id="{402B9795-92DC-40DC-A1CA-9A4B349D7824}" type="datetimeFigureOut">
              <a:rPr lang="en-US"/>
              <a:t>10/10/2022</a:t>
            </a:fld>
            <a:endParaRPr dirty="0"/>
          </a:p>
        </p:txBody>
      </p:sp>
      <p:sp>
        <p:nvSpPr>
          <p:cNvPr id="4" name="Footer Placeholder 3"/>
          <p:cNvSpPr>
            <a:spLocks noGrp="1"/>
          </p:cNvSpPr>
          <p:nvPr>
            <p:ph type="ftr" sz="quarter" idx="11"/>
          </p:nvPr>
        </p:nvSpPr>
        <p:spPr/>
        <p:txBody>
          <a:bodyPr/>
          <a:lstStyle/>
          <a:p>
            <a:endParaRPr dirty="0"/>
          </a:p>
        </p:txBody>
      </p:sp>
      <p:sp>
        <p:nvSpPr>
          <p:cNvPr id="5" name="Slide Number Placeholder 4"/>
          <p:cNvSpPr>
            <a:spLocks noGrp="1"/>
          </p:cNvSpPr>
          <p:nvPr>
            <p:ph type="sldNum" sz="quarter" idx="12"/>
          </p:nvPr>
        </p:nvSpPr>
        <p:spPr/>
        <p:txBody>
          <a:bodyPr/>
          <a:lstStyle/>
          <a:p>
            <a:fld id="{0FF54DE5-C571-48E8-A5BC-B369434E2F44}" type="slidenum">
              <a:rPr/>
              <a:t>‹#›</a:t>
            </a:fld>
            <a:endParaRPr dirty="0"/>
          </a:p>
        </p:txBody>
      </p:sp>
    </p:spTree>
    <p:extLst>
      <p:ext uri="{BB962C8B-B14F-4D97-AF65-F5344CB8AC3E}">
        <p14:creationId xmlns:p14="http://schemas.microsoft.com/office/powerpoint/2010/main" val="892515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02B9795-92DC-40DC-A1CA-9A4B349D7824}" type="datetimeFigureOut">
              <a:rPr lang="en-US"/>
              <a:t>10/10/2022</a:t>
            </a:fld>
            <a:endParaRPr dirty="0"/>
          </a:p>
        </p:txBody>
      </p:sp>
      <p:sp>
        <p:nvSpPr>
          <p:cNvPr id="3" name="Footer Placeholder 2"/>
          <p:cNvSpPr>
            <a:spLocks noGrp="1"/>
          </p:cNvSpPr>
          <p:nvPr>
            <p:ph type="ftr" sz="quarter" idx="11"/>
          </p:nvPr>
        </p:nvSpPr>
        <p:spPr/>
        <p:txBody>
          <a:bodyPr/>
          <a:lstStyle/>
          <a:p>
            <a:endParaRPr dirty="0"/>
          </a:p>
        </p:txBody>
      </p:sp>
      <p:sp>
        <p:nvSpPr>
          <p:cNvPr id="4" name="Slide Number Placeholder 3"/>
          <p:cNvSpPr>
            <a:spLocks noGrp="1"/>
          </p:cNvSpPr>
          <p:nvPr>
            <p:ph type="sldNum" sz="quarter" idx="12"/>
          </p:nvPr>
        </p:nvSpPr>
        <p:spPr/>
        <p:txBody>
          <a:bodyPr/>
          <a:lstStyle/>
          <a:p>
            <a:fld id="{0FF54DE5-C571-48E8-A5BC-B369434E2F44}" type="slidenum">
              <a:rPr/>
              <a:t>‹#›</a:t>
            </a:fld>
            <a:endParaRPr dirty="0"/>
          </a:p>
        </p:txBody>
      </p:sp>
    </p:spTree>
    <p:extLst>
      <p:ext uri="{BB962C8B-B14F-4D97-AF65-F5344CB8AC3E}">
        <p14:creationId xmlns:p14="http://schemas.microsoft.com/office/powerpoint/2010/main" val="1146752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lvl1pPr>
              <a:defRPr sz="3200"/>
            </a:lvl1pPr>
          </a:lstStyle>
          <a:p>
            <a:r>
              <a:rPr lang="en-US"/>
              <a:t>Click to edit Master title style</a:t>
            </a:r>
            <a:endParaRPr/>
          </a:p>
        </p:txBody>
      </p:sp>
      <p:sp>
        <p:nvSpPr>
          <p:cNvPr id="4" name="Text Placeholder 3"/>
          <p:cNvSpPr>
            <a:spLocks noGrp="1"/>
          </p:cNvSpPr>
          <p:nvPr>
            <p:ph type="body" sz="half" idx="2"/>
          </p:nvPr>
        </p:nvSpPr>
        <p:spPr>
          <a:xfrm>
            <a:off x="1104900" y="1600200"/>
            <a:ext cx="4384548" cy="4572000"/>
          </a:xfrm>
        </p:spPr>
        <p:txBody>
          <a:bodyPr>
            <a:normAutofit/>
          </a:bodyPr>
          <a:lstStyle>
            <a:lvl1pPr marL="0" indent="0">
              <a:spcBef>
                <a:spcPts val="1200"/>
              </a:spcBef>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3" name="Content Placeholder 2"/>
          <p:cNvSpPr>
            <a:spLocks noGrp="1"/>
          </p:cNvSpPr>
          <p:nvPr>
            <p:ph idx="1"/>
          </p:nvPr>
        </p:nvSpPr>
        <p:spPr>
          <a:xfrm>
            <a:off x="5641848" y="1600199"/>
            <a:ext cx="5445252" cy="4572001"/>
          </a:xfrm>
        </p:spPr>
        <p:txBody>
          <a:bodyPr>
            <a:normAutofit/>
          </a:bodyPr>
          <a:lstStyle>
            <a:lvl1pPr>
              <a:defRPr sz="2000"/>
            </a:lvl1pPr>
            <a:lvl2pPr>
              <a:defRPr sz="16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4"/>
          <p:cNvSpPr>
            <a:spLocks noGrp="1"/>
          </p:cNvSpPr>
          <p:nvPr>
            <p:ph type="dt" sz="half" idx="10"/>
          </p:nvPr>
        </p:nvSpPr>
        <p:spPr/>
        <p:txBody>
          <a:bodyPr/>
          <a:lstStyle/>
          <a:p>
            <a:fld id="{402B9795-92DC-40DC-A1CA-9A4B349D7824}" type="datetimeFigureOut">
              <a:rPr lang="en-US"/>
              <a:t>10/10/2022</a:t>
            </a:fld>
            <a:endParaRPr dirty="0"/>
          </a:p>
        </p:txBody>
      </p:sp>
      <p:sp>
        <p:nvSpPr>
          <p:cNvPr id="6" name="Footer Placeholder 5"/>
          <p:cNvSpPr>
            <a:spLocks noGrp="1"/>
          </p:cNvSpPr>
          <p:nvPr>
            <p:ph type="ftr" sz="quarter" idx="11"/>
          </p:nvPr>
        </p:nvSpPr>
        <p:spPr/>
        <p:txBody>
          <a:bodyPr/>
          <a:lstStyle/>
          <a:p>
            <a:endParaRPr dirty="0"/>
          </a:p>
        </p:txBody>
      </p:sp>
      <p:sp>
        <p:nvSpPr>
          <p:cNvPr id="7" name="Slide Number Placeholder 6"/>
          <p:cNvSpPr>
            <a:spLocks noGrp="1"/>
          </p:cNvSpPr>
          <p:nvPr>
            <p:ph type="sldNum" sz="quarter" idx="12"/>
          </p:nvPr>
        </p:nvSpPr>
        <p:spPr/>
        <p:txBody>
          <a:bodyPr/>
          <a:lstStyle/>
          <a:p>
            <a:fld id="{0FF54DE5-C571-48E8-A5BC-B369434E2F44}" type="slidenum">
              <a:rPr/>
              <a:t>‹#›</a:t>
            </a:fld>
            <a:endParaRPr dirty="0"/>
          </a:p>
        </p:txBody>
      </p:sp>
    </p:spTree>
    <p:extLst>
      <p:ext uri="{BB962C8B-B14F-4D97-AF65-F5344CB8AC3E}">
        <p14:creationId xmlns:p14="http://schemas.microsoft.com/office/powerpoint/2010/main" val="3966180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lvl1pPr>
              <a:defRPr sz="3200"/>
            </a:lvl1pPr>
          </a:lstStyle>
          <a:p>
            <a:r>
              <a:rPr lang="en-US"/>
              <a:t>Click to edit Master title style</a:t>
            </a:r>
            <a:endParaRPr/>
          </a:p>
        </p:txBody>
      </p:sp>
      <p:sp>
        <p:nvSpPr>
          <p:cNvPr id="4" name="Text Placeholder 3"/>
          <p:cNvSpPr>
            <a:spLocks noGrp="1"/>
          </p:cNvSpPr>
          <p:nvPr>
            <p:ph type="body" sz="half" idx="2"/>
          </p:nvPr>
        </p:nvSpPr>
        <p:spPr>
          <a:xfrm>
            <a:off x="1104900" y="1600200"/>
            <a:ext cx="3396996" cy="4572000"/>
          </a:xfrm>
        </p:spPr>
        <p:txBody>
          <a:bodyPr>
            <a:normAutofit/>
          </a:bodyPr>
          <a:lstStyle>
            <a:lvl1pPr marL="0" indent="0">
              <a:spcBef>
                <a:spcPts val="1200"/>
              </a:spcBef>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3" name="Picture Placeholder 2" descr="An empty placeholder to add an image. Click on the placeholder and select the image that you wish to add."/>
          <p:cNvSpPr>
            <a:spLocks noGrp="1"/>
          </p:cNvSpPr>
          <p:nvPr>
            <p:ph type="pic" idx="1"/>
          </p:nvPr>
        </p:nvSpPr>
        <p:spPr>
          <a:xfrm>
            <a:off x="4654671" y="1600199"/>
            <a:ext cx="6430912" cy="4572001"/>
          </a:xfrm>
        </p:spPr>
        <p:txBody>
          <a:bodyPr tIns="1188720">
            <a:normAutofit/>
          </a:bodyPr>
          <a:lstStyle>
            <a:lvl1pPr marL="0" indent="0" algn="ctr">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dirty="0"/>
          </a:p>
        </p:txBody>
      </p:sp>
      <p:sp>
        <p:nvSpPr>
          <p:cNvPr id="5" name="Date Placeholder 4"/>
          <p:cNvSpPr>
            <a:spLocks noGrp="1"/>
          </p:cNvSpPr>
          <p:nvPr>
            <p:ph type="dt" sz="half" idx="10"/>
          </p:nvPr>
        </p:nvSpPr>
        <p:spPr/>
        <p:txBody>
          <a:bodyPr/>
          <a:lstStyle/>
          <a:p>
            <a:fld id="{402B9795-92DC-40DC-A1CA-9A4B349D7824}" type="datetimeFigureOut">
              <a:rPr lang="en-US"/>
              <a:t>10/10/2022</a:t>
            </a:fld>
            <a:endParaRPr dirty="0"/>
          </a:p>
        </p:txBody>
      </p:sp>
      <p:sp>
        <p:nvSpPr>
          <p:cNvPr id="6" name="Footer Placeholder 5"/>
          <p:cNvSpPr>
            <a:spLocks noGrp="1"/>
          </p:cNvSpPr>
          <p:nvPr>
            <p:ph type="ftr" sz="quarter" idx="11"/>
          </p:nvPr>
        </p:nvSpPr>
        <p:spPr/>
        <p:txBody>
          <a:bodyPr/>
          <a:lstStyle/>
          <a:p>
            <a:endParaRPr dirty="0"/>
          </a:p>
        </p:txBody>
      </p:sp>
      <p:sp>
        <p:nvSpPr>
          <p:cNvPr id="7" name="Slide Number Placeholder 6"/>
          <p:cNvSpPr>
            <a:spLocks noGrp="1"/>
          </p:cNvSpPr>
          <p:nvPr>
            <p:ph type="sldNum" sz="quarter" idx="12"/>
          </p:nvPr>
        </p:nvSpPr>
        <p:spPr/>
        <p:txBody>
          <a:bodyPr/>
          <a:lstStyle/>
          <a:p>
            <a:fld id="{0FF54DE5-C571-48E8-A5BC-B369434E2F44}" type="slidenum">
              <a:rPr/>
              <a:t>‹#›</a:t>
            </a:fld>
            <a:endParaRPr dirty="0"/>
          </a:p>
        </p:txBody>
      </p:sp>
    </p:spTree>
    <p:extLst>
      <p:ext uri="{BB962C8B-B14F-4D97-AF65-F5344CB8AC3E}">
        <p14:creationId xmlns:p14="http://schemas.microsoft.com/office/powerpoint/2010/main" val="345234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402B9795-92DC-40DC-A1CA-9A4B349D7824}" type="datetimeFigureOut">
              <a:rPr lang="en-US"/>
              <a:t>10/10/2022</a:t>
            </a:fld>
            <a:endParaRPr dirty="0"/>
          </a:p>
        </p:txBody>
      </p:sp>
      <p:sp>
        <p:nvSpPr>
          <p:cNvPr id="5" name="Footer Placeholder 4"/>
          <p:cNvSpPr>
            <a:spLocks noGrp="1"/>
          </p:cNvSpPr>
          <p:nvPr>
            <p:ph type="ftr" sz="quarter" idx="11"/>
          </p:nvPr>
        </p:nvSpPr>
        <p:spPr/>
        <p:txBody>
          <a:bodyPr/>
          <a:lstStyle/>
          <a:p>
            <a:endParaRPr dirty="0"/>
          </a:p>
        </p:txBody>
      </p:sp>
      <p:sp>
        <p:nvSpPr>
          <p:cNvPr id="6" name="Slide Number Placeholder 5"/>
          <p:cNvSpPr>
            <a:spLocks noGrp="1"/>
          </p:cNvSpPr>
          <p:nvPr>
            <p:ph type="sldNum" sz="quarter" idx="12"/>
          </p:nvPr>
        </p:nvSpPr>
        <p:spPr/>
        <p:txBody>
          <a:bodyPr/>
          <a:lstStyle/>
          <a:p>
            <a:fld id="{0FF54DE5-C571-48E8-A5BC-B369434E2F44}" type="slidenum">
              <a:rPr/>
              <a:t>‹#›</a:t>
            </a:fld>
            <a:endParaRPr dirty="0"/>
          </a:p>
        </p:txBody>
      </p:sp>
    </p:spTree>
    <p:extLst>
      <p:ext uri="{BB962C8B-B14F-4D97-AF65-F5344CB8AC3E}">
        <p14:creationId xmlns:p14="http://schemas.microsoft.com/office/powerpoint/2010/main" val="847907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372600" y="365125"/>
            <a:ext cx="1714500" cy="5811838"/>
          </a:xfrm>
        </p:spPr>
        <p:txBody>
          <a:bodyPr vert="eaVert"/>
          <a:lstStyle/>
          <a:p>
            <a:r>
              <a:rPr lang="en-US"/>
              <a:t>Click to edit Master title style</a:t>
            </a:r>
            <a:endParaRPr/>
          </a:p>
        </p:txBody>
      </p:sp>
      <p:sp>
        <p:nvSpPr>
          <p:cNvPr id="3" name="Vertical Text Placeholder 2"/>
          <p:cNvSpPr>
            <a:spLocks noGrp="1"/>
          </p:cNvSpPr>
          <p:nvPr>
            <p:ph type="body" orient="vert" idx="1"/>
          </p:nvPr>
        </p:nvSpPr>
        <p:spPr>
          <a:xfrm>
            <a:off x="1104900" y="365125"/>
            <a:ext cx="8098896"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402B9795-92DC-40DC-A1CA-9A4B349D7824}" type="datetimeFigureOut">
              <a:rPr lang="en-US"/>
              <a:t>10/10/2022</a:t>
            </a:fld>
            <a:endParaRPr dirty="0"/>
          </a:p>
        </p:txBody>
      </p:sp>
      <p:sp>
        <p:nvSpPr>
          <p:cNvPr id="5" name="Footer Placeholder 4"/>
          <p:cNvSpPr>
            <a:spLocks noGrp="1"/>
          </p:cNvSpPr>
          <p:nvPr>
            <p:ph type="ftr" sz="quarter" idx="11"/>
          </p:nvPr>
        </p:nvSpPr>
        <p:spPr/>
        <p:txBody>
          <a:bodyPr/>
          <a:lstStyle/>
          <a:p>
            <a:endParaRPr dirty="0"/>
          </a:p>
        </p:txBody>
      </p:sp>
      <p:sp>
        <p:nvSpPr>
          <p:cNvPr id="6" name="Slide Number Placeholder 5"/>
          <p:cNvSpPr>
            <a:spLocks noGrp="1"/>
          </p:cNvSpPr>
          <p:nvPr>
            <p:ph type="sldNum" sz="quarter" idx="12"/>
          </p:nvPr>
        </p:nvSpPr>
        <p:spPr/>
        <p:txBody>
          <a:bodyPr/>
          <a:lstStyle/>
          <a:p>
            <a:fld id="{0FF54DE5-C571-48E8-A5BC-B369434E2F44}" type="slidenum">
              <a:rPr/>
              <a:t>‹#›</a:t>
            </a:fld>
            <a:endParaRPr dirty="0"/>
          </a:p>
        </p:txBody>
      </p:sp>
      <p:grpSp>
        <p:nvGrpSpPr>
          <p:cNvPr id="7" name="Group 6"/>
          <p:cNvGrpSpPr/>
          <p:nvPr/>
        </p:nvGrpSpPr>
        <p:grpSpPr>
          <a:xfrm rot="5400000">
            <a:off x="6514047" y="3228843"/>
            <a:ext cx="5632704" cy="84403"/>
            <a:chOff x="1073150" y="1219201"/>
            <a:chExt cx="10058400" cy="63125"/>
          </a:xfrm>
        </p:grpSpPr>
        <p:cxnSp>
          <p:nvCxnSpPr>
            <p:cNvPr id="8" name="Straight Connector 7"/>
            <p:cNvCxnSpPr/>
            <p:nvPr/>
          </p:nvCxnSpPr>
          <p:spPr>
            <a:xfrm rot="10800000">
              <a:off x="1073150" y="1219201"/>
              <a:ext cx="10058400" cy="0"/>
            </a:xfrm>
            <a:prstGeom prst="line">
              <a:avLst/>
            </a:prstGeom>
            <a:ln w="381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rot="10800000">
              <a:off x="1073150" y="1282326"/>
              <a:ext cx="10058400" cy="0"/>
            </a:xfrm>
            <a:prstGeom prst="line">
              <a:avLst/>
            </a:prstGeom>
            <a:ln w="127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29844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theme" Target="../theme/theme1.xml"/><Relationship Id="rId61" Type="http://schemas.openxmlformats.org/officeDocument/2006/relationships/slideLayout" Target="../slideLayouts/slideLayout61.xml"/><Relationship Id="rId82" Type="http://schemas.openxmlformats.org/officeDocument/2006/relationships/slideLayout" Target="../slideLayouts/slideLayout8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theme" Target="../theme/theme2.xml"/><Relationship Id="rId3" Type="http://schemas.openxmlformats.org/officeDocument/2006/relationships/slideLayout" Target="../slideLayouts/slideLayout89.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0" Type="http://schemas.openxmlformats.org/officeDocument/2006/relationships/slideLayout" Target="../slideLayouts/slideLayout96.xml"/><Relationship Id="rId4" Type="http://schemas.openxmlformats.org/officeDocument/2006/relationships/slideLayout" Target="../slideLayouts/slideLayout90.xml"/><Relationship Id="rId9" Type="http://schemas.openxmlformats.org/officeDocument/2006/relationships/slideLayout" Target="../slideLayouts/slideLayout9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3" name="Slide Number Placeholder">
            <a:extLst>
              <a:ext uri="{FF2B5EF4-FFF2-40B4-BE49-F238E27FC236}">
                <a16:creationId xmlns:a16="http://schemas.microsoft.com/office/drawing/2014/main" id="{1C49C285-C105-4FFD-9C75-9A362E5F34A3}"/>
              </a:ext>
            </a:extLst>
          </p:cNvPr>
          <p:cNvSpPr txBox="1">
            <a:spLocks/>
          </p:cNvSpPr>
          <p:nvPr userDrawn="1"/>
        </p:nvSpPr>
        <p:spPr>
          <a:xfrm>
            <a:off x="11289506" y="6393422"/>
            <a:ext cx="181768" cy="144000"/>
          </a:xfrm>
          <a:prstGeom prst="rect">
            <a:avLst/>
          </a:prstGeom>
        </p:spPr>
        <p:txBody>
          <a:bodyPr vert="horz" lIns="0" tIns="0" rIns="0" bIns="0" rtlCol="0" anchor="b" anchorCtr="0">
            <a:no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3B7058B-B665-4C1F-9B33-FA7AD15A3078}" type="slidenum">
              <a:rPr lang="en-GB" noProof="0" smtClean="0"/>
              <a:pPr/>
              <a:t>‹#›</a:t>
            </a:fld>
            <a:endParaRPr lang="en-GB" noProof="0" dirty="0"/>
          </a:p>
        </p:txBody>
      </p:sp>
      <p:sp>
        <p:nvSpPr>
          <p:cNvPr id="4" name="Date Placeholder">
            <a:extLst>
              <a:ext uri="{FF2B5EF4-FFF2-40B4-BE49-F238E27FC236}">
                <a16:creationId xmlns:a16="http://schemas.microsoft.com/office/drawing/2014/main" id="{8EFB5881-0197-4292-B7AB-7D22BE2B1F9B}"/>
              </a:ext>
            </a:extLst>
          </p:cNvPr>
          <p:cNvSpPr>
            <a:spLocks noGrp="1"/>
          </p:cNvSpPr>
          <p:nvPr>
            <p:ph type="dt" sz="half" idx="2"/>
          </p:nvPr>
        </p:nvSpPr>
        <p:spPr>
          <a:xfrm>
            <a:off x="1630362" y="6393422"/>
            <a:ext cx="2224738" cy="144000"/>
          </a:xfrm>
          <a:prstGeom prst="rect">
            <a:avLst/>
          </a:prstGeom>
        </p:spPr>
        <p:txBody>
          <a:bodyPr vert="horz" lIns="72000" tIns="0" rIns="0" bIns="0" rtlCol="0" anchor="b" anchorCtr="0">
            <a:noAutofit/>
          </a:bodyPr>
          <a:lstStyle>
            <a:lvl1pPr algn="l">
              <a:defRPr sz="800">
                <a:solidFill>
                  <a:schemeClr val="tx1"/>
                </a:solidFill>
              </a:defRPr>
            </a:lvl1pPr>
          </a:lstStyle>
          <a:p>
            <a:r>
              <a:rPr lang="en-US" noProof="0"/>
              <a:t>dd Month 2021</a:t>
            </a:r>
            <a:endParaRPr lang="en-GB" noProof="0" dirty="0"/>
          </a:p>
        </p:txBody>
      </p:sp>
      <p:sp>
        <p:nvSpPr>
          <p:cNvPr id="5" name="Footer Placeholder 1">
            <a:extLst>
              <a:ext uri="{FF2B5EF4-FFF2-40B4-BE49-F238E27FC236}">
                <a16:creationId xmlns:a16="http://schemas.microsoft.com/office/drawing/2014/main" id="{A024470D-7D94-4E25-BC6C-217B27B5B0A5}"/>
              </a:ext>
            </a:extLst>
          </p:cNvPr>
          <p:cNvSpPr>
            <a:spLocks noGrp="1"/>
          </p:cNvSpPr>
          <p:nvPr>
            <p:ph type="ftr" sz="quarter" idx="3"/>
          </p:nvPr>
        </p:nvSpPr>
        <p:spPr>
          <a:xfrm>
            <a:off x="7096125" y="6393422"/>
            <a:ext cx="4058158" cy="144000"/>
          </a:xfrm>
          <a:prstGeom prst="rect">
            <a:avLst/>
          </a:prstGeom>
        </p:spPr>
        <p:txBody>
          <a:bodyPr vert="horz" lIns="0" tIns="0" rIns="72000" bIns="0" rtlCol="0" anchor="b" anchorCtr="0">
            <a:noAutofit/>
          </a:bodyPr>
          <a:lstStyle>
            <a:lvl1pPr algn="r">
              <a:defRPr sz="800">
                <a:solidFill>
                  <a:schemeClr val="tx1"/>
                </a:solidFill>
              </a:defRPr>
            </a:lvl1pPr>
          </a:lstStyle>
          <a:p>
            <a:r>
              <a:rPr lang="en-GB" noProof="0" dirty="0"/>
              <a:t>Update Footer to add the Document title</a:t>
            </a:r>
          </a:p>
        </p:txBody>
      </p:sp>
      <p:sp>
        <p:nvSpPr>
          <p:cNvPr id="3" name="Text Placeholder 1">
            <a:extLst>
              <a:ext uri="{FF2B5EF4-FFF2-40B4-BE49-F238E27FC236}">
                <a16:creationId xmlns:a16="http://schemas.microsoft.com/office/drawing/2014/main" id="{2D2F7A1F-6C14-4434-84D4-61DE706A4AD2}"/>
              </a:ext>
            </a:extLst>
          </p:cNvPr>
          <p:cNvSpPr>
            <a:spLocks noGrp="1"/>
          </p:cNvSpPr>
          <p:nvPr>
            <p:ph type="body" idx="1"/>
          </p:nvPr>
        </p:nvSpPr>
        <p:spPr>
          <a:xfrm>
            <a:off x="719137" y="2130804"/>
            <a:ext cx="10752137" cy="4008058"/>
          </a:xfrm>
          <a:prstGeom prst="rect">
            <a:avLst/>
          </a:prstGeom>
        </p:spPr>
        <p:txBody>
          <a:bodyPr vert="horz" lIns="0" tIns="0" rIns="0" bIns="0" rtlCol="0">
            <a:noAutofit/>
          </a:bodyPr>
          <a:lstStyle/>
          <a:p>
            <a:pPr lvl="0"/>
            <a:r>
              <a:rPr lang="en-GB" noProof="0" dirty="0"/>
              <a:t>Click to edit Master text styles</a:t>
            </a:r>
          </a:p>
          <a:p>
            <a:pPr lvl="1"/>
            <a:r>
              <a:rPr lang="en-GB" noProof="0" dirty="0"/>
              <a:t>Second level – Bullet 1</a:t>
            </a:r>
          </a:p>
          <a:p>
            <a:pPr lvl="2"/>
            <a:r>
              <a:rPr lang="en-GB" noProof="0" dirty="0"/>
              <a:t>Third level – Bullet 2</a:t>
            </a:r>
          </a:p>
          <a:p>
            <a:pPr lvl="3"/>
            <a:r>
              <a:rPr lang="en-GB" noProof="0" dirty="0"/>
              <a:t>Fourth level – Bullet 3</a:t>
            </a:r>
          </a:p>
          <a:p>
            <a:pPr lvl="4"/>
            <a:r>
              <a:rPr lang="en-GB" noProof="0" dirty="0"/>
              <a:t>Fifth level – Number 1</a:t>
            </a:r>
          </a:p>
          <a:p>
            <a:pPr lvl="5"/>
            <a:r>
              <a:rPr lang="en-GB" noProof="0" dirty="0"/>
              <a:t>Sixth level – Number 2</a:t>
            </a:r>
          </a:p>
          <a:p>
            <a:pPr lvl="6"/>
            <a:r>
              <a:rPr lang="en-GB" noProof="0" dirty="0"/>
              <a:t>Seventh level – Heading 1</a:t>
            </a:r>
          </a:p>
          <a:p>
            <a:pPr lvl="7"/>
            <a:r>
              <a:rPr lang="en-GB" noProof="0" dirty="0"/>
              <a:t>Eighth level – Heading 2</a:t>
            </a:r>
          </a:p>
          <a:p>
            <a:pPr lvl="8"/>
            <a:r>
              <a:rPr lang="en-GB" noProof="0" dirty="0"/>
              <a:t>Ninth level – Pull-out</a:t>
            </a:r>
          </a:p>
        </p:txBody>
      </p:sp>
      <p:sp>
        <p:nvSpPr>
          <p:cNvPr id="2" name="Title Placeholder 1">
            <a:extLst>
              <a:ext uri="{FF2B5EF4-FFF2-40B4-BE49-F238E27FC236}">
                <a16:creationId xmlns:a16="http://schemas.microsoft.com/office/drawing/2014/main" id="{AB0A03BB-1213-4335-8CC5-02AB3105793C}"/>
              </a:ext>
            </a:extLst>
          </p:cNvPr>
          <p:cNvSpPr>
            <a:spLocks noGrp="1"/>
          </p:cNvSpPr>
          <p:nvPr>
            <p:ph type="title"/>
          </p:nvPr>
        </p:nvSpPr>
        <p:spPr>
          <a:xfrm>
            <a:off x="719137" y="666745"/>
            <a:ext cx="10752137" cy="720000"/>
          </a:xfrm>
          <a:prstGeom prst="rect">
            <a:avLst/>
          </a:prstGeom>
        </p:spPr>
        <p:txBody>
          <a:bodyPr vert="horz" lIns="0" tIns="0" rIns="0" bIns="0" rtlCol="0" anchor="t" anchorCtr="0">
            <a:noAutofit/>
          </a:bodyPr>
          <a:lstStyle/>
          <a:p>
            <a:pPr lvl="0"/>
            <a:r>
              <a:rPr lang="en-US" noProof="0"/>
              <a:t>Click to edit Master title style</a:t>
            </a:r>
            <a:endParaRPr lang="en-GB" noProof="0" dirty="0"/>
          </a:p>
        </p:txBody>
      </p:sp>
      <p:sp>
        <p:nvSpPr>
          <p:cNvPr id="12" name="Copyright">
            <a:extLst>
              <a:ext uri="{FF2B5EF4-FFF2-40B4-BE49-F238E27FC236}">
                <a16:creationId xmlns:a16="http://schemas.microsoft.com/office/drawing/2014/main" id="{ECEF6E54-EE16-41B0-871A-0B50552DFDF7}"/>
              </a:ext>
            </a:extLst>
          </p:cNvPr>
          <p:cNvSpPr txBox="1">
            <a:spLocks/>
          </p:cNvSpPr>
          <p:nvPr userDrawn="1"/>
        </p:nvSpPr>
        <p:spPr>
          <a:xfrm>
            <a:off x="719137" y="6393422"/>
            <a:ext cx="1105555" cy="144000"/>
          </a:xfrm>
          <a:prstGeom prst="rect">
            <a:avLst/>
          </a:prstGeom>
        </p:spPr>
        <p:txBody>
          <a:bodyPr vert="horz" wrap="none" lIns="0" tIns="0" rIns="36000" bIns="0" rtlCol="0" anchor="b" anchorCtr="0">
            <a:noAutofit/>
          </a:bodyPr>
          <a:lstStyle>
            <a:defPPr>
              <a:defRPr lang="en-US"/>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noProof="0">
                <a:latin typeface="+mn-lt"/>
              </a:rPr>
              <a:t>© Bird &amp; Bird LLP</a:t>
            </a:r>
            <a:endParaRPr lang="en-GB" sz="800" noProof="0" dirty="0">
              <a:latin typeface="+mn-lt"/>
            </a:endParaRPr>
          </a:p>
        </p:txBody>
      </p:sp>
    </p:spTree>
    <p:extLst>
      <p:ext uri="{BB962C8B-B14F-4D97-AF65-F5344CB8AC3E}">
        <p14:creationId xmlns:p14="http://schemas.microsoft.com/office/powerpoint/2010/main" val="391181144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734" r:id="rId3"/>
    <p:sldLayoutId id="2147483662" r:id="rId4"/>
    <p:sldLayoutId id="2147483709" r:id="rId5"/>
    <p:sldLayoutId id="2147483710" r:id="rId6"/>
    <p:sldLayoutId id="2147483654" r:id="rId7"/>
    <p:sldLayoutId id="2147483712" r:id="rId8"/>
    <p:sldLayoutId id="2147483742" r:id="rId9"/>
    <p:sldLayoutId id="2147483672" r:id="rId10"/>
    <p:sldLayoutId id="2147483754" r:id="rId11"/>
    <p:sldLayoutId id="2147483755" r:id="rId12"/>
    <p:sldLayoutId id="2147483753" r:id="rId13"/>
    <p:sldLayoutId id="2147483739" r:id="rId14"/>
    <p:sldLayoutId id="2147483740" r:id="rId15"/>
    <p:sldLayoutId id="2147483741" r:id="rId16"/>
    <p:sldLayoutId id="2147483743" r:id="rId17"/>
    <p:sldLayoutId id="2147483757" r:id="rId18"/>
    <p:sldLayoutId id="2147483738" r:id="rId19"/>
    <p:sldLayoutId id="2147483707" r:id="rId20"/>
    <p:sldLayoutId id="2147483711" r:id="rId21"/>
    <p:sldLayoutId id="2147483708" r:id="rId22"/>
    <p:sldLayoutId id="2147483691" r:id="rId23"/>
    <p:sldLayoutId id="2147483694" r:id="rId24"/>
    <p:sldLayoutId id="2147483695" r:id="rId25"/>
    <p:sldLayoutId id="2147483747" r:id="rId26"/>
    <p:sldLayoutId id="2147483748" r:id="rId27"/>
    <p:sldLayoutId id="2147483749" r:id="rId28"/>
    <p:sldLayoutId id="2147483750" r:id="rId29"/>
    <p:sldLayoutId id="2147483751" r:id="rId30"/>
    <p:sldLayoutId id="2147483682" r:id="rId31"/>
    <p:sldLayoutId id="2147483705" r:id="rId32"/>
    <p:sldLayoutId id="2147483703" r:id="rId33"/>
    <p:sldLayoutId id="2147483663" r:id="rId34"/>
    <p:sldLayoutId id="2147483698" r:id="rId35"/>
    <p:sldLayoutId id="2147483696" r:id="rId36"/>
    <p:sldLayoutId id="2147483664" r:id="rId37"/>
    <p:sldLayoutId id="2147483699" r:id="rId38"/>
    <p:sldLayoutId id="2147483704" r:id="rId39"/>
    <p:sldLayoutId id="2147483706" r:id="rId40"/>
    <p:sldLayoutId id="2147483655" r:id="rId41"/>
    <p:sldLayoutId id="2147483671" r:id="rId42"/>
    <p:sldLayoutId id="2147483676" r:id="rId43"/>
    <p:sldLayoutId id="2147483675" r:id="rId44"/>
    <p:sldLayoutId id="2147483680" r:id="rId45"/>
    <p:sldLayoutId id="2147483673" r:id="rId46"/>
    <p:sldLayoutId id="2147483756" r:id="rId47"/>
    <p:sldLayoutId id="2147483681" r:id="rId48"/>
    <p:sldLayoutId id="2147483674" r:id="rId49"/>
    <p:sldLayoutId id="2147483685" r:id="rId50"/>
    <p:sldLayoutId id="2147483684" r:id="rId51"/>
    <p:sldLayoutId id="2147483716" r:id="rId52"/>
    <p:sldLayoutId id="2147483651" r:id="rId53"/>
    <p:sldLayoutId id="2147483665" r:id="rId54"/>
    <p:sldLayoutId id="2147483666" r:id="rId55"/>
    <p:sldLayoutId id="2147483668" r:id="rId56"/>
    <p:sldLayoutId id="2147483686" r:id="rId57"/>
    <p:sldLayoutId id="2147483722" r:id="rId58"/>
    <p:sldLayoutId id="2147483687" r:id="rId59"/>
    <p:sldLayoutId id="2147483723" r:id="rId60"/>
    <p:sldLayoutId id="2147483688" r:id="rId61"/>
    <p:sldLayoutId id="2147483724" r:id="rId62"/>
    <p:sldLayoutId id="2147483689" r:id="rId63"/>
    <p:sldLayoutId id="2147483725" r:id="rId64"/>
    <p:sldLayoutId id="2147483690" r:id="rId65"/>
    <p:sldLayoutId id="2147483726" r:id="rId66"/>
    <p:sldLayoutId id="2147483700" r:id="rId67"/>
    <p:sldLayoutId id="2147483660" r:id="rId68"/>
    <p:sldLayoutId id="2147483730" r:id="rId69"/>
    <p:sldLayoutId id="2147483715" r:id="rId70"/>
    <p:sldLayoutId id="2147483701" r:id="rId71"/>
    <p:sldLayoutId id="2147483733" r:id="rId72"/>
    <p:sldLayoutId id="2147483702" r:id="rId73"/>
    <p:sldLayoutId id="2147483714" r:id="rId74"/>
    <p:sldLayoutId id="2147483752" r:id="rId75"/>
    <p:sldLayoutId id="2147483669" r:id="rId76"/>
    <p:sldLayoutId id="2147483670" r:id="rId77"/>
    <p:sldLayoutId id="2147483735" r:id="rId78"/>
    <p:sldLayoutId id="2147483737" r:id="rId79"/>
    <p:sldLayoutId id="2147483736" r:id="rId80"/>
    <p:sldLayoutId id="2147483677" r:id="rId81"/>
    <p:sldLayoutId id="2147483678" r:id="rId82"/>
    <p:sldLayoutId id="2147483679" r:id="rId83"/>
    <p:sldLayoutId id="2147483727" r:id="rId84"/>
    <p:sldLayoutId id="2147483728" r:id="rId85"/>
    <p:sldLayoutId id="2147483729" r:id="rId86"/>
  </p:sldLayoutIdLst>
  <p:hf sldNum="0" hdr="0"/>
  <p:txStyles>
    <p:titleStyle>
      <a:lvl1pPr algn="l" defTabSz="914377" rtl="0" eaLnBrk="1" latinLnBrk="0" hangingPunct="1">
        <a:lnSpc>
          <a:spcPct val="90000"/>
        </a:lnSpc>
        <a:spcBef>
          <a:spcPct val="0"/>
        </a:spcBef>
        <a:buNone/>
        <a:defRPr sz="4000" kern="1200">
          <a:solidFill>
            <a:schemeClr val="tx1"/>
          </a:solidFill>
          <a:latin typeface="+mj-lt"/>
          <a:ea typeface="+mj-ea"/>
          <a:cs typeface="+mj-cs"/>
        </a:defRPr>
      </a:lvl1pPr>
      <a:lvl2pPr eaLnBrk="1" hangingPunct="1">
        <a:lnSpc>
          <a:spcPct val="90000"/>
        </a:lnSpc>
        <a:defRPr sz="4800">
          <a:solidFill>
            <a:schemeClr val="tx2"/>
          </a:solidFill>
          <a:latin typeface="+mj-lt"/>
        </a:defRPr>
      </a:lvl2pPr>
      <a:lvl3pPr eaLnBrk="1" hangingPunct="1">
        <a:lnSpc>
          <a:spcPct val="90000"/>
        </a:lnSpc>
        <a:defRPr sz="4400">
          <a:solidFill>
            <a:schemeClr val="tx1"/>
          </a:solidFill>
          <a:latin typeface="+mj-lt"/>
        </a:defRPr>
      </a:lvl3pPr>
      <a:lvl4pPr eaLnBrk="1" hangingPunct="1">
        <a:lnSpc>
          <a:spcPct val="90000"/>
        </a:lnSpc>
        <a:defRPr sz="4400">
          <a:solidFill>
            <a:schemeClr val="tx2"/>
          </a:solidFill>
          <a:latin typeface="+mj-lt"/>
        </a:defRPr>
      </a:lvl4pPr>
      <a:lvl5pPr eaLnBrk="1" hangingPunct="1">
        <a:lnSpc>
          <a:spcPct val="90000"/>
        </a:lnSpc>
        <a:defRPr sz="4000">
          <a:solidFill>
            <a:schemeClr val="tx1"/>
          </a:solidFill>
          <a:latin typeface="+mj-lt"/>
        </a:defRPr>
      </a:lvl5pPr>
      <a:lvl6pPr eaLnBrk="1" hangingPunct="1">
        <a:lnSpc>
          <a:spcPct val="90000"/>
        </a:lnSpc>
        <a:defRPr sz="4000">
          <a:solidFill>
            <a:schemeClr val="tx2"/>
          </a:solidFill>
          <a:latin typeface="+mj-lt"/>
        </a:defRPr>
      </a:lvl6pPr>
      <a:lvl7pPr eaLnBrk="1" hangingPunct="1">
        <a:lnSpc>
          <a:spcPct val="90000"/>
        </a:lnSpc>
        <a:defRPr sz="3600">
          <a:solidFill>
            <a:schemeClr val="tx1"/>
          </a:solidFill>
          <a:latin typeface="+mj-lt"/>
        </a:defRPr>
      </a:lvl7pPr>
      <a:lvl8pPr eaLnBrk="1" hangingPunct="1">
        <a:lnSpc>
          <a:spcPct val="90000"/>
        </a:lnSpc>
        <a:defRPr sz="3600">
          <a:solidFill>
            <a:schemeClr val="tx2"/>
          </a:solidFill>
          <a:latin typeface="+mj-lt"/>
        </a:defRPr>
      </a:lvl8pPr>
      <a:lvl9pPr eaLnBrk="1" hangingPunct="1">
        <a:lnSpc>
          <a:spcPct val="90000"/>
        </a:lnSpc>
        <a:defRPr sz="4400" i="0">
          <a:solidFill>
            <a:schemeClr val="tx1"/>
          </a:solidFill>
          <a:latin typeface="+mj-lt"/>
        </a:defRPr>
      </a:lvl9pPr>
    </p:titleStyle>
    <p:bodyStyle>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p:bodyStyle>
    <p:otherStyle>
      <a:defPPr>
        <a:defRPr lang="en-US"/>
      </a:defPPr>
      <a:lvl1pPr marL="0" indent="0" algn="l" defTabSz="914377" rtl="0" eaLnBrk="1" latinLnBrk="0" hangingPunct="1">
        <a:lnSpc>
          <a:spcPct val="95000"/>
        </a:lnSpc>
        <a:spcBef>
          <a:spcPts val="800"/>
        </a:spcBef>
        <a:buFont typeface="Arial" panose="020B0604020202020204" pitchFamily="34" charset="0"/>
        <a:buNone/>
        <a:defRPr sz="1600" kern="1200">
          <a:solidFill>
            <a:schemeClr val="tx1"/>
          </a:solidFill>
          <a:latin typeface="+mn-lt"/>
          <a:ea typeface="+mn-ea"/>
          <a:cs typeface="+mn-cs"/>
        </a:defRPr>
      </a:lvl1pPr>
      <a:lvl2pPr marL="180000" indent="-180000" algn="l" defTabSz="914377" rtl="0" eaLnBrk="1" latinLnBrk="0" hangingPunct="1">
        <a:lnSpc>
          <a:spcPct val="95000"/>
        </a:lnSpc>
        <a:spcBef>
          <a:spcPts val="800"/>
        </a:spcBef>
        <a:buClr>
          <a:schemeClr val="tx2"/>
        </a:buClr>
        <a:buFont typeface="Symbol" panose="05050102010706020507" pitchFamily="18" charset="2"/>
        <a:buChar char=""/>
        <a:defRPr sz="1600" kern="1200">
          <a:solidFill>
            <a:schemeClr val="tx1"/>
          </a:solidFill>
          <a:latin typeface="+mn-lt"/>
          <a:ea typeface="+mn-ea"/>
          <a:cs typeface="+mn-cs"/>
        </a:defRPr>
      </a:lvl2pPr>
      <a:lvl3pPr marL="36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3pPr>
      <a:lvl4pPr marL="540000" indent="-180000" algn="l" defTabSz="914377" rtl="0" eaLnBrk="1" latinLnBrk="0" hangingPunct="1">
        <a:lnSpc>
          <a:spcPct val="95000"/>
        </a:lnSpc>
        <a:spcBef>
          <a:spcPts val="800"/>
        </a:spcBef>
        <a:buClr>
          <a:schemeClr val="tx2"/>
        </a:buClr>
        <a:buFont typeface="Arial" panose="020B0604020202020204" pitchFamily="34" charset="0"/>
        <a:buChar char="–"/>
        <a:defRPr sz="1600" kern="1200">
          <a:solidFill>
            <a:schemeClr val="tx1"/>
          </a:solidFill>
          <a:latin typeface="+mn-lt"/>
          <a:ea typeface="+mn-ea"/>
          <a:cs typeface="+mn-cs"/>
        </a:defRPr>
      </a:lvl4pPr>
      <a:lvl5pPr marL="180000" indent="-180000" algn="l" defTabSz="914377" rtl="0" eaLnBrk="1" latinLnBrk="0" hangingPunct="1">
        <a:lnSpc>
          <a:spcPct val="95000"/>
        </a:lnSpc>
        <a:spcBef>
          <a:spcPts val="800"/>
        </a:spcBef>
        <a:buClr>
          <a:schemeClr val="tx2"/>
        </a:buClr>
        <a:buFont typeface="+mj-lt"/>
        <a:buAutoNum type="arabicPeriod"/>
        <a:defRPr sz="1600" kern="1200">
          <a:solidFill>
            <a:schemeClr val="tx1"/>
          </a:solidFill>
          <a:latin typeface="+mn-lt"/>
          <a:ea typeface="+mn-ea"/>
          <a:cs typeface="+mn-cs"/>
        </a:defRPr>
      </a:lvl5pPr>
      <a:lvl6pPr marL="360000" indent="-180000" algn="l" defTabSz="914377" rtl="0" eaLnBrk="1" latinLnBrk="0" hangingPunct="1">
        <a:lnSpc>
          <a:spcPct val="95000"/>
        </a:lnSpc>
        <a:spcBef>
          <a:spcPts val="800"/>
        </a:spcBef>
        <a:buClr>
          <a:schemeClr val="tx2"/>
        </a:buClr>
        <a:buFont typeface="+mj-lt"/>
        <a:buAutoNum type="alphaLcPeriod"/>
        <a:defRPr sz="1600" kern="1200">
          <a:solidFill>
            <a:schemeClr val="tx1"/>
          </a:solidFill>
          <a:latin typeface="+mn-lt"/>
          <a:ea typeface="+mn-ea"/>
          <a:cs typeface="+mn-cs"/>
        </a:defRPr>
      </a:lvl6pPr>
      <a:lvl7pPr marL="0" indent="0" algn="l" defTabSz="914377" rtl="0" eaLnBrk="1" latinLnBrk="0" hangingPunct="1">
        <a:lnSpc>
          <a:spcPct val="90000"/>
        </a:lnSpc>
        <a:spcBef>
          <a:spcPts val="1200"/>
        </a:spcBef>
        <a:buFontTx/>
        <a:buNone/>
        <a:defRPr sz="2000" kern="1200">
          <a:solidFill>
            <a:schemeClr val="tx1"/>
          </a:solidFill>
          <a:latin typeface="+mj-lt"/>
          <a:ea typeface="+mn-ea"/>
          <a:cs typeface="+mn-cs"/>
        </a:defRPr>
      </a:lvl7pPr>
      <a:lvl8pPr marL="0" indent="0" algn="l" defTabSz="914377" rtl="0" eaLnBrk="1" latinLnBrk="0" hangingPunct="1">
        <a:lnSpc>
          <a:spcPct val="90000"/>
        </a:lnSpc>
        <a:spcBef>
          <a:spcPts val="1200"/>
        </a:spcBef>
        <a:buFont typeface="Arial" panose="020B0604020202020204" pitchFamily="34" charset="0"/>
        <a:buNone/>
        <a:defRPr sz="1800" kern="1200">
          <a:solidFill>
            <a:schemeClr val="tx2"/>
          </a:solidFill>
          <a:latin typeface="+mj-lt"/>
          <a:ea typeface="+mn-ea"/>
          <a:cs typeface="+mn-cs"/>
        </a:defRPr>
      </a:lvl8pPr>
      <a:lvl9pPr marL="0" indent="0" algn="l" defTabSz="914377" rtl="0" eaLnBrk="1" latinLnBrk="0" hangingPunct="1">
        <a:lnSpc>
          <a:spcPct val="90000"/>
        </a:lnSpc>
        <a:spcBef>
          <a:spcPts val="1200"/>
        </a:spcBef>
        <a:buFont typeface="Arial" panose="020B0604020202020204" pitchFamily="34" charset="0"/>
        <a:buNone/>
        <a:defRPr sz="2800" kern="1200">
          <a:solidFill>
            <a:schemeClr val="tx1"/>
          </a:solidFill>
          <a:latin typeface="+mj-lt"/>
          <a:ea typeface="+mn-ea"/>
          <a:cs typeface="+mn-cs"/>
        </a:defRPr>
      </a:lvl9pPr>
    </p:otherStyle>
  </p:txStyles>
  <p:extLst>
    <p:ext uri="{27BBF7A9-308A-43DC-89C8-2F10F3537804}">
      <p15:sldGuideLst xmlns:p15="http://schemas.microsoft.com/office/powerpoint/2012/main">
        <p15:guide id="1" pos="453" userDrawn="1">
          <p15:clr>
            <a:srgbClr val="F26B43"/>
          </p15:clr>
        </p15:guide>
        <p15:guide id="2" pos="7226" userDrawn="1">
          <p15:clr>
            <a:srgbClr val="F26B43"/>
          </p15:clr>
        </p15:guide>
        <p15:guide id="3" pos="914" userDrawn="1">
          <p15:clr>
            <a:srgbClr val="A4A3A4"/>
          </p15:clr>
        </p15:guide>
        <p15:guide id="4" pos="1027" userDrawn="1">
          <p15:clr>
            <a:srgbClr val="A4A3A4"/>
          </p15:clr>
        </p15:guide>
        <p15:guide id="5" pos="1487" userDrawn="1">
          <p15:clr>
            <a:srgbClr val="A4A3A4"/>
          </p15:clr>
        </p15:guide>
        <p15:guide id="6" pos="1601" userDrawn="1">
          <p15:clr>
            <a:srgbClr val="A4A3A4"/>
          </p15:clr>
        </p15:guide>
        <p15:guide id="7" pos="2061" userDrawn="1">
          <p15:clr>
            <a:srgbClr val="A4A3A4"/>
          </p15:clr>
        </p15:guide>
        <p15:guide id="8" pos="2175" userDrawn="1">
          <p15:clr>
            <a:srgbClr val="A4A3A4"/>
          </p15:clr>
        </p15:guide>
        <p15:guide id="9" pos="2635" userDrawn="1">
          <p15:clr>
            <a:srgbClr val="A4A3A4"/>
          </p15:clr>
        </p15:guide>
        <p15:guide id="10" pos="2748" userDrawn="1">
          <p15:clr>
            <a:srgbClr val="A4A3A4"/>
          </p15:clr>
        </p15:guide>
        <p15:guide id="11" pos="3209" userDrawn="1">
          <p15:clr>
            <a:srgbClr val="A4A3A4"/>
          </p15:clr>
        </p15:guide>
        <p15:guide id="12" pos="3322" userDrawn="1">
          <p15:clr>
            <a:srgbClr val="A4A3A4"/>
          </p15:clr>
        </p15:guide>
        <p15:guide id="13" pos="3783" userDrawn="1">
          <p15:clr>
            <a:srgbClr val="A4A3A4"/>
          </p15:clr>
        </p15:guide>
        <p15:guide id="14" pos="3896" userDrawn="1">
          <p15:clr>
            <a:srgbClr val="A4A3A4"/>
          </p15:clr>
        </p15:guide>
        <p15:guide id="15" pos="4357" userDrawn="1">
          <p15:clr>
            <a:srgbClr val="A4A3A4"/>
          </p15:clr>
        </p15:guide>
        <p15:guide id="16" pos="4470" userDrawn="1">
          <p15:clr>
            <a:srgbClr val="A4A3A4"/>
          </p15:clr>
        </p15:guide>
        <p15:guide id="17" pos="4931" userDrawn="1">
          <p15:clr>
            <a:srgbClr val="A4A3A4"/>
          </p15:clr>
        </p15:guide>
        <p15:guide id="18" pos="5044" userDrawn="1">
          <p15:clr>
            <a:srgbClr val="A4A3A4"/>
          </p15:clr>
        </p15:guide>
        <p15:guide id="19" pos="5504" userDrawn="1">
          <p15:clr>
            <a:srgbClr val="A4A3A4"/>
          </p15:clr>
        </p15:guide>
        <p15:guide id="20" pos="5618" userDrawn="1">
          <p15:clr>
            <a:srgbClr val="A4A3A4"/>
          </p15:clr>
        </p15:guide>
        <p15:guide id="21" pos="6078" userDrawn="1">
          <p15:clr>
            <a:srgbClr val="A4A3A4"/>
          </p15:clr>
        </p15:guide>
        <p15:guide id="22" pos="6192" userDrawn="1">
          <p15:clr>
            <a:srgbClr val="A4A3A4"/>
          </p15:clr>
        </p15:guide>
        <p15:guide id="23" pos="6652" userDrawn="1">
          <p15:clr>
            <a:srgbClr val="A4A3A4"/>
          </p15:clr>
        </p15:guide>
        <p15:guide id="24" pos="6765" userDrawn="1">
          <p15:clr>
            <a:srgbClr val="A4A3A4"/>
          </p15:clr>
        </p15:guide>
        <p15:guide id="25" orient="horz" pos="450" userDrawn="1">
          <p15:clr>
            <a:srgbClr val="F26B43"/>
          </p15:clr>
        </p15:guide>
        <p15:guide id="26" orient="horz" pos="3866" userDrawn="1">
          <p15:clr>
            <a:srgbClr val="F26B43"/>
          </p15:clr>
        </p15:guide>
        <p15:guide id="27" orient="horz" pos="1341" userDrawn="1">
          <p15:clr>
            <a:srgbClr val="F26B43"/>
          </p15:clr>
        </p15:guide>
        <p15:guide id="28" orient="horz" pos="840" userDrawn="1">
          <p15:clr>
            <a:srgbClr val="F26B43"/>
          </p15:clr>
        </p15:guide>
        <p15:guide id="29" orient="horz" pos="102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104900" y="76200"/>
            <a:ext cx="9980682" cy="1096962"/>
          </a:xfrm>
          <a:prstGeom prst="rect">
            <a:avLst/>
          </a:prstGeom>
        </p:spPr>
        <p:txBody>
          <a:bodyPr vert="horz" lIns="0" tIns="45720" rIns="0" bIns="45720" rtlCol="0" anchor="b">
            <a:normAutofit/>
          </a:bodyPr>
          <a:lstStyle/>
          <a:p>
            <a:r>
              <a:rPr lang="en-US"/>
              <a:t>Click to edit Master title style</a:t>
            </a:r>
            <a:endParaRPr/>
          </a:p>
        </p:txBody>
      </p:sp>
      <p:sp>
        <p:nvSpPr>
          <p:cNvPr id="3" name="Text Placeholder 2"/>
          <p:cNvSpPr>
            <a:spLocks noGrp="1"/>
          </p:cNvSpPr>
          <p:nvPr>
            <p:ph type="body" idx="1"/>
          </p:nvPr>
        </p:nvSpPr>
        <p:spPr>
          <a:xfrm>
            <a:off x="1104900" y="1600200"/>
            <a:ext cx="9982200" cy="4572000"/>
          </a:xfrm>
          <a:prstGeom prst="rect">
            <a:avLst/>
          </a:prstGeom>
        </p:spPr>
        <p:txBody>
          <a:bodyPr vert="horz" lIns="0" tIns="45720" rIns="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2"/>
          </p:nvPr>
        </p:nvSpPr>
        <p:spPr>
          <a:xfrm>
            <a:off x="1104899" y="6356351"/>
            <a:ext cx="1829559" cy="365125"/>
          </a:xfrm>
          <a:prstGeom prst="rect">
            <a:avLst/>
          </a:prstGeom>
        </p:spPr>
        <p:txBody>
          <a:bodyPr vert="horz" lIns="0" tIns="45720" rIns="0" bIns="45720" rtlCol="0" anchor="ctr"/>
          <a:lstStyle>
            <a:lvl1pPr algn="l">
              <a:defRPr sz="1200" baseline="0">
                <a:solidFill>
                  <a:schemeClr val="tx1">
                    <a:lumMod val="75000"/>
                  </a:schemeClr>
                </a:solidFill>
              </a:defRPr>
            </a:lvl1pPr>
          </a:lstStyle>
          <a:p>
            <a:fld id="{402B9795-92DC-40DC-A1CA-9A4B349D7824}" type="datetimeFigureOut">
              <a:rPr lang="en-US" smtClean="0"/>
              <a:pPr/>
              <a:t>10/10/2022</a:t>
            </a:fld>
            <a:endParaRPr lang="en-US" dirty="0"/>
          </a:p>
        </p:txBody>
      </p:sp>
      <p:sp>
        <p:nvSpPr>
          <p:cNvPr id="5" name="Footer Placeholder 4"/>
          <p:cNvSpPr>
            <a:spLocks noGrp="1"/>
          </p:cNvSpPr>
          <p:nvPr>
            <p:ph type="ftr" sz="quarter" idx="3"/>
          </p:nvPr>
        </p:nvSpPr>
        <p:spPr>
          <a:xfrm>
            <a:off x="2934459" y="6356350"/>
            <a:ext cx="6323082" cy="365126"/>
          </a:xfrm>
          <a:prstGeom prst="rect">
            <a:avLst/>
          </a:prstGeom>
        </p:spPr>
        <p:txBody>
          <a:bodyPr vert="horz" lIns="0" tIns="45720" rIns="0" bIns="45720" rtlCol="0" anchor="ctr"/>
          <a:lstStyle>
            <a:lvl1pPr algn="ctr">
              <a:defRPr sz="1200" baseline="0">
                <a:solidFill>
                  <a:schemeClr val="tx1">
                    <a:lumMod val="75000"/>
                  </a:schemeClr>
                </a:solidFill>
              </a:defRPr>
            </a:lvl1pPr>
          </a:lstStyle>
          <a:p>
            <a:endParaRPr lang="en-US" dirty="0"/>
          </a:p>
        </p:txBody>
      </p:sp>
      <p:sp>
        <p:nvSpPr>
          <p:cNvPr id="6" name="Slide Number Placeholder 5"/>
          <p:cNvSpPr>
            <a:spLocks noGrp="1"/>
          </p:cNvSpPr>
          <p:nvPr>
            <p:ph type="sldNum" sz="quarter" idx="4"/>
          </p:nvPr>
        </p:nvSpPr>
        <p:spPr>
          <a:xfrm>
            <a:off x="9256782" y="6356351"/>
            <a:ext cx="1828800" cy="365125"/>
          </a:xfrm>
          <a:prstGeom prst="rect">
            <a:avLst/>
          </a:prstGeom>
        </p:spPr>
        <p:txBody>
          <a:bodyPr vert="horz" lIns="0" tIns="45720" rIns="0" bIns="45720" rtlCol="0" anchor="ctr"/>
          <a:lstStyle>
            <a:lvl1pPr algn="r">
              <a:defRPr sz="1200" baseline="0">
                <a:solidFill>
                  <a:schemeClr val="tx1">
                    <a:lumMod val="75000"/>
                  </a:schemeClr>
                </a:solidFill>
              </a:defRPr>
            </a:lvl1pPr>
          </a:lstStyle>
          <a:p>
            <a:fld id="{0FF54DE5-C571-48E8-A5BC-B369434E2F44}" type="slidenum">
              <a:rPr lang="en-US" smtClean="0"/>
              <a:pPr/>
              <a:t>‹#›</a:t>
            </a:fld>
            <a:endParaRPr lang="en-US" dirty="0"/>
          </a:p>
        </p:txBody>
      </p:sp>
      <p:grpSp>
        <p:nvGrpSpPr>
          <p:cNvPr id="15" name="Group 14"/>
          <p:cNvGrpSpPr/>
          <p:nvPr/>
        </p:nvGrpSpPr>
        <p:grpSpPr>
          <a:xfrm>
            <a:off x="1103376" y="1219201"/>
            <a:ext cx="9985248" cy="84403"/>
            <a:chOff x="1073150" y="1219201"/>
            <a:chExt cx="10058400" cy="63125"/>
          </a:xfrm>
        </p:grpSpPr>
        <p:cxnSp>
          <p:nvCxnSpPr>
            <p:cNvPr id="13" name="Straight Connector 12"/>
            <p:cNvCxnSpPr/>
            <p:nvPr/>
          </p:nvCxnSpPr>
          <p:spPr>
            <a:xfrm rot="10800000">
              <a:off x="1073150" y="1219201"/>
              <a:ext cx="10058400" cy="0"/>
            </a:xfrm>
            <a:prstGeom prst="line">
              <a:avLst/>
            </a:prstGeom>
            <a:ln w="381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rot="10800000">
              <a:off x="1073150" y="1282326"/>
              <a:ext cx="10058400" cy="0"/>
            </a:xfrm>
            <a:prstGeom prst="line">
              <a:avLst/>
            </a:prstGeom>
            <a:ln w="12700" cap="flat">
              <a:solidFill>
                <a:schemeClr val="tx1"/>
              </a:solidFill>
              <a:miter lim="800000"/>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70378406"/>
      </p:ext>
    </p:extLst>
  </p:cSld>
  <p:clrMap bg1="lt1" tx1="dk1" bg2="lt2" tx2="dk2" accent1="accent1" accent2="accent2" accent3="accent3" accent4="accent4" accent5="accent5" accent6="accent6" hlink="hlink" folHlink="folHlink"/>
  <p:sldLayoutIdLst>
    <p:sldLayoutId id="2147483759"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769" r:id="rId11"/>
    <p:sldLayoutId id="2147483770"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90000"/>
        </a:lnSpc>
        <a:spcBef>
          <a:spcPct val="0"/>
        </a:spcBef>
        <a:buNone/>
        <a:defRPr sz="28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800"/>
        </a:spcBef>
        <a:buFont typeface="Wingdings" panose="05000000000000000000" pitchFamily="2" charset="2"/>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600"/>
        </a:spcBef>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600"/>
        </a:spcBef>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600"/>
        </a:spcBef>
        <a:buFont typeface="Wingdings" panose="05000000000000000000" pitchFamily="2" charset="2"/>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600"/>
        </a:spcBef>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Wingdings" panose="05000000000000000000" pitchFamily="2" charset="2"/>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Wingdings" panose="05000000000000000000" pitchFamily="2" charset="2"/>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Wingdings" panose="05000000000000000000" pitchFamily="2" charset="2"/>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Wingdings" panose="05000000000000000000" pitchFamily="2" charset="2"/>
        <a:buChar char="§"/>
        <a:defRPr sz="14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696">
          <p15:clr>
            <a:srgbClr val="F26B43"/>
          </p15:clr>
        </p15:guide>
        <p15:guide id="2" pos="6984">
          <p15:clr>
            <a:srgbClr val="F26B43"/>
          </p15:clr>
        </p15:guide>
        <p15:guide id="3" orient="horz" pos="1008">
          <p15:clr>
            <a:srgbClr val="F26B43"/>
          </p15:clr>
        </p15:guide>
        <p15:guide id="4" orient="horz" pos="38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89.xml"/></Relationships>
</file>

<file path=ppt/slides/_rels/slide1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89.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1.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8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5.xml"/><Relationship Id="rId1" Type="http://schemas.openxmlformats.org/officeDocument/2006/relationships/slideLayout" Target="../slideLayouts/slideLayout8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4.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88.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8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8.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88.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2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88.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94.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2.xml.rels><?xml version="1.0" encoding="UTF-8" standalone="yes"?>
<Relationships xmlns="http://schemas.openxmlformats.org/package/2006/relationships"><Relationship Id="rId3" Type="http://schemas.openxmlformats.org/officeDocument/2006/relationships/hyperlink" Target="https://www.enforcementtracker.com/?insights" TargetMode="External"/><Relationship Id="rId2" Type="http://schemas.openxmlformats.org/officeDocument/2006/relationships/image" Target="../media/image17.png"/><Relationship Id="rId1" Type="http://schemas.openxmlformats.org/officeDocument/2006/relationships/slideLayout" Target="../slideLayouts/slideLayout88.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hyperlink" Target="https://www.enforcementtracker.com/?insights" TargetMode="External"/><Relationship Id="rId1" Type="http://schemas.openxmlformats.org/officeDocument/2006/relationships/slideLayout" Target="../slideLayouts/slideLayout88.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0.xml"/><Relationship Id="rId1" Type="http://schemas.openxmlformats.org/officeDocument/2006/relationships/slideLayout" Target="../slideLayouts/slideLayout88.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1.xml"/><Relationship Id="rId1" Type="http://schemas.openxmlformats.org/officeDocument/2006/relationships/slideLayout" Target="../slideLayouts/slideLayout88.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2.xml"/><Relationship Id="rId1" Type="http://schemas.openxmlformats.org/officeDocument/2006/relationships/slideLayout" Target="../slideLayouts/slideLayout89.xml"/></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13.xml"/><Relationship Id="rId1" Type="http://schemas.openxmlformats.org/officeDocument/2006/relationships/slideLayout" Target="../slideLayouts/slideLayout88.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2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89.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31.xml.rels><?xml version="1.0" encoding="UTF-8" standalone="yes"?>
<Relationships xmlns="http://schemas.openxmlformats.org/package/2006/relationships"><Relationship Id="rId3" Type="http://schemas.openxmlformats.org/officeDocument/2006/relationships/hyperlink" Target="http://curia.europa.eu/juris/showPdf.jsf?text=&amp;docid=48382&amp;pageIndex=0&amp;doclang=en&amp;mode=lst&amp;dir=&amp;occ=first&amp;part=1&amp;cid=1872446" TargetMode="External"/><Relationship Id="rId2" Type="http://schemas.openxmlformats.org/officeDocument/2006/relationships/notesSlide" Target="../notesSlides/notesSlide15.xml"/><Relationship Id="rId1" Type="http://schemas.openxmlformats.org/officeDocument/2006/relationships/slideLayout" Target="../slideLayouts/slideLayout88.xml"/><Relationship Id="rId4" Type="http://schemas.openxmlformats.org/officeDocument/2006/relationships/hyperlink" Target="https://www.judiciary.gov.uk/wp-content/uploads/2015/03/google-v-vidal-hall-judgment.pdfhttps:/www.judiciary.gov.uk/wp-content/uploads/2015/03/google-v-vidal-hall-judgment.pdf" TargetMode="External"/></Relationships>
</file>

<file path=ppt/slides/_rels/slide32.xml.rels><?xml version="1.0" encoding="UTF-8" standalone="yes"?>
<Relationships xmlns="http://schemas.openxmlformats.org/package/2006/relationships"><Relationship Id="rId3" Type="http://schemas.openxmlformats.org/officeDocument/2006/relationships/hyperlink" Target="http://curia.europa.eu/juris/showPdf.jsf?text=&amp;docid=48382&amp;pageIndex=0&amp;doclang=en&amp;mode=lst&amp;dir=&amp;occ=first&amp;part=1&amp;cid=1872446" TargetMode="External"/><Relationship Id="rId2" Type="http://schemas.openxmlformats.org/officeDocument/2006/relationships/notesSlide" Target="../notesSlides/notesSlide16.xml"/><Relationship Id="rId1" Type="http://schemas.openxmlformats.org/officeDocument/2006/relationships/slideLayout" Target="../slideLayouts/slideLayout88.xml"/></Relationships>
</file>

<file path=ppt/slides/_rels/slide33.xml.rels><?xml version="1.0" encoding="UTF-8" standalone="yes"?>
<Relationships xmlns="http://schemas.openxmlformats.org/package/2006/relationships"><Relationship Id="rId3" Type="http://schemas.openxmlformats.org/officeDocument/2006/relationships/hyperlink" Target="http://curia.europa.eu/juris/showPdf.jsf?text=&amp;docid=48382&amp;pageIndex=0&amp;doclang=en&amp;mode=lst&amp;dir=&amp;occ=first&amp;part=1&amp;cid=1872446" TargetMode="External"/><Relationship Id="rId2" Type="http://schemas.openxmlformats.org/officeDocument/2006/relationships/notesSlide" Target="../notesSlides/notesSlide17.xml"/><Relationship Id="rId1" Type="http://schemas.openxmlformats.org/officeDocument/2006/relationships/slideLayout" Target="../slideLayouts/slideLayout88.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8.xml"/></Relationships>
</file>

<file path=ppt/slides/_rels/slide35.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svg"/><Relationship Id="rId3" Type="http://schemas.openxmlformats.org/officeDocument/2006/relationships/hyperlink" Target="http://curia.europa.eu/juris/showPdf.jsf?text=&amp;docid=48382&amp;pageIndex=0&amp;doclang=en&amp;mode=lst&amp;dir=&amp;occ=first&amp;part=1&amp;cid=1872446" TargetMode="External"/><Relationship Id="rId7" Type="http://schemas.openxmlformats.org/officeDocument/2006/relationships/image" Target="../media/image24.svg"/><Relationship Id="rId12" Type="http://schemas.openxmlformats.org/officeDocument/2006/relationships/image" Target="../media/image29.png"/><Relationship Id="rId2" Type="http://schemas.openxmlformats.org/officeDocument/2006/relationships/notesSlide" Target="../notesSlides/notesSlide19.xml"/><Relationship Id="rId1" Type="http://schemas.openxmlformats.org/officeDocument/2006/relationships/slideLayout" Target="../slideLayouts/slideLayout88.xml"/><Relationship Id="rId6" Type="http://schemas.openxmlformats.org/officeDocument/2006/relationships/image" Target="../media/image23.png"/><Relationship Id="rId11" Type="http://schemas.openxmlformats.org/officeDocument/2006/relationships/image" Target="../media/image28.svg"/><Relationship Id="rId5" Type="http://schemas.openxmlformats.org/officeDocument/2006/relationships/image" Target="../media/image22.svg"/><Relationship Id="rId10" Type="http://schemas.openxmlformats.org/officeDocument/2006/relationships/image" Target="../media/image27.png"/><Relationship Id="rId4" Type="http://schemas.openxmlformats.org/officeDocument/2006/relationships/image" Target="../media/image21.png"/><Relationship Id="rId9" Type="http://schemas.openxmlformats.org/officeDocument/2006/relationships/image" Target="../media/image26.svg"/></Relationships>
</file>

<file path=ppt/slides/_rels/slide3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89.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9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4.xml"/></Relationships>
</file>

<file path=ppt/slides/_rels/slide39.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20.xml"/><Relationship Id="rId1" Type="http://schemas.openxmlformats.org/officeDocument/2006/relationships/slideLayout" Target="../slideLayouts/slideLayout88.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4.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41.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21.xml"/><Relationship Id="rId1" Type="http://schemas.openxmlformats.org/officeDocument/2006/relationships/slideLayout" Target="../slideLayouts/slideLayout88.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43.xml.rels><?xml version="1.0" encoding="UTF-8" standalone="yes"?>
<Relationships xmlns="http://schemas.openxmlformats.org/package/2006/relationships"><Relationship Id="rId3" Type="http://schemas.openxmlformats.org/officeDocument/2006/relationships/hyperlink" Target="http://www.privacybydesign.ca/index.php/about-pbd/7-foundational-principles/" TargetMode="External"/><Relationship Id="rId2" Type="http://schemas.openxmlformats.org/officeDocument/2006/relationships/notesSlide" Target="../notesSlides/notesSlide22.xml"/><Relationship Id="rId1" Type="http://schemas.openxmlformats.org/officeDocument/2006/relationships/slideLayout" Target="../slideLayouts/slideLayout88.xml"/><Relationship Id="rId4" Type="http://schemas.openxmlformats.org/officeDocument/2006/relationships/hyperlink" Target="https://link.springer.com/article/10.1007/s12394-010-0061-z" TargetMode="External"/></Relationships>
</file>

<file path=ppt/slides/_rels/slide4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3.xml"/><Relationship Id="rId1" Type="http://schemas.openxmlformats.org/officeDocument/2006/relationships/slideLayout" Target="../slideLayouts/slideLayout88.xml"/></Relationships>
</file>

<file path=ppt/slides/_rels/slide4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4.xml"/><Relationship Id="rId1" Type="http://schemas.openxmlformats.org/officeDocument/2006/relationships/slideLayout" Target="../slideLayouts/slideLayout88.xml"/></Relationships>
</file>

<file path=ppt/slides/_rels/slide4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5.xml"/><Relationship Id="rId1" Type="http://schemas.openxmlformats.org/officeDocument/2006/relationships/slideLayout" Target="../slideLayouts/slideLayout89.xml"/></Relationships>
</file>

<file path=ppt/slides/_rels/slide47.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26.xml"/><Relationship Id="rId1" Type="http://schemas.openxmlformats.org/officeDocument/2006/relationships/slideLayout" Target="../slideLayouts/slideLayout88.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48.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27.xml"/><Relationship Id="rId1" Type="http://schemas.openxmlformats.org/officeDocument/2006/relationships/slideLayout" Target="../slideLayouts/slideLayout88.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88.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8.xml"/></Relationships>
</file>

<file path=ppt/slides/_rels/slide5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1.xml"/><Relationship Id="rId1" Type="http://schemas.openxmlformats.org/officeDocument/2006/relationships/slideLayout" Target="../slideLayouts/slideLayout89.xml"/></Relationships>
</file>

<file path=ppt/slides/_rels/slide5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94.xml"/><Relationship Id="rId6" Type="http://schemas.microsoft.com/office/2007/relationships/hdphoto" Target="../media/hdphoto3.wdp"/><Relationship Id="rId5" Type="http://schemas.openxmlformats.org/officeDocument/2006/relationships/image" Target="../media/image38.png"/><Relationship Id="rId4" Type="http://schemas.microsoft.com/office/2007/relationships/hdphoto" Target="../media/hdphoto2.wdp"/></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88.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88.xml"/></Relationships>
</file>

<file path=ppt/slides/_rels/slide56.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notesSlide" Target="../notesSlides/notesSlide34.xml"/><Relationship Id="rId4" Type="http://schemas.openxmlformats.org/officeDocument/2006/relationships/slideLayout" Target="../slideLayouts/slideLayout88.xml"/></Relationships>
</file>

<file path=ppt/slides/_rels/slide57.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39.JPG"/><Relationship Id="rId5" Type="http://schemas.openxmlformats.org/officeDocument/2006/relationships/notesSlide" Target="../notesSlides/notesSlide35.xml"/><Relationship Id="rId4" Type="http://schemas.openxmlformats.org/officeDocument/2006/relationships/slideLayout" Target="../slideLayouts/slideLayout88.xml"/></Relationships>
</file>

<file path=ppt/slides/_rels/slide58.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40.JPG"/><Relationship Id="rId5" Type="http://schemas.openxmlformats.org/officeDocument/2006/relationships/notesSlide" Target="../notesSlides/notesSlide36.xml"/><Relationship Id="rId4" Type="http://schemas.openxmlformats.org/officeDocument/2006/relationships/slideLayout" Target="../slideLayouts/slideLayout88.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89.xml"/></Relationships>
</file>

<file path=ppt/slides/_rels/slide60.xml.rels><?xml version="1.0" encoding="UTF-8" standalone="yes"?>
<Relationships xmlns="http://schemas.openxmlformats.org/package/2006/relationships"><Relationship Id="rId8" Type="http://schemas.microsoft.com/office/2007/relationships/diagramDrawing" Target="../diagrams/drawing13.xml"/><Relationship Id="rId3" Type="http://schemas.openxmlformats.org/officeDocument/2006/relationships/hyperlink" Target="https://www.eff.org/pages/atlas-surveillance" TargetMode="External"/><Relationship Id="rId7" Type="http://schemas.openxmlformats.org/officeDocument/2006/relationships/diagramColors" Target="../diagrams/colors13.xml"/><Relationship Id="rId2" Type="http://schemas.openxmlformats.org/officeDocument/2006/relationships/notesSlide" Target="../notesSlides/notesSlide37.xml"/><Relationship Id="rId1" Type="http://schemas.openxmlformats.org/officeDocument/2006/relationships/slideLayout" Target="../slideLayouts/slideLayout96.xml"/><Relationship Id="rId6" Type="http://schemas.openxmlformats.org/officeDocument/2006/relationships/diagramQuickStyle" Target="../diagrams/quickStyle13.xml"/><Relationship Id="rId5" Type="http://schemas.openxmlformats.org/officeDocument/2006/relationships/diagramLayout" Target="../diagrams/layout13.xml"/><Relationship Id="rId4" Type="http://schemas.openxmlformats.org/officeDocument/2006/relationships/diagramData" Target="../diagrams/data13.xml"/></Relationships>
</file>

<file path=ppt/slides/_rels/slide61.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Layout" Target="../slideLayouts/slideLayout89.xml"/></Relationships>
</file>

<file path=ppt/slides/_rels/slide6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89.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64.xml.rels><?xml version="1.0" encoding="UTF-8" standalone="yes"?>
<Relationships xmlns="http://schemas.openxmlformats.org/package/2006/relationships"><Relationship Id="rId2" Type="http://schemas.openxmlformats.org/officeDocument/2006/relationships/hyperlink" Target="https://edpb.europa.eu/our-work-tools/our-documents/other-guidance/overview-resources-made-available-member-states-data_en" TargetMode="External"/><Relationship Id="rId1" Type="http://schemas.openxmlformats.org/officeDocument/2006/relationships/slideLayout" Target="../slideLayouts/slideLayout8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9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9122F2-9B75-403F-8AF2-6B10AB707418}"/>
              </a:ext>
            </a:extLst>
          </p:cNvPr>
          <p:cNvSpPr>
            <a:spLocks noGrp="1"/>
          </p:cNvSpPr>
          <p:nvPr>
            <p:ph type="ctrTitle"/>
          </p:nvPr>
        </p:nvSpPr>
        <p:spPr/>
        <p:txBody>
          <a:bodyPr>
            <a:normAutofit/>
          </a:bodyPr>
          <a:lstStyle/>
          <a:p>
            <a:r>
              <a:rPr lang="de-DE" sz="5400" cap="none" dirty="0">
                <a:solidFill>
                  <a:schemeClr val="tx2"/>
                </a:solidFill>
              </a:rPr>
              <a:t>ENFORCEMENT</a:t>
            </a:r>
          </a:p>
        </p:txBody>
      </p:sp>
      <p:sp>
        <p:nvSpPr>
          <p:cNvPr id="5" name="Subtitle 4">
            <a:extLst>
              <a:ext uri="{FF2B5EF4-FFF2-40B4-BE49-F238E27FC236}">
                <a16:creationId xmlns:a16="http://schemas.microsoft.com/office/drawing/2014/main" id="{0EC01C95-310A-420E-BAF9-E3E4128D66AA}"/>
              </a:ext>
            </a:extLst>
          </p:cNvPr>
          <p:cNvSpPr>
            <a:spLocks noGrp="1"/>
          </p:cNvSpPr>
          <p:nvPr>
            <p:ph type="subTitle" idx="1"/>
          </p:nvPr>
        </p:nvSpPr>
        <p:spPr/>
        <p:txBody>
          <a:bodyPr/>
          <a:lstStyle/>
          <a:p>
            <a:endParaRPr lang="fi-FI" dirty="0"/>
          </a:p>
        </p:txBody>
      </p:sp>
      <p:pic>
        <p:nvPicPr>
          <p:cNvPr id="6" name="CCF9BC60-706C-433B-8CC4-F42B460F73D3">
            <a:extLst>
              <a:ext uri="{FF2B5EF4-FFF2-40B4-BE49-F238E27FC236}">
                <a16:creationId xmlns:a16="http://schemas.microsoft.com/office/drawing/2014/main" id="{E881F3E9-2370-48AA-AE55-F97174D2AE7F}"/>
              </a:ext>
            </a:extLst>
          </p:cNvPr>
          <p:cNvPicPr>
            <a:picLocks noGrp="1"/>
          </p:cNvPicPr>
          <p:nvPr>
            <p:ph type="pic" sz="quarter" idx="13"/>
          </p:nvPr>
        </p:nvPicPr>
        <p:blipFill>
          <a:blip r:embed="rId3">
            <a:extLst>
              <a:ext uri="{28A0092B-C50C-407E-A947-70E740481C1C}">
                <a14:useLocalDpi xmlns:a14="http://schemas.microsoft.com/office/drawing/2010/main" val="0"/>
              </a:ext>
            </a:extLst>
          </a:blip>
          <a:srcRect t="27247" b="27247"/>
          <a:stretch>
            <a:fillRect/>
          </a:stretch>
        </p:blipFill>
        <p:spPr bwMode="auto">
          <a:xfrm>
            <a:off x="6981825" y="1311275"/>
            <a:ext cx="5210175" cy="4208463"/>
          </a:xfrm>
          <a:prstGeom prst="rect">
            <a:avLst/>
          </a:prstGeom>
          <a:noFill/>
          <a:ln>
            <a:noFill/>
          </a:ln>
        </p:spPr>
      </p:pic>
    </p:spTree>
    <p:extLst>
      <p:ext uri="{BB962C8B-B14F-4D97-AF65-F5344CB8AC3E}">
        <p14:creationId xmlns:p14="http://schemas.microsoft.com/office/powerpoint/2010/main" val="2991647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5BB5B-8B39-464C-880E-1D6386029CE2}"/>
              </a:ext>
            </a:extLst>
          </p:cNvPr>
          <p:cNvSpPr>
            <a:spLocks noGrp="1"/>
          </p:cNvSpPr>
          <p:nvPr>
            <p:ph type="ctrTitle"/>
          </p:nvPr>
        </p:nvSpPr>
        <p:spPr/>
        <p:txBody>
          <a:bodyPr/>
          <a:lstStyle/>
          <a:p>
            <a:r>
              <a:rPr lang="en-FI" dirty="0">
                <a:latin typeface="Plantagenet Cherokee" panose="02020602070100000000" pitchFamily="18" charset="0"/>
              </a:rPr>
              <a:t>Activity</a:t>
            </a:r>
            <a:endParaRPr lang="de-DE" dirty="0">
              <a:latin typeface="Plantagenet Cherokee" panose="02020602070100000000" pitchFamily="18" charset="0"/>
            </a:endParaRPr>
          </a:p>
        </p:txBody>
      </p:sp>
      <p:sp>
        <p:nvSpPr>
          <p:cNvPr id="3" name="Subtitle 2">
            <a:extLst>
              <a:ext uri="{FF2B5EF4-FFF2-40B4-BE49-F238E27FC236}">
                <a16:creationId xmlns:a16="http://schemas.microsoft.com/office/drawing/2014/main" id="{ADC3CE5F-85D7-4A57-A231-6DC5D62503A4}"/>
              </a:ext>
            </a:extLst>
          </p:cNvPr>
          <p:cNvSpPr>
            <a:spLocks noGrp="1"/>
          </p:cNvSpPr>
          <p:nvPr>
            <p:ph type="subTitle" idx="1"/>
          </p:nvPr>
        </p:nvSpPr>
        <p:spPr/>
        <p:txBody>
          <a:bodyPr/>
          <a:lstStyle/>
          <a:p>
            <a:endParaRPr lang="de-DE" dirty="0"/>
          </a:p>
        </p:txBody>
      </p:sp>
      <p:pic>
        <p:nvPicPr>
          <p:cNvPr id="6" name="Picture Placeholder 5" descr="A picture containing cellphone, phone, fireworks, animal&#10;&#10;Description automatically generated">
            <a:extLst>
              <a:ext uri="{FF2B5EF4-FFF2-40B4-BE49-F238E27FC236}">
                <a16:creationId xmlns:a16="http://schemas.microsoft.com/office/drawing/2014/main" id="{A540DDEF-7072-4914-A160-7D65DB8D6B22}"/>
              </a:ext>
            </a:extLst>
          </p:cNvPr>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l="3574" r="3574"/>
          <a:stretch>
            <a:fillRect/>
          </a:stretch>
        </p:blipFill>
        <p:spPr/>
      </p:pic>
    </p:spTree>
    <p:extLst>
      <p:ext uri="{BB962C8B-B14F-4D97-AF65-F5344CB8AC3E}">
        <p14:creationId xmlns:p14="http://schemas.microsoft.com/office/powerpoint/2010/main" val="1759890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BEC1DBE-CA6A-425F-95C8-F8489C78D4B1}"/>
              </a:ext>
            </a:extLst>
          </p:cNvPr>
          <p:cNvSpPr>
            <a:spLocks noGrp="1"/>
          </p:cNvSpPr>
          <p:nvPr>
            <p:ph type="title"/>
          </p:nvPr>
        </p:nvSpPr>
        <p:spPr/>
        <p:txBody>
          <a:bodyPr/>
          <a:lstStyle/>
          <a:p>
            <a:r>
              <a:rPr lang="de-DE" dirty="0"/>
              <a:t>How could we </a:t>
            </a:r>
            <a:r>
              <a:rPr lang="de-DE" dirty="0" err="1"/>
              <a:t>enforce</a:t>
            </a:r>
            <a:r>
              <a:rPr lang="de-DE" dirty="0"/>
              <a:t> rules? Why do you follow rules?</a:t>
            </a:r>
            <a:endParaRPr lang="fi-FI" dirty="0"/>
          </a:p>
        </p:txBody>
      </p:sp>
      <p:sp>
        <p:nvSpPr>
          <p:cNvPr id="6" name="Content Placeholder 5">
            <a:extLst>
              <a:ext uri="{FF2B5EF4-FFF2-40B4-BE49-F238E27FC236}">
                <a16:creationId xmlns:a16="http://schemas.microsoft.com/office/drawing/2014/main" id="{5BF3F661-565B-4630-B935-2B59221182D4}"/>
              </a:ext>
            </a:extLst>
          </p:cNvPr>
          <p:cNvSpPr>
            <a:spLocks noGrp="1"/>
          </p:cNvSpPr>
          <p:nvPr>
            <p:ph idx="1"/>
          </p:nvPr>
        </p:nvSpPr>
        <p:spPr/>
        <p:txBody>
          <a:bodyPr/>
          <a:lstStyle/>
          <a:p>
            <a:r>
              <a:rPr lang="de-DE" dirty="0"/>
              <a:t>Think about different </a:t>
            </a:r>
            <a:r>
              <a:rPr lang="de-DE" dirty="0" err="1"/>
              <a:t>methods</a:t>
            </a:r>
            <a:r>
              <a:rPr lang="de-DE" dirty="0"/>
              <a:t>.</a:t>
            </a:r>
          </a:p>
          <a:p>
            <a:r>
              <a:rPr lang="de-DE" dirty="0"/>
              <a:t>Here is an </a:t>
            </a:r>
            <a:r>
              <a:rPr lang="de-DE" dirty="0" err="1"/>
              <a:t>example</a:t>
            </a:r>
            <a:r>
              <a:rPr lang="de-DE" dirty="0"/>
              <a:t> that might help: </a:t>
            </a:r>
          </a:p>
          <a:p>
            <a:pPr lvl="1"/>
            <a:r>
              <a:rPr lang="de-DE" dirty="0"/>
              <a:t>Let's </a:t>
            </a:r>
            <a:r>
              <a:rPr lang="de-DE" dirty="0" err="1"/>
              <a:t>suppose</a:t>
            </a:r>
            <a:r>
              <a:rPr lang="de-DE" dirty="0"/>
              <a:t> we </a:t>
            </a:r>
            <a:r>
              <a:rPr lang="de-DE" dirty="0" err="1"/>
              <a:t>want</a:t>
            </a:r>
            <a:r>
              <a:rPr lang="de-DE" dirty="0"/>
              <a:t> to </a:t>
            </a:r>
            <a:r>
              <a:rPr lang="de-DE" dirty="0" err="1"/>
              <a:t>stop</a:t>
            </a:r>
            <a:r>
              <a:rPr lang="de-DE" dirty="0"/>
              <a:t> </a:t>
            </a:r>
            <a:r>
              <a:rPr lang="de-DE" dirty="0" err="1"/>
              <a:t>people</a:t>
            </a:r>
            <a:r>
              <a:rPr lang="de-DE" dirty="0"/>
              <a:t> from </a:t>
            </a:r>
            <a:r>
              <a:rPr lang="de-DE" dirty="0" err="1"/>
              <a:t>smoking</a:t>
            </a:r>
            <a:r>
              <a:rPr lang="de-DE" dirty="0"/>
              <a:t>, how do we do this? </a:t>
            </a:r>
          </a:p>
          <a:p>
            <a:pPr marL="0" indent="0">
              <a:buNone/>
            </a:pPr>
            <a:endParaRPr lang="fi-FI" dirty="0"/>
          </a:p>
        </p:txBody>
      </p:sp>
      <p:sp>
        <p:nvSpPr>
          <p:cNvPr id="4" name="Footer Placeholder 3">
            <a:extLst>
              <a:ext uri="{FF2B5EF4-FFF2-40B4-BE49-F238E27FC236}">
                <a16:creationId xmlns:a16="http://schemas.microsoft.com/office/drawing/2014/main" id="{18036356-8743-4B97-A537-7D37EDDF8DF7}"/>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1200" cap="none" spc="0" normalizeH="0" baseline="0" noProof="0" dirty="0">
              <a:ln>
                <a:noFill/>
              </a:ln>
              <a:solidFill>
                <a:srgbClr val="514843">
                  <a:lumMod val="75000"/>
                </a:srgbClr>
              </a:solidFill>
              <a:effectLst/>
              <a:uLnTx/>
              <a:uFillTx/>
              <a:latin typeface="Euphemia"/>
              <a:ea typeface="+mn-ea"/>
              <a:cs typeface="+mn-cs"/>
            </a:endParaRPr>
          </a:p>
        </p:txBody>
      </p:sp>
    </p:spTree>
    <p:extLst>
      <p:ext uri="{BB962C8B-B14F-4D97-AF65-F5344CB8AC3E}">
        <p14:creationId xmlns:p14="http://schemas.microsoft.com/office/powerpoint/2010/main" val="3032315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112293" y="191072"/>
            <a:ext cx="9036843" cy="900752"/>
          </a:xfrm>
        </p:spPr>
        <p:txBody>
          <a:bodyPr rtlCol="0">
            <a:normAutofit/>
          </a:bodyPr>
          <a:lstStyle/>
          <a:p>
            <a:pPr>
              <a:spcBef>
                <a:spcPts val="0"/>
              </a:spcBef>
              <a:defRPr/>
            </a:pPr>
            <a:r>
              <a:rPr lang="fr-CA" sz="2800" spc="-1" dirty="0" err="1">
                <a:solidFill>
                  <a:srgbClr val="514843"/>
                </a:solidFill>
                <a:latin typeface="Plantagenet Cherokee"/>
                <a:ea typeface="+mn-ea"/>
                <a:cs typeface="+mn-cs"/>
              </a:rPr>
              <a:t>Enforcement</a:t>
            </a:r>
            <a:r>
              <a:rPr lang="fr-CA" sz="2800" spc="-1" dirty="0">
                <a:solidFill>
                  <a:srgbClr val="514843"/>
                </a:solidFill>
                <a:latin typeface="Plantagenet Cherokee"/>
                <a:ea typeface="+mn-ea"/>
                <a:cs typeface="+mn-cs"/>
              </a:rPr>
              <a:t> </a:t>
            </a:r>
            <a:r>
              <a:rPr lang="fr-CA" sz="2800" spc="-1" dirty="0" err="1">
                <a:solidFill>
                  <a:srgbClr val="514843"/>
                </a:solidFill>
                <a:latin typeface="Plantagenet Cherokee"/>
                <a:ea typeface="+mn-ea"/>
                <a:cs typeface="+mn-cs"/>
              </a:rPr>
              <a:t>is</a:t>
            </a:r>
            <a:r>
              <a:rPr lang="fr-CA" sz="2800" spc="-1" dirty="0">
                <a:solidFill>
                  <a:srgbClr val="514843"/>
                </a:solidFill>
                <a:latin typeface="Plantagenet Cherokee"/>
                <a:ea typeface="+mn-ea"/>
                <a:cs typeface="+mn-cs"/>
              </a:rPr>
              <a:t> essential </a:t>
            </a:r>
            <a:r>
              <a:rPr lang="en-FI" sz="2800" spc="-1" dirty="0">
                <a:solidFill>
                  <a:srgbClr val="514843"/>
                </a:solidFill>
                <a:latin typeface="Plantagenet Cherokee"/>
                <a:ea typeface="+mn-ea"/>
                <a:cs typeface="+mn-cs"/>
              </a:rPr>
              <a:t>to understand </a:t>
            </a:r>
            <a:r>
              <a:rPr lang="fr-CA" sz="2800" spc="-1" dirty="0" err="1">
                <a:solidFill>
                  <a:srgbClr val="514843"/>
                </a:solidFill>
                <a:latin typeface="Plantagenet Cherokee"/>
                <a:ea typeface="+mn-ea"/>
                <a:cs typeface="+mn-cs"/>
              </a:rPr>
              <a:t>any</a:t>
            </a:r>
            <a:r>
              <a:rPr lang="fr-CA" sz="2800" spc="-1" dirty="0">
                <a:solidFill>
                  <a:srgbClr val="514843"/>
                </a:solidFill>
                <a:latin typeface="Plantagenet Cherokee"/>
                <a:ea typeface="+mn-ea"/>
                <a:cs typeface="+mn-cs"/>
              </a:rPr>
              <a:t> area of </a:t>
            </a:r>
            <a:r>
              <a:rPr lang="fr-CA" sz="2800" spc="-1" dirty="0" err="1">
                <a:solidFill>
                  <a:srgbClr val="514843"/>
                </a:solidFill>
                <a:latin typeface="Plantagenet Cherokee"/>
                <a:ea typeface="+mn-ea"/>
                <a:cs typeface="+mn-cs"/>
              </a:rPr>
              <a:t>law</a:t>
            </a:r>
            <a:r>
              <a:rPr lang="fr-CA" sz="2800" spc="-1" dirty="0">
                <a:solidFill>
                  <a:srgbClr val="514843"/>
                </a:solidFill>
                <a:latin typeface="Plantagenet Cherokee"/>
                <a:ea typeface="+mn-ea"/>
                <a:cs typeface="+mn-cs"/>
              </a:rPr>
              <a:t> </a:t>
            </a:r>
          </a:p>
        </p:txBody>
      </p:sp>
      <p:sp>
        <p:nvSpPr>
          <p:cNvPr id="4" name="Content Placeholder 3"/>
          <p:cNvSpPr>
            <a:spLocks noGrp="1"/>
          </p:cNvSpPr>
          <p:nvPr>
            <p:ph sz="half" idx="1"/>
          </p:nvPr>
        </p:nvSpPr>
        <p:spPr>
          <a:xfrm>
            <a:off x="1050878" y="1641145"/>
            <a:ext cx="9149578" cy="4525963"/>
          </a:xfrm>
        </p:spPr>
        <p:txBody>
          <a:bodyPr/>
          <a:lstStyle/>
          <a:p>
            <a:pPr indent="-228240">
              <a:spcBef>
                <a:spcPts val="1800"/>
              </a:spcBef>
              <a:buClr>
                <a:srgbClr val="514843"/>
              </a:buClr>
              <a:buFont typeface="Wingdings" charset="2"/>
              <a:buChar char=""/>
              <a:defRPr/>
            </a:pPr>
            <a:r>
              <a:rPr lang="en-US" sz="2000" spc="-1" dirty="0">
                <a:solidFill>
                  <a:srgbClr val="514843"/>
                </a:solidFill>
                <a:latin typeface="Euphemia"/>
              </a:rPr>
              <a:t>Law is all about binding rules</a:t>
            </a:r>
          </a:p>
          <a:p>
            <a:pPr indent="-228240">
              <a:spcBef>
                <a:spcPts val="1800"/>
              </a:spcBef>
              <a:buClr>
                <a:srgbClr val="514843"/>
              </a:buClr>
              <a:buFont typeface="Wingdings" charset="2"/>
              <a:buChar char=""/>
              <a:defRPr/>
            </a:pPr>
            <a:r>
              <a:rPr lang="en-US" sz="2000" spc="-1" dirty="0">
                <a:solidFill>
                  <a:srgbClr val="514843"/>
                </a:solidFill>
                <a:latin typeface="Euphemia"/>
              </a:rPr>
              <a:t>Enforcement is here understood in the widest possible way: How do we achieve behavioral changes  through rules? </a:t>
            </a:r>
          </a:p>
          <a:p>
            <a:pPr indent="-228240">
              <a:spcBef>
                <a:spcPts val="1800"/>
              </a:spcBef>
              <a:buClr>
                <a:srgbClr val="514843"/>
              </a:buClr>
              <a:buFont typeface="Wingdings" charset="2"/>
              <a:buChar char=""/>
              <a:defRPr/>
            </a:pPr>
            <a:r>
              <a:rPr lang="en-US" sz="2000" spc="-1" dirty="0">
                <a:solidFill>
                  <a:srgbClr val="514843"/>
                </a:solidFill>
                <a:latin typeface="Euphemia"/>
              </a:rPr>
              <a:t>Lessig</a:t>
            </a:r>
            <a:r>
              <a:rPr lang="en-FI" sz="2000" spc="-1" dirty="0">
                <a:solidFill>
                  <a:srgbClr val="514843"/>
                </a:solidFill>
                <a:latin typeface="Euphemia"/>
              </a:rPr>
              <a:t>: four modalities of regulation </a:t>
            </a:r>
          </a:p>
          <a:p>
            <a:pPr lvl="1" indent="-228240">
              <a:spcBef>
                <a:spcPts val="1800"/>
              </a:spcBef>
              <a:buClr>
                <a:srgbClr val="514843"/>
              </a:buClr>
              <a:buFont typeface="Wingdings" charset="2"/>
              <a:buChar char=""/>
              <a:defRPr/>
            </a:pPr>
            <a:r>
              <a:rPr lang="en-FI" sz="1600" spc="-1" dirty="0">
                <a:solidFill>
                  <a:srgbClr val="514843"/>
                </a:solidFill>
                <a:latin typeface="Euphemia"/>
              </a:rPr>
              <a:t>Law, societal norms, architecture and markets</a:t>
            </a:r>
          </a:p>
          <a:p>
            <a:pPr indent="-228240">
              <a:spcBef>
                <a:spcPts val="1800"/>
              </a:spcBef>
              <a:buClr>
                <a:srgbClr val="514843"/>
              </a:buClr>
              <a:buFont typeface="Wingdings" charset="2"/>
              <a:buChar char=""/>
              <a:defRPr/>
            </a:pPr>
            <a:r>
              <a:rPr lang="en-FI" sz="2000" spc="-1" dirty="0">
                <a:solidFill>
                  <a:srgbClr val="514843"/>
                </a:solidFill>
                <a:latin typeface="Euphemia"/>
              </a:rPr>
              <a:t>E</a:t>
            </a:r>
            <a:r>
              <a:rPr lang="de-DE" sz="2000" spc="-1" dirty="0">
                <a:solidFill>
                  <a:srgbClr val="514843"/>
                </a:solidFill>
                <a:latin typeface="Euphemia"/>
              </a:rPr>
              <a:t>n</a:t>
            </a:r>
            <a:r>
              <a:rPr lang="en-FI" sz="2000" spc="-1" dirty="0" err="1">
                <a:solidFill>
                  <a:srgbClr val="514843"/>
                </a:solidFill>
                <a:latin typeface="Euphemia"/>
              </a:rPr>
              <a:t>forcement</a:t>
            </a:r>
            <a:r>
              <a:rPr lang="en-FI" sz="2000" spc="-1" dirty="0">
                <a:solidFill>
                  <a:srgbClr val="514843"/>
                </a:solidFill>
                <a:latin typeface="Euphemia"/>
              </a:rPr>
              <a:t> might lead to development of the l</a:t>
            </a:r>
            <a:r>
              <a:rPr lang="de-DE" sz="2000" spc="-1" dirty="0">
                <a:solidFill>
                  <a:srgbClr val="514843"/>
                </a:solidFill>
                <a:latin typeface="Euphemia"/>
              </a:rPr>
              <a:t>a</a:t>
            </a:r>
            <a:r>
              <a:rPr lang="en-FI" sz="2000" spc="-1" dirty="0">
                <a:solidFill>
                  <a:srgbClr val="514843"/>
                </a:solidFill>
                <a:latin typeface="Euphemia"/>
              </a:rPr>
              <a:t>w (</a:t>
            </a:r>
            <a:r>
              <a:rPr lang="en-FI" sz="2000" spc="-1" dirty="0">
                <a:solidFill>
                  <a:srgbClr val="514843"/>
                </a:solidFill>
                <a:latin typeface="Euphemia"/>
                <a:sym typeface="Wingdings" panose="05000000000000000000" pitchFamily="2" charset="2"/>
              </a:rPr>
              <a:t> example of cases?)</a:t>
            </a:r>
            <a:r>
              <a:rPr lang="en-FI" sz="2000" spc="-1" dirty="0">
                <a:solidFill>
                  <a:srgbClr val="514843"/>
                </a:solidFill>
                <a:latin typeface="Euphemia"/>
              </a:rPr>
              <a:t> </a:t>
            </a:r>
          </a:p>
          <a:p>
            <a:pPr>
              <a:buFont typeface="Arial" panose="020B0604020202020204" pitchFamily="34" charset="0"/>
              <a:buChar char="•"/>
            </a:pPr>
            <a:endParaRPr lang="en-US" dirty="0"/>
          </a:p>
        </p:txBody>
      </p:sp>
    </p:spTree>
    <p:extLst>
      <p:ext uri="{BB962C8B-B14F-4D97-AF65-F5344CB8AC3E}">
        <p14:creationId xmlns:p14="http://schemas.microsoft.com/office/powerpoint/2010/main" val="1293965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419570E-AE00-4EEE-8448-628F0CC55ECE}"/>
              </a:ext>
            </a:extLst>
          </p:cNvPr>
          <p:cNvSpPr>
            <a:spLocks noGrp="1"/>
          </p:cNvSpPr>
          <p:nvPr>
            <p:ph type="title"/>
          </p:nvPr>
        </p:nvSpPr>
        <p:spPr/>
        <p:txBody>
          <a:bodyPr/>
          <a:lstStyle/>
          <a:p>
            <a:r>
              <a:rPr lang="en-FI" dirty="0"/>
              <a:t>How we are going to address this</a:t>
            </a:r>
            <a:r>
              <a:rPr lang="de-DE" dirty="0"/>
              <a:t> in DP? </a:t>
            </a:r>
          </a:p>
        </p:txBody>
      </p:sp>
      <p:graphicFrame>
        <p:nvGraphicFramePr>
          <p:cNvPr id="7" name="Content Placeholder 6">
            <a:extLst>
              <a:ext uri="{FF2B5EF4-FFF2-40B4-BE49-F238E27FC236}">
                <a16:creationId xmlns:a16="http://schemas.microsoft.com/office/drawing/2014/main" id="{04A35FE4-BDB1-45BB-A9E3-AF96E2C876BA}"/>
              </a:ext>
            </a:extLst>
          </p:cNvPr>
          <p:cNvGraphicFramePr>
            <a:graphicFrameLocks noGrp="1"/>
          </p:cNvGraphicFramePr>
          <p:nvPr>
            <p:ph idx="1"/>
          </p:nvPr>
        </p:nvGraphicFramePr>
        <p:xfrm>
          <a:off x="1104900" y="1600200"/>
          <a:ext cx="9982200" cy="4572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Footer Placeholder 3">
            <a:extLst>
              <a:ext uri="{FF2B5EF4-FFF2-40B4-BE49-F238E27FC236}">
                <a16:creationId xmlns:a16="http://schemas.microsoft.com/office/drawing/2014/main" id="{617407F1-0FA8-48F6-B012-CA212C7380DA}"/>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514843">
                  <a:lumMod val="75000"/>
                </a:srgbClr>
              </a:solidFill>
              <a:effectLst/>
              <a:uLnTx/>
              <a:uFillTx/>
              <a:latin typeface="Euphemia"/>
              <a:ea typeface="+mn-ea"/>
              <a:cs typeface="+mn-cs"/>
            </a:endParaRPr>
          </a:p>
        </p:txBody>
      </p:sp>
    </p:spTree>
    <p:extLst>
      <p:ext uri="{BB962C8B-B14F-4D97-AF65-F5344CB8AC3E}">
        <p14:creationId xmlns:p14="http://schemas.microsoft.com/office/powerpoint/2010/main" val="4049771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F9C72E-715D-4334-92BB-4755DEA5EDEA}"/>
              </a:ext>
            </a:extLst>
          </p:cNvPr>
          <p:cNvSpPr>
            <a:spLocks noGrp="1"/>
          </p:cNvSpPr>
          <p:nvPr>
            <p:ph type="ctrTitle"/>
          </p:nvPr>
        </p:nvSpPr>
        <p:spPr/>
        <p:txBody>
          <a:bodyPr/>
          <a:lstStyle/>
          <a:p>
            <a:r>
              <a:rPr lang="en-FI" dirty="0"/>
              <a:t>Administrative = via DPA</a:t>
            </a:r>
            <a:endParaRPr lang="de-DE" dirty="0"/>
          </a:p>
        </p:txBody>
      </p:sp>
      <p:sp>
        <p:nvSpPr>
          <p:cNvPr id="3" name="Subtitle 2">
            <a:extLst>
              <a:ext uri="{FF2B5EF4-FFF2-40B4-BE49-F238E27FC236}">
                <a16:creationId xmlns:a16="http://schemas.microsoft.com/office/drawing/2014/main" id="{8232F03A-FDEA-4CED-A9CF-03375EA3856D}"/>
              </a:ext>
            </a:extLst>
          </p:cNvPr>
          <p:cNvSpPr>
            <a:spLocks noGrp="1"/>
          </p:cNvSpPr>
          <p:nvPr>
            <p:ph type="subTitle" idx="1"/>
          </p:nvPr>
        </p:nvSpPr>
        <p:spPr/>
        <p:txBody>
          <a:bodyPr/>
          <a:lstStyle/>
          <a:p>
            <a:endParaRPr lang="de-DE"/>
          </a:p>
        </p:txBody>
      </p:sp>
      <p:pic>
        <p:nvPicPr>
          <p:cNvPr id="13" name="Picture Placeholder 12" descr="A picture containing person, suit, posing, dressed&#10;&#10;Description automatically generated">
            <a:extLst>
              <a:ext uri="{FF2B5EF4-FFF2-40B4-BE49-F238E27FC236}">
                <a16:creationId xmlns:a16="http://schemas.microsoft.com/office/drawing/2014/main" id="{C7DBC497-0CEB-4487-B5ED-A62E4E73A1F4}"/>
              </a:ext>
            </a:extLst>
          </p:cNvPr>
          <p:cNvPicPr>
            <a:picLocks noGrp="1" noChangeAspect="1"/>
          </p:cNvPicPr>
          <p:nvPr>
            <p:ph type="pic" sz="quarter" idx="13"/>
          </p:nvPr>
        </p:nvPicPr>
        <p:blipFill>
          <a:blip r:embed="rId3" cstate="print">
            <a:extLst>
              <a:ext uri="{28A0092B-C50C-407E-A947-70E740481C1C}">
                <a14:useLocalDpi xmlns:a14="http://schemas.microsoft.com/office/drawing/2010/main" val="0"/>
              </a:ext>
            </a:extLst>
          </a:blip>
          <a:srcRect l="8733" r="8733"/>
          <a:stretch>
            <a:fillRect/>
          </a:stretch>
        </p:blipFill>
        <p:spPr/>
      </p:pic>
    </p:spTree>
    <p:extLst>
      <p:ext uri="{BB962C8B-B14F-4D97-AF65-F5344CB8AC3E}">
        <p14:creationId xmlns:p14="http://schemas.microsoft.com/office/powerpoint/2010/main" val="2516539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5" name="TextShape 1"/>
          <p:cNvSpPr txBox="1"/>
          <p:nvPr/>
        </p:nvSpPr>
        <p:spPr>
          <a:xfrm>
            <a:off x="1104840" y="76320"/>
            <a:ext cx="9980280" cy="1096560"/>
          </a:xfrm>
          <a:prstGeom prst="rect">
            <a:avLst/>
          </a:prstGeom>
          <a:noFill/>
          <a:ln>
            <a:noFill/>
          </a:ln>
        </p:spPr>
        <p:txBody>
          <a:bodyPr lIns="0" rIns="0" anchor="b">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de-DE" sz="2800" b="0" i="0" u="none" strike="noStrike" kern="1200" cap="none" spc="-1" normalizeH="0" baseline="0" noProof="0">
                <a:ln>
                  <a:noFill/>
                </a:ln>
                <a:solidFill>
                  <a:srgbClr val="514843"/>
                </a:solidFill>
                <a:effectLst/>
                <a:uLnTx/>
                <a:uFillTx/>
                <a:latin typeface="Plantagenet Cherokee"/>
                <a:ea typeface="+mn-ea"/>
                <a:cs typeface="+mn-cs"/>
              </a:rPr>
              <a:t>The administrative approach</a:t>
            </a:r>
            <a:endParaRPr kumimoji="0" lang="de-DE" sz="2800" b="0" i="0" u="none" strike="noStrike" kern="1200" cap="none" spc="-1" normalizeH="0" baseline="0" noProof="0">
              <a:ln>
                <a:noFill/>
              </a:ln>
              <a:solidFill>
                <a:srgbClr val="514843"/>
              </a:solidFill>
              <a:effectLst/>
              <a:uLnTx/>
              <a:uFillTx/>
              <a:latin typeface="Euphemia"/>
              <a:ea typeface="+mn-ea"/>
              <a:cs typeface="+mn-cs"/>
            </a:endParaRPr>
          </a:p>
        </p:txBody>
      </p:sp>
      <p:sp>
        <p:nvSpPr>
          <p:cNvPr id="326" name="TextShape 2"/>
          <p:cNvSpPr txBox="1"/>
          <p:nvPr/>
        </p:nvSpPr>
        <p:spPr>
          <a:xfrm>
            <a:off x="1104840" y="1600200"/>
            <a:ext cx="9981720" cy="4571640"/>
          </a:xfrm>
          <a:prstGeom prst="rect">
            <a:avLst/>
          </a:prstGeom>
          <a:noFill/>
          <a:ln>
            <a:noFill/>
          </a:ln>
        </p:spPr>
        <p:txBody>
          <a:bodyPr lIns="0" rIns="0">
            <a:noAutofit/>
          </a:bodyPr>
          <a:lstStyle/>
          <a:p>
            <a:pPr marL="228600" marR="0" lvl="0" indent="-228240" algn="l" defTabSz="914400" rtl="0" eaLnBrk="1" fontAlgn="auto" latinLnBrk="0" hangingPunct="1">
              <a:lnSpc>
                <a:spcPct val="90000"/>
              </a:lnSpc>
              <a:spcBef>
                <a:spcPts val="1800"/>
              </a:spcBef>
              <a:spcAft>
                <a:spcPts val="0"/>
              </a:spcAft>
              <a:buClr>
                <a:srgbClr val="514843"/>
              </a:buClr>
              <a:buSzTx/>
              <a:buFont typeface="Wingdings" charset="2"/>
              <a:buChar char=""/>
              <a:tabLst/>
              <a:defRPr/>
            </a:pPr>
            <a:r>
              <a:rPr kumimoji="0" lang="en-FI" sz="2000" b="0" i="0" u="none" strike="noStrike" kern="1200" cap="none" spc="-1" normalizeH="0" baseline="0" noProof="0" dirty="0">
                <a:ln>
                  <a:noFill/>
                </a:ln>
                <a:solidFill>
                  <a:srgbClr val="514843"/>
                </a:solidFill>
                <a:effectLst/>
                <a:uLnTx/>
                <a:uFillTx/>
                <a:latin typeface="Euphemia"/>
                <a:ea typeface="+mn-ea"/>
                <a:cs typeface="+mn-cs"/>
              </a:rPr>
              <a:t>Under GDPR all Member States must have </a:t>
            </a:r>
            <a:r>
              <a:rPr kumimoji="0" lang="en-FI" sz="2000" b="0" i="0" u="none" strike="noStrike" kern="1200" cap="none" spc="-1" normalizeH="0" baseline="0" noProof="0" dirty="0" err="1">
                <a:ln>
                  <a:noFill/>
                </a:ln>
                <a:solidFill>
                  <a:srgbClr val="514843"/>
                </a:solidFill>
                <a:effectLst/>
                <a:uLnTx/>
                <a:uFillTx/>
                <a:latin typeface="Euphemia"/>
                <a:ea typeface="+mn-ea"/>
                <a:cs typeface="+mn-cs"/>
              </a:rPr>
              <a:t>DPAs</a:t>
            </a:r>
            <a:r>
              <a:rPr kumimoji="0" lang="en-FI" sz="2000" b="0" i="0" u="none" strike="noStrike" kern="1200" cap="none" spc="-1" normalizeH="0" baseline="0" noProof="0" dirty="0">
                <a:ln>
                  <a:noFill/>
                </a:ln>
                <a:solidFill>
                  <a:srgbClr val="514843"/>
                </a:solidFill>
                <a:effectLst/>
                <a:uLnTx/>
                <a:uFillTx/>
                <a:latin typeface="Euphemia"/>
                <a:ea typeface="+mn-ea"/>
                <a:cs typeface="+mn-cs"/>
              </a:rPr>
              <a:t> (different names: ICP, ICO,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ombuds</a:t>
            </a:r>
            <a:r>
              <a:rPr kumimoji="0" lang="en-FI" sz="2000" b="0" i="0" u="none" strike="noStrike" kern="1200" cap="none" spc="-1" normalizeH="0" baseline="0" noProof="0" dirty="0">
                <a:ln>
                  <a:noFill/>
                </a:ln>
                <a:solidFill>
                  <a:srgbClr val="514843"/>
                </a:solidFill>
                <a:effectLst/>
                <a:uLnTx/>
                <a:uFillTx/>
                <a:latin typeface="Euphemia"/>
                <a:ea typeface="+mn-ea"/>
                <a:cs typeface="+mn-cs"/>
              </a:rPr>
              <a:t>man)</a:t>
            </a:r>
            <a:endParaRPr kumimoji="0" lang="de-DE" sz="2000" b="0" i="0" u="none" strike="noStrike" kern="1200" cap="none" spc="-1" normalizeH="0" baseline="0" noProof="0" dirty="0">
              <a:ln>
                <a:noFill/>
              </a:ln>
              <a:solidFill>
                <a:srgbClr val="514843"/>
              </a:solidFill>
              <a:effectLst/>
              <a:uLnTx/>
              <a:uFillTx/>
              <a:latin typeface="Euphemia"/>
              <a:ea typeface="+mn-ea"/>
              <a:cs typeface="+mn-cs"/>
            </a:endParaRPr>
          </a:p>
          <a:p>
            <a:pPr marL="228600" marR="0" lvl="0" indent="-228240" algn="l" defTabSz="914400" rtl="0" eaLnBrk="1" fontAlgn="auto" latinLnBrk="0" hangingPunct="1">
              <a:lnSpc>
                <a:spcPct val="90000"/>
              </a:lnSpc>
              <a:spcBef>
                <a:spcPts val="1800"/>
              </a:spcBef>
              <a:spcAft>
                <a:spcPts val="0"/>
              </a:spcAft>
              <a:buClr>
                <a:srgbClr val="514843"/>
              </a:buClr>
              <a:buSzTx/>
              <a:buFont typeface="Wingdings" charset="2"/>
              <a:buChar char=""/>
              <a:tabLst/>
              <a:defRPr/>
            </a:pPr>
            <a:r>
              <a:rPr kumimoji="0" lang="en-FI" sz="2000" b="0" i="0" u="none" strike="noStrike" kern="1200" cap="none" spc="-1" normalizeH="0" baseline="0" noProof="0" dirty="0">
                <a:ln>
                  <a:noFill/>
                </a:ln>
                <a:solidFill>
                  <a:srgbClr val="514843"/>
                </a:solidFill>
                <a:effectLst/>
                <a:uLnTx/>
                <a:uFillTx/>
                <a:latin typeface="Euphemia"/>
                <a:ea typeface="+mn-ea"/>
                <a:cs typeface="+mn-cs"/>
              </a:rPr>
              <a:t>Often prompted by </a:t>
            </a:r>
            <a:r>
              <a:rPr kumimoji="0" lang="en-FI" sz="2000" b="0" i="0" u="none" strike="noStrike" kern="1200" cap="none" spc="-1" normalizeH="0" baseline="0" noProof="0" dirty="0" err="1">
                <a:ln>
                  <a:noFill/>
                </a:ln>
                <a:solidFill>
                  <a:srgbClr val="514843"/>
                </a:solidFill>
                <a:effectLst/>
                <a:uLnTx/>
                <a:uFillTx/>
                <a:latin typeface="Euphemia"/>
                <a:ea typeface="+mn-ea"/>
                <a:cs typeface="+mn-cs"/>
              </a:rPr>
              <a:t>compliants</a:t>
            </a:r>
            <a:r>
              <a:rPr kumimoji="0" lang="en-FI" sz="2000" b="0" i="0" u="none" strike="noStrike" kern="1200" cap="none" spc="-1" normalizeH="0" baseline="0" noProof="0" dirty="0">
                <a:ln>
                  <a:noFill/>
                </a:ln>
                <a:solidFill>
                  <a:srgbClr val="514843"/>
                </a:solidFill>
                <a:effectLst/>
                <a:uLnTx/>
                <a:uFillTx/>
                <a:latin typeface="Euphemia"/>
                <a:ea typeface="+mn-ea"/>
                <a:cs typeface="+mn-cs"/>
              </a:rPr>
              <a:t> by citizens; but also own initiative </a:t>
            </a:r>
            <a:endParaRPr kumimoji="0" lang="de-DE" sz="2000" b="0" i="0" u="none" strike="noStrike" kern="1200" cap="none" spc="-1" normalizeH="0" baseline="0" noProof="0" dirty="0">
              <a:ln>
                <a:noFill/>
              </a:ln>
              <a:solidFill>
                <a:srgbClr val="514843"/>
              </a:solidFill>
              <a:effectLst/>
              <a:uLnTx/>
              <a:uFillTx/>
              <a:latin typeface="Euphemia"/>
              <a:ea typeface="+mn-ea"/>
              <a:cs typeface="+mn-cs"/>
            </a:endParaRPr>
          </a:p>
          <a:p>
            <a:pPr marL="228600" marR="0" lvl="0" indent="-228240" algn="l" defTabSz="914400" rtl="0" eaLnBrk="1" fontAlgn="auto" latinLnBrk="0" hangingPunct="1">
              <a:lnSpc>
                <a:spcPct val="90000"/>
              </a:lnSpc>
              <a:spcBef>
                <a:spcPts val="1800"/>
              </a:spcBef>
              <a:spcAft>
                <a:spcPts val="0"/>
              </a:spcAft>
              <a:buClr>
                <a:srgbClr val="514843"/>
              </a:buClr>
              <a:buSzTx/>
              <a:buFont typeface="Wingdings" charset="2"/>
              <a:buChar char=""/>
              <a:tabLst/>
              <a:defRPr/>
            </a:pPr>
            <a:r>
              <a:rPr kumimoji="0" lang="de-DE" sz="2000" b="0" i="0" u="none" strike="noStrike" kern="1200" cap="none" spc="-1" normalizeH="0" baseline="0" noProof="0" dirty="0" err="1">
                <a:ln>
                  <a:noFill/>
                </a:ln>
                <a:solidFill>
                  <a:srgbClr val="514843"/>
                </a:solidFill>
                <a:effectLst/>
                <a:uLnTx/>
                <a:uFillTx/>
                <a:latin typeface="Euphemia"/>
                <a:ea typeface="+mn-ea"/>
                <a:cs typeface="+mn-cs"/>
              </a:rPr>
              <a:t>Often</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cheaper</a:t>
            </a:r>
            <a:r>
              <a:rPr kumimoji="0" lang="de-DE" sz="2000" b="0" i="0" u="none" strike="noStrike" kern="1200" cap="none" spc="-1" normalizeH="0" baseline="0" noProof="0" dirty="0">
                <a:ln>
                  <a:noFill/>
                </a:ln>
                <a:solidFill>
                  <a:srgbClr val="514843"/>
                </a:solidFill>
                <a:effectLst/>
                <a:uLnTx/>
                <a:uFillTx/>
                <a:latin typeface="Euphemia"/>
                <a:ea typeface="+mn-ea"/>
                <a:cs typeface="+mn-cs"/>
              </a:rPr>
              <a:t> and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faster</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than</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the</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judicial</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option</a:t>
            </a:r>
            <a:endParaRPr kumimoji="0" lang="de-DE" sz="2000" b="0" i="0" u="none" strike="noStrike" kern="1200" cap="none" spc="-1" normalizeH="0" baseline="0" noProof="0" dirty="0">
              <a:ln>
                <a:noFill/>
              </a:ln>
              <a:solidFill>
                <a:srgbClr val="514843"/>
              </a:solidFill>
              <a:effectLst/>
              <a:uLnTx/>
              <a:uFillTx/>
              <a:latin typeface="Euphemia"/>
              <a:ea typeface="+mn-ea"/>
              <a:cs typeface="+mn-cs"/>
            </a:endParaRPr>
          </a:p>
          <a:p>
            <a:pPr marL="228600" marR="0" lvl="0" indent="-228240" algn="l" defTabSz="914400" rtl="0" eaLnBrk="1" fontAlgn="auto" latinLnBrk="0" hangingPunct="1">
              <a:lnSpc>
                <a:spcPct val="90000"/>
              </a:lnSpc>
              <a:spcBef>
                <a:spcPts val="1800"/>
              </a:spcBef>
              <a:spcAft>
                <a:spcPts val="0"/>
              </a:spcAft>
              <a:buClr>
                <a:srgbClr val="514843"/>
              </a:buClr>
              <a:buSzTx/>
              <a:buFont typeface="Wingdings" charset="2"/>
              <a:buChar char=""/>
              <a:tabLst/>
              <a:defRPr/>
            </a:pPr>
            <a:r>
              <a:rPr kumimoji="0" lang="de-DE" sz="2000" b="0" i="0" u="none" strike="noStrike" kern="1200" cap="none" spc="-1" normalizeH="0" baseline="0" noProof="0" dirty="0">
                <a:ln>
                  <a:noFill/>
                </a:ln>
                <a:solidFill>
                  <a:srgbClr val="514843"/>
                </a:solidFill>
                <a:effectLst/>
                <a:uLnTx/>
                <a:uFillTx/>
                <a:latin typeface="Euphemia"/>
                <a:ea typeface="+mn-ea"/>
                <a:cs typeface="+mn-cs"/>
              </a:rPr>
              <a:t>Very flexible</a:t>
            </a:r>
          </a:p>
          <a:p>
            <a:pPr marL="228600" marR="0" lvl="0" indent="-228240" algn="l" defTabSz="914400" rtl="0" eaLnBrk="1" fontAlgn="auto" latinLnBrk="0" hangingPunct="1">
              <a:lnSpc>
                <a:spcPct val="90000"/>
              </a:lnSpc>
              <a:spcBef>
                <a:spcPts val="1800"/>
              </a:spcBef>
              <a:spcAft>
                <a:spcPts val="0"/>
              </a:spcAft>
              <a:buClr>
                <a:srgbClr val="514843"/>
              </a:buClr>
              <a:buSzTx/>
              <a:buFont typeface="Wingdings" charset="2"/>
              <a:buChar char=""/>
              <a:tabLst/>
              <a:defRPr/>
            </a:pPr>
            <a:r>
              <a:rPr kumimoji="0" lang="de-DE" sz="2000" b="0" i="0" u="none" strike="noStrike" kern="1200" cap="none" spc="-1" normalizeH="0" baseline="0" noProof="0" dirty="0">
                <a:ln>
                  <a:noFill/>
                </a:ln>
                <a:solidFill>
                  <a:srgbClr val="514843"/>
                </a:solidFill>
                <a:effectLst/>
                <a:uLnTx/>
                <a:uFillTx/>
                <a:latin typeface="Euphemia"/>
                <a:ea typeface="+mn-ea"/>
                <a:cs typeface="+mn-cs"/>
              </a:rPr>
              <a:t>Reviews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of</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decisions</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often</a:t>
            </a:r>
            <a:r>
              <a:rPr kumimoji="0" lang="de-DE" sz="2000" b="0" i="0" u="none" strike="noStrike" kern="1200" cap="none" spc="-1" normalizeH="0" baseline="0" noProof="0" dirty="0">
                <a:ln>
                  <a:noFill/>
                </a:ln>
                <a:solidFill>
                  <a:srgbClr val="514843"/>
                </a:solidFill>
                <a:effectLst/>
                <a:uLnTx/>
                <a:uFillTx/>
                <a:latin typeface="Euphemia"/>
                <a:ea typeface="+mn-ea"/>
                <a:cs typeface="+mn-cs"/>
              </a:rPr>
              <a:t> end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up</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going</a:t>
            </a:r>
            <a:r>
              <a:rPr kumimoji="0" lang="de-DE" sz="2000" b="0" i="0" u="none" strike="noStrike" kern="1200" cap="none" spc="-1" normalizeH="0" baseline="0" noProof="0" dirty="0">
                <a:ln>
                  <a:noFill/>
                </a:ln>
                <a:solidFill>
                  <a:srgbClr val="514843"/>
                </a:solidFill>
                <a:effectLst/>
                <a:uLnTx/>
                <a:uFillTx/>
                <a:latin typeface="Euphemia"/>
                <a:ea typeface="+mn-ea"/>
                <a:cs typeface="+mn-cs"/>
              </a:rPr>
              <a:t> t</a:t>
            </a:r>
            <a:r>
              <a:rPr kumimoji="0" lang="en-FI" sz="2000" b="0" i="0" u="none" strike="noStrike" kern="1200" cap="none" spc="-1" normalizeH="0" baseline="0" noProof="0" dirty="0">
                <a:ln>
                  <a:noFill/>
                </a:ln>
                <a:solidFill>
                  <a:srgbClr val="514843"/>
                </a:solidFill>
                <a:effectLst/>
                <a:uLnTx/>
                <a:uFillTx/>
                <a:latin typeface="Euphemia"/>
                <a:ea typeface="+mn-ea"/>
                <a:cs typeface="+mn-cs"/>
              </a:rPr>
              <a:t>o courts</a:t>
            </a:r>
            <a:endParaRPr kumimoji="0" lang="de-DE" sz="2000" b="0" i="0" u="none" strike="noStrike" kern="1200" cap="none" spc="-1" normalizeH="0" baseline="0" noProof="0" dirty="0">
              <a:ln>
                <a:noFill/>
              </a:ln>
              <a:solidFill>
                <a:srgbClr val="514843"/>
              </a:solidFill>
              <a:effectLst/>
              <a:uLnTx/>
              <a:uFillTx/>
              <a:latin typeface="Euphemia"/>
              <a:ea typeface="+mn-ea"/>
              <a:cs typeface="+mn-cs"/>
            </a:endParaRPr>
          </a:p>
          <a:p>
            <a:pPr marL="0" marR="0" lvl="0" indent="0" algn="l" defTabSz="914400" rtl="0" eaLnBrk="1" fontAlgn="auto" latinLnBrk="0" hangingPunct="1">
              <a:lnSpc>
                <a:spcPct val="90000"/>
              </a:lnSpc>
              <a:spcBef>
                <a:spcPts val="1800"/>
              </a:spcBef>
              <a:spcAft>
                <a:spcPts val="0"/>
              </a:spcAft>
              <a:buClrTx/>
              <a:buSzTx/>
              <a:buFontTx/>
              <a:buNone/>
              <a:tabLst/>
              <a:defRPr/>
            </a:pPr>
            <a:endParaRPr kumimoji="0" lang="de-DE" sz="2000" b="0" i="0" u="none" strike="noStrike" kern="1200" cap="none" spc="-1" normalizeH="0" baseline="0" noProof="0" dirty="0">
              <a:ln>
                <a:noFill/>
              </a:ln>
              <a:solidFill>
                <a:srgbClr val="514843"/>
              </a:solidFill>
              <a:effectLst/>
              <a:uLnTx/>
              <a:uFillTx/>
              <a:latin typeface="Euphemia"/>
              <a:ea typeface="+mn-ea"/>
              <a:cs typeface="+mn-cs"/>
            </a:endParaRPr>
          </a:p>
          <a:p>
            <a:pPr marL="228600" marR="0" lvl="0" indent="-228240" algn="l" defTabSz="914400" rtl="0" eaLnBrk="1" fontAlgn="auto" latinLnBrk="0" hangingPunct="1">
              <a:lnSpc>
                <a:spcPct val="90000"/>
              </a:lnSpc>
              <a:spcBef>
                <a:spcPts val="1800"/>
              </a:spcBef>
              <a:spcAft>
                <a:spcPts val="0"/>
              </a:spcAft>
              <a:buClr>
                <a:srgbClr val="514843"/>
              </a:buClr>
              <a:buSzTx/>
              <a:buFont typeface="Wingdings" charset="2"/>
              <a:buChar char=""/>
              <a:tabLst/>
              <a:defRPr/>
            </a:pPr>
            <a:r>
              <a:rPr kumimoji="0" lang="de-DE" sz="2000" b="0" i="0" u="none" strike="noStrike" kern="1200" cap="none" spc="-1" normalizeH="0" baseline="0" noProof="0" dirty="0">
                <a:ln>
                  <a:noFill/>
                </a:ln>
                <a:solidFill>
                  <a:srgbClr val="514843"/>
                </a:solidFill>
                <a:effectLst/>
                <a:uLnTx/>
                <a:uFillTx/>
                <a:latin typeface="Euphemia"/>
                <a:ea typeface="+mn-ea"/>
                <a:cs typeface="+mn-cs"/>
              </a:rPr>
              <a:t>See, e.g., GDPR, art. </a:t>
            </a:r>
            <a:r>
              <a:rPr kumimoji="0" lang="en-FI" sz="2000" b="0" i="0" u="none" strike="noStrike" kern="1200" cap="none" spc="-1" normalizeH="0" baseline="0" noProof="0" dirty="0">
                <a:ln>
                  <a:noFill/>
                </a:ln>
                <a:solidFill>
                  <a:srgbClr val="514843"/>
                </a:solidFill>
                <a:effectLst/>
                <a:uLnTx/>
                <a:uFillTx/>
                <a:latin typeface="Euphemia"/>
                <a:ea typeface="+mn-ea"/>
                <a:cs typeface="+mn-cs"/>
              </a:rPr>
              <a:t>77, </a:t>
            </a:r>
            <a:r>
              <a:rPr kumimoji="0" lang="de-DE" sz="2000" b="0" i="0" u="none" strike="noStrike" kern="1200" cap="none" spc="-1" normalizeH="0" baseline="0" noProof="0" dirty="0">
                <a:ln>
                  <a:noFill/>
                </a:ln>
                <a:solidFill>
                  <a:srgbClr val="514843"/>
                </a:solidFill>
                <a:effectLst/>
                <a:uLnTx/>
                <a:uFillTx/>
                <a:latin typeface="Euphemia"/>
                <a:ea typeface="+mn-ea"/>
                <a:cs typeface="+mn-cs"/>
              </a:rPr>
              <a:t>83</a:t>
            </a:r>
          </a:p>
        </p:txBody>
      </p:sp>
      <p:sp>
        <p:nvSpPr>
          <p:cNvPr id="327" name="TextShape 3"/>
          <p:cNvSpPr txBox="1"/>
          <p:nvPr/>
        </p:nvSpPr>
        <p:spPr>
          <a:xfrm>
            <a:off x="2934360" y="6356520"/>
            <a:ext cx="6322680" cy="364680"/>
          </a:xfrm>
          <a:prstGeom prst="rect">
            <a:avLst/>
          </a:prstGeom>
          <a:noFill/>
          <a:ln>
            <a:noFill/>
          </a:ln>
        </p:spPr>
        <p:txBody>
          <a:bodyPr lIns="0" r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1" normalizeH="0" baseline="0" noProof="0">
              <a:ln>
                <a:noFill/>
              </a:ln>
              <a:solidFill>
                <a:prstClr val="black"/>
              </a:solidFill>
              <a:effectLst/>
              <a:uLnTx/>
              <a:uFillTx/>
              <a:latin typeface="Times New Roman"/>
              <a:ea typeface="+mn-ea"/>
              <a:cs typeface="+mn-cs"/>
            </a:endParaRPr>
          </a:p>
        </p:txBody>
      </p:sp>
    </p:spTree>
    <p:extLst>
      <p:ext uri="{BB962C8B-B14F-4D97-AF65-F5344CB8AC3E}">
        <p14:creationId xmlns:p14="http://schemas.microsoft.com/office/powerpoint/2010/main" val="2727448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p15="http://schemas.microsoft.com/office/powerpoint/2012/main">
      <p:transition spd="med">
        <p:fade/>
      </p:transition>
    </mc:Fallback>
  </mc:AlternateContent>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rtlCol="0">
            <a:normAutofit/>
          </a:bodyPr>
          <a:lstStyle/>
          <a:p>
            <a:pPr>
              <a:spcBef>
                <a:spcPts val="0"/>
              </a:spcBef>
              <a:defRPr/>
            </a:pPr>
            <a:r>
              <a:rPr lang="fr-CA" sz="2800" spc="-1" dirty="0" err="1">
                <a:solidFill>
                  <a:srgbClr val="514843"/>
                </a:solidFill>
                <a:latin typeface="Plantagenet Cherokee"/>
                <a:ea typeface="+mn-ea"/>
                <a:cs typeface="+mn-cs"/>
              </a:rPr>
              <a:t>Enforcement</a:t>
            </a:r>
            <a:r>
              <a:rPr lang="fr-CA" sz="2800" spc="-1" dirty="0">
                <a:solidFill>
                  <a:srgbClr val="514843"/>
                </a:solidFill>
                <a:latin typeface="Plantagenet Cherokee"/>
                <a:ea typeface="+mn-ea"/>
                <a:cs typeface="+mn-cs"/>
              </a:rPr>
              <a:t> </a:t>
            </a:r>
            <a:r>
              <a:rPr lang="fr-CA" sz="2800" spc="-1" dirty="0" err="1">
                <a:solidFill>
                  <a:srgbClr val="514843"/>
                </a:solidFill>
                <a:latin typeface="Plantagenet Cherokee"/>
                <a:ea typeface="+mn-ea"/>
                <a:cs typeface="+mn-cs"/>
              </a:rPr>
              <a:t>under</a:t>
            </a:r>
            <a:r>
              <a:rPr lang="fr-CA" sz="2800" spc="-1" dirty="0">
                <a:solidFill>
                  <a:srgbClr val="514843"/>
                </a:solidFill>
                <a:latin typeface="Plantagenet Cherokee"/>
                <a:ea typeface="+mn-ea"/>
                <a:cs typeface="+mn-cs"/>
              </a:rPr>
              <a:t> the GDPR</a:t>
            </a:r>
          </a:p>
        </p:txBody>
      </p:sp>
      <p:graphicFrame>
        <p:nvGraphicFramePr>
          <p:cNvPr id="4" name="Content Placeholder 3"/>
          <p:cNvGraphicFramePr>
            <a:graphicFrameLocks/>
          </p:cNvGraphicFramePr>
          <p:nvPr/>
        </p:nvGraphicFramePr>
        <p:xfrm>
          <a:off x="1104841" y="1845734"/>
          <a:ext cx="9383650" cy="401597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100663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rtlCol="0">
            <a:normAutofit/>
          </a:bodyPr>
          <a:lstStyle/>
          <a:p>
            <a:pPr>
              <a:spcBef>
                <a:spcPts val="0"/>
              </a:spcBef>
              <a:defRPr/>
            </a:pPr>
            <a:r>
              <a:rPr lang="fr-CA" sz="2800" spc="-1" dirty="0" err="1">
                <a:solidFill>
                  <a:srgbClr val="514843"/>
                </a:solidFill>
                <a:latin typeface="Plantagenet Cherokee"/>
                <a:ea typeface="+mn-ea"/>
                <a:cs typeface="+mn-cs"/>
              </a:rPr>
              <a:t>Enforcement</a:t>
            </a:r>
            <a:r>
              <a:rPr lang="fr-CA" sz="2800" spc="-1" dirty="0">
                <a:solidFill>
                  <a:srgbClr val="514843"/>
                </a:solidFill>
                <a:latin typeface="Plantagenet Cherokee"/>
                <a:ea typeface="+mn-ea"/>
                <a:cs typeface="+mn-cs"/>
              </a:rPr>
              <a:t> </a:t>
            </a:r>
            <a:r>
              <a:rPr lang="fr-CA" sz="2800" spc="-1" dirty="0" err="1">
                <a:solidFill>
                  <a:srgbClr val="514843"/>
                </a:solidFill>
                <a:latin typeface="Plantagenet Cherokee"/>
                <a:ea typeface="+mn-ea"/>
                <a:cs typeface="+mn-cs"/>
              </a:rPr>
              <a:t>under</a:t>
            </a:r>
            <a:r>
              <a:rPr lang="fr-CA" sz="2800" spc="-1" dirty="0">
                <a:solidFill>
                  <a:srgbClr val="514843"/>
                </a:solidFill>
                <a:latin typeface="Plantagenet Cherokee"/>
                <a:ea typeface="+mn-ea"/>
                <a:cs typeface="+mn-cs"/>
              </a:rPr>
              <a:t> the GDPR – </a:t>
            </a:r>
            <a:r>
              <a:rPr lang="en-FI" sz="2800" spc="-1" dirty="0">
                <a:solidFill>
                  <a:srgbClr val="514843"/>
                </a:solidFill>
                <a:latin typeface="Plantagenet Cherokee"/>
                <a:ea typeface="+mn-ea"/>
                <a:cs typeface="+mn-cs"/>
              </a:rPr>
              <a:t>Criteria for fines</a:t>
            </a:r>
            <a:r>
              <a:rPr lang="de-DE" sz="2800" spc="-1" dirty="0">
                <a:solidFill>
                  <a:srgbClr val="514843"/>
                </a:solidFill>
                <a:latin typeface="Plantagenet Cherokee"/>
                <a:ea typeface="+mn-ea"/>
                <a:cs typeface="+mn-cs"/>
              </a:rPr>
              <a:t> (1)</a:t>
            </a:r>
            <a:endParaRPr lang="fr-CA" sz="2800" spc="-1" dirty="0">
              <a:solidFill>
                <a:srgbClr val="514843"/>
              </a:solidFill>
              <a:latin typeface="Plantagenet Cherokee"/>
              <a:ea typeface="+mn-ea"/>
              <a:cs typeface="+mn-cs"/>
            </a:endParaRPr>
          </a:p>
        </p:txBody>
      </p:sp>
      <p:sp>
        <p:nvSpPr>
          <p:cNvPr id="3" name="Content Placeholder 2"/>
          <p:cNvSpPr>
            <a:spLocks noGrp="1"/>
          </p:cNvSpPr>
          <p:nvPr>
            <p:ph idx="1"/>
          </p:nvPr>
        </p:nvSpPr>
        <p:spPr>
          <a:xfrm>
            <a:off x="1037230" y="1428800"/>
            <a:ext cx="10047890" cy="5429200"/>
          </a:xfrm>
        </p:spPr>
        <p:txBody>
          <a:bodyPr>
            <a:normAutofit/>
          </a:bodyPr>
          <a:lstStyle/>
          <a:p>
            <a:pPr marL="0" indent="0">
              <a:buNone/>
            </a:pPr>
            <a:r>
              <a:rPr lang="en-US" sz="2400" dirty="0"/>
              <a:t>(a)  the nature, gravity and duration of the infringement taking into account the nature scope or purpose of the processing concerned as well as the number of data subjects affected and the level of damage suffered by them; </a:t>
            </a:r>
          </a:p>
          <a:p>
            <a:pPr marL="0" indent="0">
              <a:buNone/>
            </a:pPr>
            <a:r>
              <a:rPr lang="en-US" sz="2400" dirty="0"/>
              <a:t>(b)  the intentional or negligent character of the infringement; </a:t>
            </a:r>
          </a:p>
          <a:p>
            <a:pPr marL="0" indent="0">
              <a:buNone/>
            </a:pPr>
            <a:r>
              <a:rPr lang="en-US" sz="2400" dirty="0"/>
              <a:t>(c)  any action taken by the controller or processor to mitigate the damage suffered by data subjects; </a:t>
            </a:r>
          </a:p>
          <a:p>
            <a:pPr marL="0" indent="0">
              <a:buNone/>
            </a:pPr>
            <a:r>
              <a:rPr lang="en-US" sz="2400" dirty="0"/>
              <a:t>(d)  the degree of responsibility of the controller or processor taking into account technical and </a:t>
            </a:r>
            <a:r>
              <a:rPr lang="en-US" sz="2400" dirty="0" err="1"/>
              <a:t>organisational</a:t>
            </a:r>
            <a:r>
              <a:rPr lang="en-US" sz="2400" dirty="0"/>
              <a:t> measures implemented by them pursuant to Articles 25 and 32; </a:t>
            </a:r>
          </a:p>
          <a:p>
            <a:pPr marL="0" indent="0">
              <a:buNone/>
            </a:pPr>
            <a:r>
              <a:rPr lang="en-US" sz="2400" dirty="0"/>
              <a:t>(e)  any relevant previous infringements by the controller or processor; </a:t>
            </a:r>
          </a:p>
        </p:txBody>
      </p:sp>
    </p:spTree>
    <p:extLst>
      <p:ext uri="{BB962C8B-B14F-4D97-AF65-F5344CB8AC3E}">
        <p14:creationId xmlns:p14="http://schemas.microsoft.com/office/powerpoint/2010/main" val="2627465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rtlCol="0">
            <a:normAutofit/>
          </a:bodyPr>
          <a:lstStyle/>
          <a:p>
            <a:pPr>
              <a:spcBef>
                <a:spcPts val="0"/>
              </a:spcBef>
              <a:defRPr/>
            </a:pPr>
            <a:r>
              <a:rPr lang="fr-CA" sz="2800" spc="-1" dirty="0" err="1">
                <a:solidFill>
                  <a:srgbClr val="514843"/>
                </a:solidFill>
                <a:latin typeface="Plantagenet Cherokee"/>
                <a:ea typeface="+mn-ea"/>
                <a:cs typeface="+mn-cs"/>
              </a:rPr>
              <a:t>Enforcement</a:t>
            </a:r>
            <a:r>
              <a:rPr lang="fr-CA" sz="2800" spc="-1" dirty="0">
                <a:solidFill>
                  <a:srgbClr val="514843"/>
                </a:solidFill>
                <a:latin typeface="Plantagenet Cherokee"/>
                <a:ea typeface="+mn-ea"/>
                <a:cs typeface="+mn-cs"/>
              </a:rPr>
              <a:t> </a:t>
            </a:r>
            <a:r>
              <a:rPr lang="fr-CA" sz="2800" spc="-1" dirty="0" err="1">
                <a:solidFill>
                  <a:srgbClr val="514843"/>
                </a:solidFill>
                <a:latin typeface="Plantagenet Cherokee"/>
                <a:ea typeface="+mn-ea"/>
                <a:cs typeface="+mn-cs"/>
              </a:rPr>
              <a:t>under</a:t>
            </a:r>
            <a:r>
              <a:rPr lang="fr-CA" sz="2800" spc="-1" dirty="0">
                <a:solidFill>
                  <a:srgbClr val="514843"/>
                </a:solidFill>
                <a:latin typeface="Plantagenet Cherokee"/>
                <a:ea typeface="+mn-ea"/>
                <a:cs typeface="+mn-cs"/>
              </a:rPr>
              <a:t> the GDPR – </a:t>
            </a:r>
            <a:r>
              <a:rPr lang="en-FI" sz="2800" spc="-1" dirty="0">
                <a:solidFill>
                  <a:srgbClr val="514843"/>
                </a:solidFill>
                <a:latin typeface="Plantagenet Cherokee"/>
                <a:ea typeface="+mn-ea"/>
                <a:cs typeface="+mn-cs"/>
              </a:rPr>
              <a:t>Criteria for fines</a:t>
            </a:r>
            <a:r>
              <a:rPr lang="de-DE" sz="2800" spc="-1" dirty="0">
                <a:solidFill>
                  <a:srgbClr val="514843"/>
                </a:solidFill>
                <a:latin typeface="Plantagenet Cherokee"/>
                <a:ea typeface="+mn-ea"/>
                <a:cs typeface="+mn-cs"/>
              </a:rPr>
              <a:t> (1)</a:t>
            </a:r>
            <a:endParaRPr lang="fr-CA" sz="2800" spc="-1" dirty="0">
              <a:solidFill>
                <a:srgbClr val="514843"/>
              </a:solidFill>
              <a:latin typeface="Plantagenet Cherokee"/>
              <a:ea typeface="+mn-ea"/>
              <a:cs typeface="+mn-cs"/>
            </a:endParaRPr>
          </a:p>
        </p:txBody>
      </p:sp>
      <p:sp>
        <p:nvSpPr>
          <p:cNvPr id="3" name="Content Placeholder 2"/>
          <p:cNvSpPr>
            <a:spLocks noGrp="1"/>
          </p:cNvSpPr>
          <p:nvPr>
            <p:ph idx="1"/>
          </p:nvPr>
        </p:nvSpPr>
        <p:spPr>
          <a:xfrm>
            <a:off x="1037230" y="1428800"/>
            <a:ext cx="10047890" cy="5429200"/>
          </a:xfrm>
        </p:spPr>
        <p:txBody>
          <a:bodyPr>
            <a:normAutofit/>
          </a:bodyPr>
          <a:lstStyle/>
          <a:p>
            <a:pPr marL="0" indent="0">
              <a:buNone/>
            </a:pPr>
            <a:r>
              <a:rPr lang="en-US" dirty="0"/>
              <a:t>(f)  the degree of cooperation with the supervisory authority, in order to remedy the infringement and mitigate the possible adverse effects of the infringement; </a:t>
            </a:r>
          </a:p>
          <a:p>
            <a:pPr marL="0" indent="0">
              <a:buNone/>
            </a:pPr>
            <a:r>
              <a:rPr lang="en-US" dirty="0"/>
              <a:t>(g)  the categories of personal data affected by the infringement; </a:t>
            </a:r>
          </a:p>
          <a:p>
            <a:pPr marL="0" indent="0">
              <a:buNone/>
            </a:pPr>
            <a:r>
              <a:rPr lang="en-US" dirty="0"/>
              <a:t>(h)  the manner in which the infringement became known to the supervisory authority, in particular whether, and if so to what extent, the controller or processor notified the infringement; </a:t>
            </a:r>
          </a:p>
          <a:p>
            <a:pPr marL="0" indent="0">
              <a:buNone/>
            </a:pPr>
            <a:r>
              <a:rPr lang="en-US" dirty="0"/>
              <a:t>(</a:t>
            </a:r>
            <a:r>
              <a:rPr lang="en-US" dirty="0" err="1"/>
              <a:t>i</a:t>
            </a:r>
            <a:r>
              <a:rPr lang="en-US" dirty="0"/>
              <a:t>)  where measures referred to in Article 58(2) have previously been ordered against the controller or processor concerned with regard to the same subject-matter, compliance with those measures; </a:t>
            </a:r>
          </a:p>
          <a:p>
            <a:pPr marL="0" indent="0">
              <a:buNone/>
            </a:pPr>
            <a:r>
              <a:rPr lang="en-US" dirty="0"/>
              <a:t>(j)  adherence to approved codes of conduct pursuant to Article 40 or approved certification mechanisms pursuant to Article 42; and </a:t>
            </a:r>
          </a:p>
          <a:p>
            <a:pPr marL="0" indent="0">
              <a:buNone/>
            </a:pPr>
            <a:r>
              <a:rPr lang="en-US" dirty="0"/>
              <a:t>(k)  any other aggravating or mitigating factor applicable to the circumstances of the case, such as financial benefits gained, or losses avoided, directly or indirectly, from the infringement</a:t>
            </a:r>
            <a:endParaRPr lang="fi-FI" dirty="0"/>
          </a:p>
        </p:txBody>
      </p:sp>
    </p:spTree>
    <p:extLst>
      <p:ext uri="{BB962C8B-B14F-4D97-AF65-F5344CB8AC3E}">
        <p14:creationId xmlns:p14="http://schemas.microsoft.com/office/powerpoint/2010/main" val="3741175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FI" dirty="0"/>
              <a:t>Often </a:t>
            </a:r>
            <a:r>
              <a:rPr lang="en-FI" dirty="0" err="1"/>
              <a:t>DPAs</a:t>
            </a:r>
            <a:r>
              <a:rPr lang="en-FI" dirty="0"/>
              <a:t> are in the news, as they can issue fines</a:t>
            </a:r>
            <a:endParaRPr lang="en-US" dirty="0">
              <a:solidFill>
                <a:schemeClr val="bg1"/>
              </a:solidFill>
            </a:endParaRPr>
          </a:p>
        </p:txBody>
      </p:sp>
      <p:graphicFrame>
        <p:nvGraphicFramePr>
          <p:cNvPr id="5" name="Content Placeholder 4">
            <a:extLst>
              <a:ext uri="{FF2B5EF4-FFF2-40B4-BE49-F238E27FC236}">
                <a16:creationId xmlns:a16="http://schemas.microsoft.com/office/drawing/2014/main" id="{7BA2CC66-A5DE-43BC-B7B5-66FB0D2DEC00}"/>
              </a:ext>
            </a:extLst>
          </p:cNvPr>
          <p:cNvGraphicFramePr>
            <a:graphicFrameLocks noGrp="1"/>
          </p:cNvGraphicFramePr>
          <p:nvPr>
            <p:ph idx="1"/>
          </p:nvPr>
        </p:nvGraphicFramePr>
        <p:xfrm>
          <a:off x="1104900" y="1600200"/>
          <a:ext cx="9982200" cy="4572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98924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E87728-2A50-40C6-8D42-6ACDF7435808}"/>
              </a:ext>
            </a:extLst>
          </p:cNvPr>
          <p:cNvSpPr>
            <a:spLocks noGrp="1"/>
          </p:cNvSpPr>
          <p:nvPr>
            <p:ph type="title"/>
          </p:nvPr>
        </p:nvSpPr>
        <p:spPr/>
        <p:txBody>
          <a:bodyPr/>
          <a:lstStyle/>
          <a:p>
            <a:r>
              <a:rPr lang="de-DE" dirty="0"/>
              <a:t>Introduction </a:t>
            </a:r>
            <a:endParaRPr lang="fi-FI" dirty="0"/>
          </a:p>
        </p:txBody>
      </p:sp>
      <p:sp>
        <p:nvSpPr>
          <p:cNvPr id="3" name="Text Placeholder 2">
            <a:extLst>
              <a:ext uri="{FF2B5EF4-FFF2-40B4-BE49-F238E27FC236}">
                <a16:creationId xmlns:a16="http://schemas.microsoft.com/office/drawing/2014/main" id="{4FD3D463-8288-441E-9B9A-12E8CA8B59FF}"/>
              </a:ext>
            </a:extLst>
          </p:cNvPr>
          <p:cNvSpPr>
            <a:spLocks noGrp="1"/>
          </p:cNvSpPr>
          <p:nvPr>
            <p:ph type="body" idx="1"/>
          </p:nvPr>
        </p:nvSpPr>
        <p:spPr/>
        <p:txBody>
          <a:bodyPr/>
          <a:lstStyle/>
          <a:p>
            <a:endParaRPr lang="fi-FI"/>
          </a:p>
        </p:txBody>
      </p:sp>
      <p:sp>
        <p:nvSpPr>
          <p:cNvPr id="4" name="Footer Placeholder 3">
            <a:extLst>
              <a:ext uri="{FF2B5EF4-FFF2-40B4-BE49-F238E27FC236}">
                <a16:creationId xmlns:a16="http://schemas.microsoft.com/office/drawing/2014/main" id="{3CB6BE8E-DB6B-449E-8AA8-2E08C55412F0}"/>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1200" cap="none" spc="0" normalizeH="0" baseline="0" noProof="0" dirty="0">
              <a:ln>
                <a:noFill/>
              </a:ln>
              <a:solidFill>
                <a:srgbClr val="514843">
                  <a:lumMod val="75000"/>
                </a:srgbClr>
              </a:solidFill>
              <a:effectLst/>
              <a:uLnTx/>
              <a:uFillTx/>
              <a:latin typeface="Euphemia"/>
              <a:ea typeface="+mn-ea"/>
              <a:cs typeface="+mn-cs"/>
            </a:endParaRPr>
          </a:p>
        </p:txBody>
      </p:sp>
    </p:spTree>
    <p:extLst>
      <p:ext uri="{BB962C8B-B14F-4D97-AF65-F5344CB8AC3E}">
        <p14:creationId xmlns:p14="http://schemas.microsoft.com/office/powerpoint/2010/main" val="1819382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D9B093-63BE-49DF-AF5A-4DC6567A547D}"/>
              </a:ext>
            </a:extLst>
          </p:cNvPr>
          <p:cNvSpPr>
            <a:spLocks noGrp="1"/>
          </p:cNvSpPr>
          <p:nvPr>
            <p:ph type="title"/>
          </p:nvPr>
        </p:nvSpPr>
        <p:spPr>
          <a:xfrm>
            <a:off x="1104900" y="685800"/>
            <a:ext cx="9980682" cy="487362"/>
          </a:xfrm>
        </p:spPr>
        <p:txBody>
          <a:bodyPr/>
          <a:lstStyle/>
          <a:p>
            <a:r>
              <a:rPr lang="en-FI" dirty="0"/>
              <a:t>Highest fine</a:t>
            </a:r>
            <a:r>
              <a:rPr lang="de-DE" dirty="0"/>
              <a:t>: </a:t>
            </a:r>
            <a:r>
              <a:rPr lang="en-FI" dirty="0"/>
              <a:t>746 million 		</a:t>
            </a:r>
            <a:endParaRPr lang="de-DE" dirty="0"/>
          </a:p>
        </p:txBody>
      </p:sp>
      <p:sp>
        <p:nvSpPr>
          <p:cNvPr id="3" name="Content Placeholder 2">
            <a:extLst>
              <a:ext uri="{FF2B5EF4-FFF2-40B4-BE49-F238E27FC236}">
                <a16:creationId xmlns:a16="http://schemas.microsoft.com/office/drawing/2014/main" id="{4428739F-5E12-4BF6-BADB-E9335D9D8CB5}"/>
              </a:ext>
            </a:extLst>
          </p:cNvPr>
          <p:cNvSpPr>
            <a:spLocks noGrp="1"/>
          </p:cNvSpPr>
          <p:nvPr>
            <p:ph idx="1"/>
          </p:nvPr>
        </p:nvSpPr>
        <p:spPr/>
        <p:txBody>
          <a:bodyPr/>
          <a:lstStyle/>
          <a:p>
            <a:r>
              <a:rPr lang="en-FI" dirty="0"/>
              <a:t>Amazon:  On July 2021, Luxembourg National C</a:t>
            </a:r>
            <a:r>
              <a:rPr lang="de-DE" dirty="0"/>
              <a:t>o</a:t>
            </a:r>
            <a:r>
              <a:rPr lang="en-FI" dirty="0" err="1"/>
              <a:t>mmission</a:t>
            </a:r>
            <a:r>
              <a:rPr lang="en-FI" dirty="0"/>
              <a:t> for DP issued as decision, claiming that Amazon E</a:t>
            </a:r>
            <a:r>
              <a:rPr lang="de-DE" dirty="0"/>
              <a:t>u</a:t>
            </a:r>
            <a:r>
              <a:rPr lang="en-FI" dirty="0"/>
              <a:t>rope did not comply with the GDPR 746 million E</a:t>
            </a:r>
            <a:r>
              <a:rPr lang="de-DE" dirty="0"/>
              <a:t>u</a:t>
            </a:r>
            <a:r>
              <a:rPr lang="en-FI" dirty="0"/>
              <a:t>ro. </a:t>
            </a:r>
          </a:p>
          <a:p>
            <a:r>
              <a:rPr lang="en-FI" dirty="0"/>
              <a:t>Net profit in 2020: 21.331 million US  turnover closer to 350 million US</a:t>
            </a:r>
          </a:p>
          <a:p>
            <a:r>
              <a:rPr lang="en-FI" dirty="0"/>
              <a:t>From net </a:t>
            </a:r>
            <a:r>
              <a:rPr lang="en-FI" u="sng" dirty="0"/>
              <a:t>profit</a:t>
            </a:r>
            <a:r>
              <a:rPr lang="en-FI" dirty="0"/>
              <a:t>, this about 3 % </a:t>
            </a:r>
            <a:br>
              <a:rPr lang="de-DE" dirty="0"/>
            </a:br>
            <a:r>
              <a:rPr lang="en-FI" dirty="0"/>
              <a:t>(i.e. AMAZON would have to work about 10 days for this). </a:t>
            </a:r>
          </a:p>
          <a:p>
            <a:endParaRPr lang="de-DE" dirty="0"/>
          </a:p>
        </p:txBody>
      </p:sp>
      <p:sp>
        <p:nvSpPr>
          <p:cNvPr id="4" name="Footer Placeholder 3">
            <a:extLst>
              <a:ext uri="{FF2B5EF4-FFF2-40B4-BE49-F238E27FC236}">
                <a16:creationId xmlns:a16="http://schemas.microsoft.com/office/drawing/2014/main" id="{32FC7888-122D-4D39-903E-7870F4EEE233}"/>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514843">
                  <a:lumMod val="75000"/>
                </a:srgbClr>
              </a:solidFill>
              <a:effectLst/>
              <a:uLnTx/>
              <a:uFillTx/>
              <a:latin typeface="Euphemia"/>
              <a:ea typeface="+mn-ea"/>
              <a:cs typeface="+mn-cs"/>
            </a:endParaRPr>
          </a:p>
        </p:txBody>
      </p:sp>
      <p:pic>
        <p:nvPicPr>
          <p:cNvPr id="6" name="Picture 5">
            <a:extLst>
              <a:ext uri="{FF2B5EF4-FFF2-40B4-BE49-F238E27FC236}">
                <a16:creationId xmlns:a16="http://schemas.microsoft.com/office/drawing/2014/main" id="{6E95C845-2229-4B5F-B768-0AE05890F46E}"/>
              </a:ext>
            </a:extLst>
          </p:cNvPr>
          <p:cNvPicPr>
            <a:picLocks noChangeAspect="1"/>
          </p:cNvPicPr>
          <p:nvPr/>
        </p:nvPicPr>
        <p:blipFill>
          <a:blip r:embed="rId3"/>
          <a:stretch>
            <a:fillRect/>
          </a:stretch>
        </p:blipFill>
        <p:spPr>
          <a:xfrm>
            <a:off x="1040757" y="4012034"/>
            <a:ext cx="10044825" cy="4066359"/>
          </a:xfrm>
          <a:prstGeom prst="rect">
            <a:avLst/>
          </a:prstGeom>
        </p:spPr>
      </p:pic>
    </p:spTree>
    <p:extLst>
      <p:ext uri="{BB962C8B-B14F-4D97-AF65-F5344CB8AC3E}">
        <p14:creationId xmlns:p14="http://schemas.microsoft.com/office/powerpoint/2010/main" val="1281799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97" name="TextShape 1"/>
          <p:cNvSpPr txBox="1"/>
          <p:nvPr/>
        </p:nvSpPr>
        <p:spPr>
          <a:xfrm>
            <a:off x="1104840" y="76320"/>
            <a:ext cx="9980280" cy="1096560"/>
          </a:xfrm>
          <a:prstGeom prst="rect">
            <a:avLst/>
          </a:prstGeom>
          <a:noFill/>
          <a:ln>
            <a:noFill/>
          </a:ln>
        </p:spPr>
        <p:txBody>
          <a:bodyPr lIns="0" rIns="0" anchor="b">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de-DE" sz="2800" b="0" i="0" u="none" strike="noStrike" kern="1200" cap="none" spc="-1" normalizeH="0" baseline="0" noProof="0">
                <a:ln>
                  <a:noFill/>
                </a:ln>
                <a:solidFill>
                  <a:srgbClr val="514843"/>
                </a:solidFill>
                <a:effectLst/>
                <a:uLnTx/>
                <a:uFillTx/>
                <a:latin typeface="Plantagenet Cherokee"/>
                <a:ea typeface="+mn-ea"/>
                <a:cs typeface="+mn-cs"/>
              </a:rPr>
              <a:t>Some numbers</a:t>
            </a:r>
            <a:endParaRPr kumimoji="0" lang="de-DE" sz="2800" b="0" i="0" u="none" strike="noStrike" kern="1200" cap="none" spc="-1" normalizeH="0" baseline="0" noProof="0">
              <a:ln>
                <a:noFill/>
              </a:ln>
              <a:solidFill>
                <a:srgbClr val="514843"/>
              </a:solidFill>
              <a:effectLst/>
              <a:uLnTx/>
              <a:uFillTx/>
              <a:latin typeface="Euphemia"/>
              <a:ea typeface="+mn-ea"/>
              <a:cs typeface="+mn-cs"/>
            </a:endParaRPr>
          </a:p>
        </p:txBody>
      </p:sp>
      <p:graphicFrame>
        <p:nvGraphicFramePr>
          <p:cNvPr id="2" name="Diagram 1">
            <a:extLst>
              <a:ext uri="{FF2B5EF4-FFF2-40B4-BE49-F238E27FC236}">
                <a16:creationId xmlns:a16="http://schemas.microsoft.com/office/drawing/2014/main" id="{FDC18186-16EE-43E4-9BC1-C5FBFB329FFB}"/>
              </a:ext>
            </a:extLst>
          </p:cNvPr>
          <p:cNvGraphicFramePr/>
          <p:nvPr/>
        </p:nvGraphicFramePr>
        <p:xfrm>
          <a:off x="1104840" y="1600200"/>
          <a:ext cx="9981720" cy="457164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99" name="TextShape 3"/>
          <p:cNvSpPr txBox="1"/>
          <p:nvPr/>
        </p:nvSpPr>
        <p:spPr>
          <a:xfrm>
            <a:off x="2934360" y="6356520"/>
            <a:ext cx="6322680" cy="364680"/>
          </a:xfrm>
          <a:prstGeom prst="rect">
            <a:avLst/>
          </a:prstGeom>
          <a:noFill/>
          <a:ln>
            <a:noFill/>
          </a:ln>
        </p:spPr>
        <p:txBody>
          <a:bodyPr lIns="0" r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1" normalizeH="0" baseline="0" noProof="0">
              <a:ln>
                <a:noFill/>
              </a:ln>
              <a:solidFill>
                <a:prstClr val="black"/>
              </a:solidFill>
              <a:effectLst/>
              <a:uLnTx/>
              <a:uFillTx/>
              <a:latin typeface="Times New Roman"/>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1627CF-5906-4CE6-A8E3-48DE8718A613}"/>
              </a:ext>
            </a:extLst>
          </p:cNvPr>
          <p:cNvSpPr>
            <a:spLocks noGrp="1"/>
          </p:cNvSpPr>
          <p:nvPr>
            <p:ph type="title"/>
          </p:nvPr>
        </p:nvSpPr>
        <p:spPr/>
        <p:txBody>
          <a:bodyPr/>
          <a:lstStyle/>
          <a:p>
            <a:r>
              <a:rPr lang="de-DE" dirty="0"/>
              <a:t>Over 2 </a:t>
            </a:r>
            <a:r>
              <a:rPr lang="de-DE" dirty="0" err="1"/>
              <a:t>billion</a:t>
            </a:r>
            <a:r>
              <a:rPr lang="de-DE" dirty="0"/>
              <a:t> in </a:t>
            </a:r>
            <a:r>
              <a:rPr lang="de-DE" dirty="0" err="1"/>
              <a:t>cumulative</a:t>
            </a:r>
            <a:r>
              <a:rPr lang="de-DE" dirty="0"/>
              <a:t> </a:t>
            </a:r>
            <a:r>
              <a:rPr lang="de-DE" dirty="0" err="1"/>
              <a:t>fines</a:t>
            </a:r>
            <a:r>
              <a:rPr lang="de-DE" dirty="0"/>
              <a:t> so far </a:t>
            </a:r>
            <a:endParaRPr lang="fi-FI" dirty="0"/>
          </a:p>
        </p:txBody>
      </p:sp>
      <p:pic>
        <p:nvPicPr>
          <p:cNvPr id="6" name="Content Placeholder 5">
            <a:extLst>
              <a:ext uri="{FF2B5EF4-FFF2-40B4-BE49-F238E27FC236}">
                <a16:creationId xmlns:a16="http://schemas.microsoft.com/office/drawing/2014/main" id="{EDA90EB5-487E-4BDB-BF76-940946A42C28}"/>
              </a:ext>
            </a:extLst>
          </p:cNvPr>
          <p:cNvPicPr>
            <a:picLocks noGrp="1" noChangeAspect="1"/>
          </p:cNvPicPr>
          <p:nvPr>
            <p:ph idx="1"/>
          </p:nvPr>
        </p:nvPicPr>
        <p:blipFill>
          <a:blip r:embed="rId2"/>
          <a:stretch>
            <a:fillRect/>
          </a:stretch>
        </p:blipFill>
        <p:spPr>
          <a:xfrm>
            <a:off x="1104900" y="1676519"/>
            <a:ext cx="7440063" cy="4553585"/>
          </a:xfrm>
        </p:spPr>
      </p:pic>
      <p:sp>
        <p:nvSpPr>
          <p:cNvPr id="4" name="Footer Placeholder 3">
            <a:extLst>
              <a:ext uri="{FF2B5EF4-FFF2-40B4-BE49-F238E27FC236}">
                <a16:creationId xmlns:a16="http://schemas.microsoft.com/office/drawing/2014/main" id="{D6F14AA4-E48E-4415-AEB2-76C78C337CF9}"/>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514843">
                    <a:lumMod val="75000"/>
                  </a:srgbClr>
                </a:solidFill>
                <a:effectLst/>
                <a:uLnTx/>
                <a:uFillTx/>
                <a:latin typeface="Euphemia"/>
                <a:ea typeface="+mn-ea"/>
                <a:cs typeface="+mn-cs"/>
              </a:rPr>
              <a:t>Source: </a:t>
            </a:r>
            <a:r>
              <a:rPr kumimoji="0" lang="de-DE" sz="1200" b="0" i="0" u="none" strike="noStrike" kern="1200" cap="none" spc="0" normalizeH="0" baseline="0" noProof="0" dirty="0">
                <a:ln>
                  <a:noFill/>
                </a:ln>
                <a:solidFill>
                  <a:srgbClr val="514843">
                    <a:lumMod val="75000"/>
                  </a:srgbClr>
                </a:solidFill>
                <a:effectLst/>
                <a:uLnTx/>
                <a:uFillTx/>
                <a:latin typeface="Euphemia"/>
                <a:ea typeface="+mn-ea"/>
                <a:cs typeface="+mn-cs"/>
                <a:hlinkClick r:id="rId3"/>
              </a:rPr>
              <a:t>https://www.enforcementtracker.com/?insights</a:t>
            </a:r>
            <a:endParaRPr kumimoji="0" lang="de-DE" sz="1200" b="0" i="0" u="none" strike="noStrike" kern="1200" cap="none" spc="0" normalizeH="0" baseline="0" noProof="0" dirty="0">
              <a:ln>
                <a:noFill/>
              </a:ln>
              <a:solidFill>
                <a:srgbClr val="514843">
                  <a:lumMod val="75000"/>
                </a:srgbClr>
              </a:solidFill>
              <a:effectLst/>
              <a:uLnTx/>
              <a:uFillTx/>
              <a:latin typeface="Euphemi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1200" cap="none" spc="0" normalizeH="0" baseline="0" noProof="0" dirty="0">
              <a:ln>
                <a:noFill/>
              </a:ln>
              <a:solidFill>
                <a:srgbClr val="514843">
                  <a:lumMod val="75000"/>
                </a:srgbClr>
              </a:solidFill>
              <a:effectLst/>
              <a:uLnTx/>
              <a:uFillTx/>
              <a:latin typeface="Euphemia"/>
              <a:ea typeface="+mn-ea"/>
              <a:cs typeface="+mn-cs"/>
            </a:endParaRPr>
          </a:p>
        </p:txBody>
      </p:sp>
    </p:spTree>
    <p:extLst>
      <p:ext uri="{BB962C8B-B14F-4D97-AF65-F5344CB8AC3E}">
        <p14:creationId xmlns:p14="http://schemas.microsoft.com/office/powerpoint/2010/main" val="403383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1627CF-5906-4CE6-A8E3-48DE8718A613}"/>
              </a:ext>
            </a:extLst>
          </p:cNvPr>
          <p:cNvSpPr>
            <a:spLocks noGrp="1"/>
          </p:cNvSpPr>
          <p:nvPr>
            <p:ph type="title"/>
          </p:nvPr>
        </p:nvSpPr>
        <p:spPr/>
        <p:txBody>
          <a:bodyPr/>
          <a:lstStyle/>
          <a:p>
            <a:r>
              <a:rPr lang="de-DE" dirty="0"/>
              <a:t>Over 2 </a:t>
            </a:r>
            <a:r>
              <a:rPr lang="de-DE" dirty="0" err="1"/>
              <a:t>billion</a:t>
            </a:r>
            <a:r>
              <a:rPr lang="de-DE" dirty="0"/>
              <a:t> in </a:t>
            </a:r>
            <a:r>
              <a:rPr lang="de-DE" dirty="0" err="1"/>
              <a:t>cumulative</a:t>
            </a:r>
            <a:r>
              <a:rPr lang="de-DE" dirty="0"/>
              <a:t> </a:t>
            </a:r>
            <a:r>
              <a:rPr lang="de-DE" dirty="0" err="1"/>
              <a:t>fines</a:t>
            </a:r>
            <a:r>
              <a:rPr lang="de-DE" dirty="0"/>
              <a:t> so far </a:t>
            </a:r>
            <a:endParaRPr lang="fi-FI" dirty="0"/>
          </a:p>
        </p:txBody>
      </p:sp>
      <p:sp>
        <p:nvSpPr>
          <p:cNvPr id="4" name="Footer Placeholder 3">
            <a:extLst>
              <a:ext uri="{FF2B5EF4-FFF2-40B4-BE49-F238E27FC236}">
                <a16:creationId xmlns:a16="http://schemas.microsoft.com/office/drawing/2014/main" id="{D6F14AA4-E48E-4415-AEB2-76C78C337CF9}"/>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dirty="0">
                <a:ln>
                  <a:noFill/>
                </a:ln>
                <a:solidFill>
                  <a:srgbClr val="514843">
                    <a:lumMod val="75000"/>
                  </a:srgbClr>
                </a:solidFill>
                <a:effectLst/>
                <a:uLnTx/>
                <a:uFillTx/>
                <a:latin typeface="Euphemia"/>
                <a:ea typeface="+mn-ea"/>
                <a:cs typeface="+mn-cs"/>
              </a:rPr>
              <a:t>Source: </a:t>
            </a:r>
            <a:r>
              <a:rPr kumimoji="0" lang="de-DE" sz="1200" b="0" i="0" u="none" strike="noStrike" kern="1200" cap="none" spc="0" normalizeH="0" baseline="0" noProof="0" dirty="0">
                <a:ln>
                  <a:noFill/>
                </a:ln>
                <a:solidFill>
                  <a:srgbClr val="514843">
                    <a:lumMod val="75000"/>
                  </a:srgbClr>
                </a:solidFill>
                <a:effectLst/>
                <a:uLnTx/>
                <a:uFillTx/>
                <a:latin typeface="Euphemia"/>
                <a:ea typeface="+mn-ea"/>
                <a:cs typeface="+mn-cs"/>
                <a:hlinkClick r:id="rId2"/>
              </a:rPr>
              <a:t>https://www.enforcementtracker.com/?insights</a:t>
            </a:r>
            <a:endParaRPr kumimoji="0" lang="de-DE" sz="1200" b="0" i="0" u="none" strike="noStrike" kern="1200" cap="none" spc="0" normalizeH="0" baseline="0" noProof="0" dirty="0">
              <a:ln>
                <a:noFill/>
              </a:ln>
              <a:solidFill>
                <a:srgbClr val="514843">
                  <a:lumMod val="75000"/>
                </a:srgbClr>
              </a:solidFill>
              <a:effectLst/>
              <a:uLnTx/>
              <a:uFillTx/>
              <a:latin typeface="Euphemi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1200" cap="none" spc="0" normalizeH="0" baseline="0" noProof="0" dirty="0">
              <a:ln>
                <a:noFill/>
              </a:ln>
              <a:solidFill>
                <a:srgbClr val="514843">
                  <a:lumMod val="75000"/>
                </a:srgbClr>
              </a:solidFill>
              <a:effectLst/>
              <a:uLnTx/>
              <a:uFillTx/>
              <a:latin typeface="Euphemia"/>
              <a:ea typeface="+mn-ea"/>
              <a:cs typeface="+mn-cs"/>
            </a:endParaRPr>
          </a:p>
        </p:txBody>
      </p:sp>
      <p:graphicFrame>
        <p:nvGraphicFramePr>
          <p:cNvPr id="7" name="Content Placeholder 6">
            <a:extLst>
              <a:ext uri="{FF2B5EF4-FFF2-40B4-BE49-F238E27FC236}">
                <a16:creationId xmlns:a16="http://schemas.microsoft.com/office/drawing/2014/main" id="{A02508A1-03B6-4967-8CA1-2C70D54BB81B}"/>
              </a:ext>
            </a:extLst>
          </p:cNvPr>
          <p:cNvGraphicFramePr>
            <a:graphicFrameLocks noGrp="1"/>
          </p:cNvGraphicFramePr>
          <p:nvPr>
            <p:ph idx="1"/>
          </p:nvPr>
        </p:nvGraphicFramePr>
        <p:xfrm>
          <a:off x="226504" y="1113639"/>
          <a:ext cx="10695964" cy="50354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597394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rtlCol="0">
            <a:normAutofit/>
          </a:bodyPr>
          <a:lstStyle/>
          <a:p>
            <a:pPr>
              <a:spcBef>
                <a:spcPts val="0"/>
              </a:spcBef>
              <a:defRPr/>
            </a:pPr>
            <a:r>
              <a:rPr lang="fr-CA" sz="2800" spc="-1" dirty="0" err="1">
                <a:solidFill>
                  <a:srgbClr val="514843"/>
                </a:solidFill>
                <a:latin typeface="Plantagenet Cherokee"/>
                <a:ea typeface="+mn-ea"/>
                <a:cs typeface="+mn-cs"/>
              </a:rPr>
              <a:t>What</a:t>
            </a:r>
            <a:r>
              <a:rPr lang="fr-CA" sz="2800" spc="-1" dirty="0">
                <a:solidFill>
                  <a:srgbClr val="514843"/>
                </a:solidFill>
                <a:latin typeface="Plantagenet Cherokee"/>
                <a:ea typeface="+mn-ea"/>
                <a:cs typeface="+mn-cs"/>
              </a:rPr>
              <a:t> </a:t>
            </a:r>
            <a:r>
              <a:rPr lang="fr-CA" sz="2800" spc="-1" dirty="0" err="1">
                <a:solidFill>
                  <a:srgbClr val="514843"/>
                </a:solidFill>
                <a:latin typeface="Plantagenet Cherokee"/>
                <a:ea typeface="+mn-ea"/>
                <a:cs typeface="+mn-cs"/>
              </a:rPr>
              <a:t>else</a:t>
            </a:r>
            <a:r>
              <a:rPr lang="fr-CA" sz="2800" spc="-1" dirty="0">
                <a:solidFill>
                  <a:srgbClr val="514843"/>
                </a:solidFill>
                <a:latin typeface="Plantagenet Cherokee"/>
                <a:ea typeface="+mn-ea"/>
                <a:cs typeface="+mn-cs"/>
              </a:rPr>
              <a:t> </a:t>
            </a:r>
            <a:r>
              <a:rPr lang="fr-CA" sz="2800" spc="-1" dirty="0" err="1">
                <a:solidFill>
                  <a:srgbClr val="514843"/>
                </a:solidFill>
                <a:latin typeface="Plantagenet Cherokee"/>
                <a:ea typeface="+mn-ea"/>
                <a:cs typeface="+mn-cs"/>
              </a:rPr>
              <a:t>could</a:t>
            </a:r>
            <a:r>
              <a:rPr lang="fr-CA" sz="2800" spc="-1" dirty="0">
                <a:solidFill>
                  <a:srgbClr val="514843"/>
                </a:solidFill>
                <a:latin typeface="Plantagenet Cherokee"/>
                <a:ea typeface="+mn-ea"/>
                <a:cs typeface="+mn-cs"/>
              </a:rPr>
              <a:t> data protection </a:t>
            </a:r>
            <a:r>
              <a:rPr lang="fr-CA" sz="2800" spc="-1" dirty="0" err="1">
                <a:solidFill>
                  <a:srgbClr val="514843"/>
                </a:solidFill>
                <a:latin typeface="Plantagenet Cherokee"/>
                <a:ea typeface="+mn-ea"/>
                <a:cs typeface="+mn-cs"/>
              </a:rPr>
              <a:t>authorities</a:t>
            </a:r>
            <a:r>
              <a:rPr lang="fr-CA" sz="2800" spc="-1" dirty="0">
                <a:solidFill>
                  <a:srgbClr val="514843"/>
                </a:solidFill>
                <a:latin typeface="Plantagenet Cherokee"/>
                <a:ea typeface="+mn-ea"/>
                <a:cs typeface="+mn-cs"/>
              </a:rPr>
              <a:t> do?</a:t>
            </a:r>
            <a:r>
              <a:rPr lang="en-FI" sz="2800" spc="-1" dirty="0">
                <a:solidFill>
                  <a:srgbClr val="514843"/>
                </a:solidFill>
                <a:latin typeface="Plantagenet Cherokee"/>
                <a:ea typeface="+mn-ea"/>
                <a:cs typeface="+mn-cs"/>
              </a:rPr>
              <a:t> (see: 57)</a:t>
            </a:r>
            <a:endParaRPr lang="fr-CA" sz="2800" spc="-1" dirty="0">
              <a:solidFill>
                <a:srgbClr val="514843"/>
              </a:solidFill>
              <a:latin typeface="Plantagenet Cherokee"/>
              <a:ea typeface="+mn-ea"/>
              <a:cs typeface="+mn-cs"/>
            </a:endParaRPr>
          </a:p>
        </p:txBody>
      </p:sp>
      <p:graphicFrame>
        <p:nvGraphicFramePr>
          <p:cNvPr id="4" name="Content Placeholder 3"/>
          <p:cNvGraphicFramePr>
            <a:graphicFrameLocks noGrp="1"/>
          </p:cNvGraphicFramePr>
          <p:nvPr>
            <p:ph idx="1"/>
          </p:nvPr>
        </p:nvGraphicFramePr>
        <p:xfrm>
          <a:off x="1104840" y="1600201"/>
          <a:ext cx="9980280" cy="436387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203692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rtlCol="0">
            <a:normAutofit/>
          </a:bodyPr>
          <a:lstStyle/>
          <a:p>
            <a:pPr>
              <a:spcBef>
                <a:spcPts val="0"/>
              </a:spcBef>
              <a:defRPr/>
            </a:pPr>
            <a:r>
              <a:rPr lang="fr-CA" sz="2800" spc="-1" dirty="0">
                <a:solidFill>
                  <a:srgbClr val="514843"/>
                </a:solidFill>
                <a:latin typeface="Plantagenet Cherokee"/>
                <a:ea typeface="+mn-ea"/>
                <a:cs typeface="+mn-cs"/>
              </a:rPr>
              <a:t>Criminal </a:t>
            </a:r>
            <a:r>
              <a:rPr lang="fr-CA" sz="2800" spc="-1" dirty="0" err="1">
                <a:solidFill>
                  <a:srgbClr val="514843"/>
                </a:solidFill>
                <a:latin typeface="Plantagenet Cherokee"/>
                <a:ea typeface="+mn-ea"/>
                <a:cs typeface="+mn-cs"/>
              </a:rPr>
              <a:t>enforcement</a:t>
            </a:r>
            <a:r>
              <a:rPr lang="fr-CA" sz="2800" spc="-1" dirty="0">
                <a:solidFill>
                  <a:srgbClr val="514843"/>
                </a:solidFill>
                <a:latin typeface="Plantagenet Cherokee"/>
                <a:ea typeface="+mn-ea"/>
                <a:cs typeface="+mn-cs"/>
              </a:rPr>
              <a:t> (RL)</a:t>
            </a:r>
          </a:p>
        </p:txBody>
      </p:sp>
      <p:graphicFrame>
        <p:nvGraphicFramePr>
          <p:cNvPr id="4" name="Content Placeholder 3"/>
          <p:cNvGraphicFramePr>
            <a:graphicFrameLocks noGrp="1"/>
          </p:cNvGraphicFramePr>
          <p:nvPr>
            <p:ph idx="1"/>
          </p:nvPr>
        </p:nvGraphicFramePr>
        <p:xfrm>
          <a:off x="1104840" y="1535373"/>
          <a:ext cx="9980280" cy="48654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95796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F9C72E-715D-4334-92BB-4755DEA5EDEA}"/>
              </a:ext>
            </a:extLst>
          </p:cNvPr>
          <p:cNvSpPr>
            <a:spLocks noGrp="1"/>
          </p:cNvSpPr>
          <p:nvPr>
            <p:ph type="ctrTitle"/>
          </p:nvPr>
        </p:nvSpPr>
        <p:spPr>
          <a:xfrm>
            <a:off x="1104900" y="2292094"/>
            <a:ext cx="5734050" cy="2219691"/>
          </a:xfrm>
        </p:spPr>
        <p:txBody>
          <a:bodyPr anchor="ctr">
            <a:normAutofit/>
          </a:bodyPr>
          <a:lstStyle/>
          <a:p>
            <a:r>
              <a:rPr lang="en-FI" dirty="0"/>
              <a:t>Individuals</a:t>
            </a:r>
            <a:endParaRPr lang="de-DE" dirty="0"/>
          </a:p>
        </p:txBody>
      </p:sp>
      <p:sp>
        <p:nvSpPr>
          <p:cNvPr id="17" name="Subtitle 2">
            <a:extLst>
              <a:ext uri="{FF2B5EF4-FFF2-40B4-BE49-F238E27FC236}">
                <a16:creationId xmlns:a16="http://schemas.microsoft.com/office/drawing/2014/main" id="{F98591AE-9E76-405A-85A2-FAB2D4272C7A}"/>
              </a:ext>
            </a:extLst>
          </p:cNvPr>
          <p:cNvSpPr>
            <a:spLocks noGrp="1"/>
          </p:cNvSpPr>
          <p:nvPr>
            <p:ph type="subTitle" idx="1"/>
          </p:nvPr>
        </p:nvSpPr>
        <p:spPr>
          <a:xfrm>
            <a:off x="1104900" y="4511784"/>
            <a:ext cx="5734050" cy="955565"/>
          </a:xfrm>
        </p:spPr>
        <p:txBody>
          <a:bodyPr/>
          <a:lstStyle/>
          <a:p>
            <a:endParaRPr lang="en-US"/>
          </a:p>
        </p:txBody>
      </p:sp>
      <p:pic>
        <p:nvPicPr>
          <p:cNvPr id="8" name="Picture Placeholder 7" descr="Woman in wheelchair thumbs down">
            <a:extLst>
              <a:ext uri="{FF2B5EF4-FFF2-40B4-BE49-F238E27FC236}">
                <a16:creationId xmlns:a16="http://schemas.microsoft.com/office/drawing/2014/main" id="{B65476BF-4580-4EE1-A901-78F99AFC9A05}"/>
              </a:ext>
            </a:extLst>
          </p:cNvPr>
          <p:cNvPicPr>
            <a:picLocks noGrp="1" noChangeAspect="1"/>
          </p:cNvPicPr>
          <p:nvPr>
            <p:ph type="pic" sz="quarter" idx="13"/>
          </p:nvPr>
        </p:nvPicPr>
        <p:blipFill rotWithShape="1">
          <a:blip r:embed="rId3" cstate="print">
            <a:extLst>
              <a:ext uri="{28A0092B-C50C-407E-A947-70E740481C1C}">
                <a14:useLocalDpi xmlns:a14="http://schemas.microsoft.com/office/drawing/2010/main" val="0"/>
              </a:ext>
            </a:extLst>
          </a:blip>
          <a:srcRect t="9887" r="1" b="50135"/>
          <a:stretch/>
        </p:blipFill>
        <p:spPr>
          <a:xfrm>
            <a:off x="6981063" y="1310656"/>
            <a:ext cx="5210937" cy="4208604"/>
          </a:xfrm>
          <a:noFill/>
        </p:spPr>
      </p:pic>
    </p:spTree>
    <p:extLst>
      <p:ext uri="{BB962C8B-B14F-4D97-AF65-F5344CB8AC3E}">
        <p14:creationId xmlns:p14="http://schemas.microsoft.com/office/powerpoint/2010/main" val="459197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124695" y="69921"/>
            <a:ext cx="8229600" cy="1143000"/>
          </a:xfrm>
        </p:spPr>
        <p:txBody>
          <a:bodyPr rtlCol="0">
            <a:normAutofit/>
          </a:bodyPr>
          <a:lstStyle/>
          <a:p>
            <a:pPr>
              <a:spcBef>
                <a:spcPts val="0"/>
              </a:spcBef>
              <a:defRPr/>
            </a:pPr>
            <a:r>
              <a:rPr lang="fr-CA" sz="2800" spc="-1" dirty="0" err="1">
                <a:solidFill>
                  <a:srgbClr val="514843"/>
                </a:solidFill>
                <a:latin typeface="Plantagenet Cherokee"/>
                <a:ea typeface="+mn-ea"/>
                <a:cs typeface="+mn-cs"/>
              </a:rPr>
              <a:t>What</a:t>
            </a:r>
            <a:r>
              <a:rPr lang="fr-CA" sz="2800" spc="-1" dirty="0">
                <a:solidFill>
                  <a:srgbClr val="514843"/>
                </a:solidFill>
                <a:latin typeface="Plantagenet Cherokee"/>
                <a:ea typeface="+mn-ea"/>
                <a:cs typeface="+mn-cs"/>
              </a:rPr>
              <a:t> can </a:t>
            </a:r>
            <a:r>
              <a:rPr lang="fr-CA" sz="2800" spc="-1" dirty="0" err="1">
                <a:solidFill>
                  <a:srgbClr val="514843"/>
                </a:solidFill>
                <a:latin typeface="Plantagenet Cherokee"/>
                <a:ea typeface="+mn-ea"/>
                <a:cs typeface="+mn-cs"/>
              </a:rPr>
              <a:t>individuals</a:t>
            </a:r>
            <a:r>
              <a:rPr lang="fr-CA" sz="2800" spc="-1" dirty="0">
                <a:solidFill>
                  <a:srgbClr val="514843"/>
                </a:solidFill>
                <a:latin typeface="Plantagenet Cherokee"/>
                <a:ea typeface="+mn-ea"/>
                <a:cs typeface="+mn-cs"/>
              </a:rPr>
              <a:t> do? </a:t>
            </a:r>
          </a:p>
        </p:txBody>
      </p:sp>
      <p:sp>
        <p:nvSpPr>
          <p:cNvPr id="6" name="TextBox 5"/>
          <p:cNvSpPr txBox="1"/>
          <p:nvPr/>
        </p:nvSpPr>
        <p:spPr>
          <a:xfrm>
            <a:off x="5663952" y="6093296"/>
            <a:ext cx="5004048" cy="338554"/>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Arial" charset="0"/>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Arial" charset="0"/>
              <a:ea typeface="+mn-ea"/>
              <a:cs typeface="+mn-cs"/>
            </a:endParaRPr>
          </a:p>
        </p:txBody>
      </p:sp>
      <p:graphicFrame>
        <p:nvGraphicFramePr>
          <p:cNvPr id="4" name="Content Placeholder 3">
            <a:extLst>
              <a:ext uri="{FF2B5EF4-FFF2-40B4-BE49-F238E27FC236}">
                <a16:creationId xmlns:a16="http://schemas.microsoft.com/office/drawing/2014/main" id="{963765FD-E07D-4D1B-B513-8C841C58B737}"/>
              </a:ext>
            </a:extLst>
          </p:cNvPr>
          <p:cNvGraphicFramePr>
            <a:graphicFrameLocks noGrp="1"/>
          </p:cNvGraphicFramePr>
          <p:nvPr>
            <p:ph idx="1"/>
          </p:nvPr>
        </p:nvGraphicFramePr>
        <p:xfrm>
          <a:off x="1124695" y="1495326"/>
          <a:ext cx="10018702" cy="437321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094531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5BB5B-8B39-464C-880E-1D6386029CE2}"/>
              </a:ext>
            </a:extLst>
          </p:cNvPr>
          <p:cNvSpPr>
            <a:spLocks noGrp="1"/>
          </p:cNvSpPr>
          <p:nvPr>
            <p:ph type="ctrTitle"/>
          </p:nvPr>
        </p:nvSpPr>
        <p:spPr/>
        <p:txBody>
          <a:bodyPr/>
          <a:lstStyle/>
          <a:p>
            <a:r>
              <a:rPr lang="en-FI" dirty="0"/>
              <a:t>Activity</a:t>
            </a:r>
            <a:endParaRPr lang="de-DE" dirty="0"/>
          </a:p>
        </p:txBody>
      </p:sp>
      <p:sp>
        <p:nvSpPr>
          <p:cNvPr id="3" name="Subtitle 2">
            <a:extLst>
              <a:ext uri="{FF2B5EF4-FFF2-40B4-BE49-F238E27FC236}">
                <a16:creationId xmlns:a16="http://schemas.microsoft.com/office/drawing/2014/main" id="{ADC3CE5F-85D7-4A57-A231-6DC5D62503A4}"/>
              </a:ext>
            </a:extLst>
          </p:cNvPr>
          <p:cNvSpPr>
            <a:spLocks noGrp="1"/>
          </p:cNvSpPr>
          <p:nvPr>
            <p:ph type="subTitle" idx="1"/>
          </p:nvPr>
        </p:nvSpPr>
        <p:spPr/>
        <p:txBody>
          <a:bodyPr/>
          <a:lstStyle/>
          <a:p>
            <a:endParaRPr lang="de-DE" dirty="0"/>
          </a:p>
        </p:txBody>
      </p:sp>
      <p:pic>
        <p:nvPicPr>
          <p:cNvPr id="6" name="Picture Placeholder 5" descr="A picture containing cellphone, phone, fireworks, animal&#10;&#10;Description automatically generated">
            <a:extLst>
              <a:ext uri="{FF2B5EF4-FFF2-40B4-BE49-F238E27FC236}">
                <a16:creationId xmlns:a16="http://schemas.microsoft.com/office/drawing/2014/main" id="{A540DDEF-7072-4914-A160-7D65DB8D6B22}"/>
              </a:ext>
            </a:extLst>
          </p:cNvPr>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l="3574" r="3574"/>
          <a:stretch>
            <a:fillRect/>
          </a:stretch>
        </p:blipFill>
        <p:spPr/>
      </p:pic>
    </p:spTree>
    <p:extLst>
      <p:ext uri="{BB962C8B-B14F-4D97-AF65-F5344CB8AC3E}">
        <p14:creationId xmlns:p14="http://schemas.microsoft.com/office/powerpoint/2010/main" val="1048063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124913" y="56274"/>
            <a:ext cx="8229601" cy="1143000"/>
          </a:xfrm>
        </p:spPr>
        <p:txBody>
          <a:bodyPr rtlCol="0">
            <a:normAutofit/>
          </a:bodyPr>
          <a:lstStyle/>
          <a:p>
            <a:pPr>
              <a:spcBef>
                <a:spcPts val="0"/>
              </a:spcBef>
              <a:defRPr/>
            </a:pPr>
            <a:r>
              <a:rPr lang="fr-CA" sz="2800" spc="-1" dirty="0">
                <a:solidFill>
                  <a:srgbClr val="514843"/>
                </a:solidFill>
                <a:latin typeface="Plantagenet Cherokee"/>
                <a:ea typeface="+mn-ea"/>
                <a:cs typeface="+mn-cs"/>
              </a:rPr>
              <a:t>Case </a:t>
            </a:r>
          </a:p>
        </p:txBody>
      </p:sp>
      <p:sp>
        <p:nvSpPr>
          <p:cNvPr id="6" name="TextBox 5"/>
          <p:cNvSpPr txBox="1"/>
          <p:nvPr/>
        </p:nvSpPr>
        <p:spPr>
          <a:xfrm>
            <a:off x="5663952" y="6093296"/>
            <a:ext cx="5004048" cy="338554"/>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Arial" charset="0"/>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3" name="Content Placeholder 2">
            <a:extLst>
              <a:ext uri="{FF2B5EF4-FFF2-40B4-BE49-F238E27FC236}">
                <a16:creationId xmlns:a16="http://schemas.microsoft.com/office/drawing/2014/main" id="{AEDC9C0B-ADEB-41A5-AFEE-3D425B91CC2D}"/>
              </a:ext>
            </a:extLst>
          </p:cNvPr>
          <p:cNvSpPr>
            <a:spLocks noGrp="1"/>
          </p:cNvSpPr>
          <p:nvPr>
            <p:ph idx="1"/>
          </p:nvPr>
        </p:nvSpPr>
        <p:spPr>
          <a:xfrm>
            <a:off x="1124913" y="1417639"/>
            <a:ext cx="8952215" cy="4525963"/>
          </a:xfrm>
        </p:spPr>
        <p:txBody>
          <a:bodyPr/>
          <a:lstStyle/>
          <a:p>
            <a:pPr marL="0" indent="0">
              <a:spcBef>
                <a:spcPts val="1800"/>
              </a:spcBef>
              <a:buNone/>
              <a:defRPr/>
            </a:pPr>
            <a:r>
              <a:rPr lang="de-DE" sz="2000" spc="-1" dirty="0">
                <a:solidFill>
                  <a:srgbClr val="514843"/>
                </a:solidFill>
                <a:latin typeface="Euphemia"/>
              </a:rPr>
              <a:t>Student L (</a:t>
            </a:r>
            <a:r>
              <a:rPr lang="de-DE" sz="2000" spc="-1" dirty="0" err="1">
                <a:solidFill>
                  <a:srgbClr val="514843"/>
                </a:solidFill>
                <a:latin typeface="Euphemia"/>
              </a:rPr>
              <a:t>inspired</a:t>
            </a:r>
            <a:r>
              <a:rPr lang="de-DE" sz="2000" spc="-1" dirty="0">
                <a:solidFill>
                  <a:srgbClr val="514843"/>
                </a:solidFill>
                <a:latin typeface="Euphemia"/>
              </a:rPr>
              <a:t> by a course on data protection law) </a:t>
            </a:r>
            <a:r>
              <a:rPr lang="de-DE" sz="2000" spc="-1" dirty="0" err="1">
                <a:solidFill>
                  <a:srgbClr val="514843"/>
                </a:solidFill>
                <a:latin typeface="Euphemia"/>
              </a:rPr>
              <a:t>discovers</a:t>
            </a:r>
            <a:r>
              <a:rPr lang="de-DE" sz="2000" spc="-1" dirty="0">
                <a:solidFill>
                  <a:srgbClr val="514843"/>
                </a:solidFill>
                <a:latin typeface="Euphemia"/>
              </a:rPr>
              <a:t> a </a:t>
            </a:r>
            <a:r>
              <a:rPr lang="de-DE" sz="2000" spc="-1" dirty="0" err="1">
                <a:solidFill>
                  <a:srgbClr val="514843"/>
                </a:solidFill>
                <a:latin typeface="Euphemia"/>
              </a:rPr>
              <a:t>lot</a:t>
            </a:r>
            <a:r>
              <a:rPr lang="de-DE" sz="2000" spc="-1" dirty="0">
                <a:solidFill>
                  <a:srgbClr val="514843"/>
                </a:solidFill>
                <a:latin typeface="Euphemia"/>
              </a:rPr>
              <a:t> of problems with processing of </a:t>
            </a:r>
            <a:r>
              <a:rPr lang="de-DE" sz="2000" spc="-1" dirty="0" err="1">
                <a:solidFill>
                  <a:srgbClr val="514843"/>
                </a:solidFill>
                <a:latin typeface="Euphemia"/>
              </a:rPr>
              <a:t>start-up</a:t>
            </a:r>
            <a:r>
              <a:rPr lang="de-DE" sz="2000" spc="-1" dirty="0">
                <a:solidFill>
                  <a:srgbClr val="514843"/>
                </a:solidFill>
                <a:latin typeface="Euphemia"/>
              </a:rPr>
              <a:t> company S. S </a:t>
            </a:r>
            <a:r>
              <a:rPr lang="de-DE" sz="2000" spc="-1" dirty="0" err="1">
                <a:solidFill>
                  <a:srgbClr val="514843"/>
                </a:solidFill>
                <a:latin typeface="Euphemia"/>
              </a:rPr>
              <a:t>uses</a:t>
            </a:r>
            <a:r>
              <a:rPr lang="de-DE" sz="2000" spc="-1" dirty="0">
                <a:solidFill>
                  <a:srgbClr val="514843"/>
                </a:solidFill>
                <a:latin typeface="Euphemia"/>
              </a:rPr>
              <a:t> a </a:t>
            </a:r>
            <a:r>
              <a:rPr lang="de-DE" sz="2000" spc="-1" dirty="0" err="1">
                <a:solidFill>
                  <a:srgbClr val="514843"/>
                </a:solidFill>
                <a:latin typeface="Euphemia"/>
              </a:rPr>
              <a:t>cloud</a:t>
            </a:r>
            <a:r>
              <a:rPr lang="de-DE" sz="2000" spc="-1" dirty="0">
                <a:solidFill>
                  <a:srgbClr val="514843"/>
                </a:solidFill>
                <a:latin typeface="Euphemia"/>
              </a:rPr>
              <a:t> </a:t>
            </a:r>
            <a:r>
              <a:rPr lang="de-DE" sz="2000" spc="-1" dirty="0" err="1">
                <a:solidFill>
                  <a:srgbClr val="514843"/>
                </a:solidFill>
                <a:latin typeface="Euphemia"/>
              </a:rPr>
              <a:t>service</a:t>
            </a:r>
            <a:r>
              <a:rPr lang="de-DE" sz="2000" spc="-1" dirty="0">
                <a:solidFill>
                  <a:srgbClr val="514843"/>
                </a:solidFill>
                <a:latin typeface="Euphemia"/>
              </a:rPr>
              <a:t> </a:t>
            </a:r>
            <a:r>
              <a:rPr lang="de-DE" sz="2000" spc="-1" dirty="0" err="1">
                <a:solidFill>
                  <a:srgbClr val="514843"/>
                </a:solidFill>
                <a:latin typeface="Euphemia"/>
              </a:rPr>
              <a:t>provider</a:t>
            </a:r>
            <a:r>
              <a:rPr lang="de-DE" sz="2000" spc="-1" dirty="0">
                <a:solidFill>
                  <a:srgbClr val="514843"/>
                </a:solidFill>
                <a:latin typeface="Euphemia"/>
              </a:rPr>
              <a:t> C.</a:t>
            </a:r>
          </a:p>
          <a:p>
            <a:pPr marL="0" indent="0">
              <a:spcBef>
                <a:spcPts val="1800"/>
              </a:spcBef>
              <a:buNone/>
              <a:defRPr/>
            </a:pPr>
            <a:r>
              <a:rPr lang="de-DE" sz="2000" spc="-1" dirty="0" err="1">
                <a:solidFill>
                  <a:srgbClr val="514843"/>
                </a:solidFill>
                <a:latin typeface="Euphemia"/>
              </a:rPr>
              <a:t>Among</a:t>
            </a:r>
            <a:r>
              <a:rPr lang="de-DE" sz="2000" spc="-1" dirty="0">
                <a:solidFill>
                  <a:srgbClr val="514843"/>
                </a:solidFill>
                <a:latin typeface="Euphemia"/>
              </a:rPr>
              <a:t> </a:t>
            </a:r>
            <a:r>
              <a:rPr lang="de-DE" sz="2000" spc="-1" dirty="0" err="1">
                <a:solidFill>
                  <a:srgbClr val="514843"/>
                </a:solidFill>
                <a:latin typeface="Euphemia"/>
              </a:rPr>
              <a:t>others</a:t>
            </a:r>
            <a:r>
              <a:rPr lang="de-DE" sz="2000" spc="-1" dirty="0">
                <a:solidFill>
                  <a:srgbClr val="514843"/>
                </a:solidFill>
                <a:latin typeface="Euphemia"/>
              </a:rPr>
              <a:t>, </a:t>
            </a:r>
            <a:r>
              <a:rPr lang="de-DE" sz="2000" spc="-1" dirty="0" err="1">
                <a:solidFill>
                  <a:srgbClr val="514843"/>
                </a:solidFill>
                <a:latin typeface="Euphemia"/>
              </a:rPr>
              <a:t>there</a:t>
            </a:r>
            <a:r>
              <a:rPr lang="de-DE" sz="2000" spc="-1" dirty="0">
                <a:solidFill>
                  <a:srgbClr val="514843"/>
                </a:solidFill>
                <a:latin typeface="Euphemia"/>
              </a:rPr>
              <a:t> was </a:t>
            </a:r>
            <a:r>
              <a:rPr lang="de-DE" sz="2000" spc="-1" dirty="0" err="1">
                <a:solidFill>
                  <a:srgbClr val="514843"/>
                </a:solidFill>
                <a:latin typeface="Euphemia"/>
              </a:rPr>
              <a:t>no</a:t>
            </a:r>
            <a:r>
              <a:rPr lang="de-DE" sz="2000" spc="-1" dirty="0">
                <a:solidFill>
                  <a:srgbClr val="514843"/>
                </a:solidFill>
                <a:latin typeface="Euphemia"/>
              </a:rPr>
              <a:t> </a:t>
            </a:r>
            <a:r>
              <a:rPr lang="de-DE" sz="2000" spc="-1" dirty="0" err="1">
                <a:solidFill>
                  <a:srgbClr val="514843"/>
                </a:solidFill>
                <a:latin typeface="Euphemia"/>
              </a:rPr>
              <a:t>privacy</a:t>
            </a:r>
            <a:r>
              <a:rPr lang="de-DE" sz="2000" spc="-1" dirty="0">
                <a:solidFill>
                  <a:srgbClr val="514843"/>
                </a:solidFill>
                <a:latin typeface="Euphemia"/>
              </a:rPr>
              <a:t> </a:t>
            </a:r>
            <a:r>
              <a:rPr lang="de-DE" sz="2000" spc="-1" dirty="0" err="1">
                <a:solidFill>
                  <a:srgbClr val="514843"/>
                </a:solidFill>
                <a:latin typeface="Euphemia"/>
              </a:rPr>
              <a:t>policy</a:t>
            </a:r>
            <a:r>
              <a:rPr lang="de-DE" sz="2000" spc="-1" dirty="0">
                <a:solidFill>
                  <a:srgbClr val="514843"/>
                </a:solidFill>
                <a:latin typeface="Euphemia"/>
              </a:rPr>
              <a:t> on </a:t>
            </a:r>
            <a:r>
              <a:rPr lang="de-DE" sz="2000" spc="-1" dirty="0" err="1">
                <a:solidFill>
                  <a:srgbClr val="514843"/>
                </a:solidFill>
                <a:latin typeface="Euphemia"/>
              </a:rPr>
              <a:t>S‘s</a:t>
            </a:r>
            <a:r>
              <a:rPr lang="de-DE" sz="2000" spc="-1" dirty="0">
                <a:solidFill>
                  <a:srgbClr val="514843"/>
                </a:solidFill>
                <a:latin typeface="Euphemia"/>
              </a:rPr>
              <a:t> </a:t>
            </a:r>
            <a:r>
              <a:rPr lang="de-DE" sz="2000" spc="-1" dirty="0" err="1">
                <a:solidFill>
                  <a:srgbClr val="514843"/>
                </a:solidFill>
                <a:latin typeface="Euphemia"/>
              </a:rPr>
              <a:t>website</a:t>
            </a:r>
            <a:r>
              <a:rPr lang="de-DE" sz="2000" spc="-1" dirty="0">
                <a:solidFill>
                  <a:srgbClr val="514843"/>
                </a:solidFill>
                <a:latin typeface="Euphemia"/>
              </a:rPr>
              <a:t> and </a:t>
            </a:r>
            <a:r>
              <a:rPr lang="de-DE" sz="2000" spc="-1" dirty="0" err="1">
                <a:solidFill>
                  <a:srgbClr val="514843"/>
                </a:solidFill>
                <a:latin typeface="Euphemia"/>
              </a:rPr>
              <a:t>L‘s</a:t>
            </a:r>
            <a:r>
              <a:rPr lang="de-DE" sz="2000" spc="-1" dirty="0">
                <a:solidFill>
                  <a:srgbClr val="514843"/>
                </a:solidFill>
                <a:latin typeface="Euphemia"/>
              </a:rPr>
              <a:t> personal </a:t>
            </a:r>
            <a:r>
              <a:rPr lang="de-DE" sz="2000" spc="-1" dirty="0" err="1">
                <a:solidFill>
                  <a:srgbClr val="514843"/>
                </a:solidFill>
                <a:latin typeface="Euphemia"/>
              </a:rPr>
              <a:t>data</a:t>
            </a:r>
            <a:r>
              <a:rPr lang="de-DE" sz="2000" spc="-1" dirty="0">
                <a:solidFill>
                  <a:srgbClr val="514843"/>
                </a:solidFill>
                <a:latin typeface="Euphemia"/>
              </a:rPr>
              <a:t> </a:t>
            </a:r>
            <a:r>
              <a:rPr lang="de-DE" sz="2000" spc="-1" dirty="0" err="1">
                <a:solidFill>
                  <a:srgbClr val="514843"/>
                </a:solidFill>
                <a:latin typeface="Euphemia"/>
              </a:rPr>
              <a:t>hosted</a:t>
            </a:r>
            <a:r>
              <a:rPr lang="de-DE" sz="2000" spc="-1" dirty="0">
                <a:solidFill>
                  <a:srgbClr val="514843"/>
                </a:solidFill>
                <a:latin typeface="Euphemia"/>
              </a:rPr>
              <a:t> </a:t>
            </a:r>
            <a:r>
              <a:rPr lang="de-DE" sz="2000" spc="-1" dirty="0" err="1">
                <a:solidFill>
                  <a:srgbClr val="514843"/>
                </a:solidFill>
                <a:latin typeface="Euphemia"/>
              </a:rPr>
              <a:t>by</a:t>
            </a:r>
            <a:r>
              <a:rPr lang="de-DE" sz="2000" spc="-1" dirty="0">
                <a:solidFill>
                  <a:srgbClr val="514843"/>
                </a:solidFill>
                <a:latin typeface="Euphemia"/>
              </a:rPr>
              <a:t> C </a:t>
            </a:r>
            <a:r>
              <a:rPr lang="de-DE" sz="2000" spc="-1" dirty="0" err="1">
                <a:solidFill>
                  <a:srgbClr val="514843"/>
                </a:solidFill>
                <a:latin typeface="Euphemia"/>
              </a:rPr>
              <a:t>for</a:t>
            </a:r>
            <a:r>
              <a:rPr lang="de-DE" sz="2000" spc="-1" dirty="0">
                <a:solidFill>
                  <a:srgbClr val="514843"/>
                </a:solidFill>
                <a:latin typeface="Euphemia"/>
              </a:rPr>
              <a:t> S </a:t>
            </a:r>
            <a:r>
              <a:rPr lang="de-DE" sz="2000" spc="-1" dirty="0" err="1">
                <a:solidFill>
                  <a:srgbClr val="514843"/>
                </a:solidFill>
                <a:latin typeface="Euphemia"/>
              </a:rPr>
              <a:t>has</a:t>
            </a:r>
            <a:r>
              <a:rPr lang="de-DE" sz="2000" spc="-1" dirty="0">
                <a:solidFill>
                  <a:srgbClr val="514843"/>
                </a:solidFill>
                <a:latin typeface="Euphemia"/>
              </a:rPr>
              <a:t> </a:t>
            </a:r>
            <a:r>
              <a:rPr lang="de-DE" sz="2000" spc="-1" dirty="0" err="1">
                <a:solidFill>
                  <a:srgbClr val="514843"/>
                </a:solidFill>
                <a:latin typeface="Euphemia"/>
              </a:rPr>
              <a:t>been</a:t>
            </a:r>
            <a:r>
              <a:rPr lang="de-DE" sz="2000" spc="-1" dirty="0">
                <a:solidFill>
                  <a:srgbClr val="514843"/>
                </a:solidFill>
                <a:latin typeface="Euphemia"/>
              </a:rPr>
              <a:t> lost due </a:t>
            </a:r>
            <a:r>
              <a:rPr lang="de-DE" sz="2000" spc="-1" dirty="0" err="1">
                <a:solidFill>
                  <a:srgbClr val="514843"/>
                </a:solidFill>
                <a:latin typeface="Euphemia"/>
              </a:rPr>
              <a:t>to</a:t>
            </a:r>
            <a:r>
              <a:rPr lang="de-DE" sz="2000" spc="-1" dirty="0">
                <a:solidFill>
                  <a:srgbClr val="514843"/>
                </a:solidFill>
                <a:latin typeface="Euphemia"/>
              </a:rPr>
              <a:t> a </a:t>
            </a:r>
            <a:r>
              <a:rPr lang="de-DE" sz="2000" spc="-1" dirty="0" err="1">
                <a:solidFill>
                  <a:srgbClr val="514843"/>
                </a:solidFill>
                <a:latin typeface="Euphemia"/>
              </a:rPr>
              <a:t>criminal</a:t>
            </a:r>
            <a:r>
              <a:rPr lang="de-DE" sz="2000" spc="-1" dirty="0">
                <a:solidFill>
                  <a:srgbClr val="514843"/>
                </a:solidFill>
                <a:latin typeface="Euphemia"/>
              </a:rPr>
              <a:t> </a:t>
            </a:r>
            <a:r>
              <a:rPr lang="de-DE" sz="2000" spc="-1" dirty="0" err="1">
                <a:solidFill>
                  <a:srgbClr val="514843"/>
                </a:solidFill>
                <a:latin typeface="Euphemia"/>
              </a:rPr>
              <a:t>attack</a:t>
            </a:r>
            <a:r>
              <a:rPr lang="de-DE" sz="2000" spc="-1" dirty="0">
                <a:solidFill>
                  <a:srgbClr val="514843"/>
                </a:solidFill>
                <a:latin typeface="Euphemia"/>
              </a:rPr>
              <a:t> on </a:t>
            </a:r>
            <a:r>
              <a:rPr lang="de-DE" sz="2000" spc="-1" dirty="0" err="1">
                <a:solidFill>
                  <a:srgbClr val="514843"/>
                </a:solidFill>
                <a:latin typeface="Euphemia"/>
              </a:rPr>
              <a:t>the</a:t>
            </a:r>
            <a:r>
              <a:rPr lang="de-DE" sz="2000" spc="-1" dirty="0">
                <a:solidFill>
                  <a:srgbClr val="514843"/>
                </a:solidFill>
                <a:latin typeface="Euphemia"/>
              </a:rPr>
              <a:t> </a:t>
            </a:r>
            <a:r>
              <a:rPr lang="de-DE" sz="2000" spc="-1" dirty="0" err="1">
                <a:solidFill>
                  <a:srgbClr val="514843"/>
                </a:solidFill>
                <a:latin typeface="Euphemia"/>
              </a:rPr>
              <a:t>servers</a:t>
            </a:r>
            <a:r>
              <a:rPr lang="de-DE" sz="2000" spc="-1" dirty="0">
                <a:solidFill>
                  <a:srgbClr val="514843"/>
                </a:solidFill>
                <a:latin typeface="Euphemia"/>
              </a:rPr>
              <a:t> </a:t>
            </a:r>
            <a:r>
              <a:rPr lang="de-DE" sz="2000" spc="-1" dirty="0" err="1">
                <a:solidFill>
                  <a:srgbClr val="514843"/>
                </a:solidFill>
                <a:latin typeface="Euphemia"/>
              </a:rPr>
              <a:t>of</a:t>
            </a:r>
            <a:r>
              <a:rPr lang="de-DE" sz="2000" spc="-1" dirty="0">
                <a:solidFill>
                  <a:srgbClr val="514843"/>
                </a:solidFill>
                <a:latin typeface="Euphemia"/>
              </a:rPr>
              <a:t> C, </a:t>
            </a:r>
            <a:r>
              <a:rPr lang="de-DE" sz="2000" spc="-1" dirty="0" err="1">
                <a:solidFill>
                  <a:srgbClr val="514843"/>
                </a:solidFill>
                <a:latin typeface="Euphemia"/>
              </a:rPr>
              <a:t>which</a:t>
            </a:r>
            <a:r>
              <a:rPr lang="de-DE" sz="2000" spc="-1" dirty="0">
                <a:solidFill>
                  <a:srgbClr val="514843"/>
                </a:solidFill>
                <a:latin typeface="Euphemia"/>
              </a:rPr>
              <a:t> </a:t>
            </a:r>
            <a:r>
              <a:rPr lang="de-DE" sz="2000" spc="-1" dirty="0" err="1">
                <a:solidFill>
                  <a:srgbClr val="514843"/>
                </a:solidFill>
                <a:latin typeface="Euphemia"/>
              </a:rPr>
              <a:t>have</a:t>
            </a:r>
            <a:r>
              <a:rPr lang="de-DE" sz="2000" spc="-1" dirty="0">
                <a:solidFill>
                  <a:srgbClr val="514843"/>
                </a:solidFill>
                <a:latin typeface="Euphemia"/>
              </a:rPr>
              <a:t> not </a:t>
            </a:r>
            <a:r>
              <a:rPr lang="de-DE" sz="2000" spc="-1" dirty="0" err="1">
                <a:solidFill>
                  <a:srgbClr val="514843"/>
                </a:solidFill>
                <a:latin typeface="Euphemia"/>
              </a:rPr>
              <a:t>been</a:t>
            </a:r>
            <a:r>
              <a:rPr lang="de-DE" sz="2000" spc="-1" dirty="0">
                <a:solidFill>
                  <a:srgbClr val="514843"/>
                </a:solidFill>
                <a:latin typeface="Euphemia"/>
              </a:rPr>
              <a:t> </a:t>
            </a:r>
            <a:r>
              <a:rPr lang="de-DE" sz="2000" spc="-1" dirty="0" err="1">
                <a:solidFill>
                  <a:srgbClr val="514843"/>
                </a:solidFill>
                <a:latin typeface="Euphemia"/>
              </a:rPr>
              <a:t>properly</a:t>
            </a:r>
            <a:r>
              <a:rPr lang="de-DE" sz="2000" spc="-1" dirty="0">
                <a:solidFill>
                  <a:srgbClr val="514843"/>
                </a:solidFill>
                <a:latin typeface="Euphemia"/>
              </a:rPr>
              <a:t> </a:t>
            </a:r>
            <a:r>
              <a:rPr lang="de-DE" sz="2000" spc="-1" dirty="0" err="1">
                <a:solidFill>
                  <a:srgbClr val="514843"/>
                </a:solidFill>
                <a:latin typeface="Euphemia"/>
              </a:rPr>
              <a:t>secured</a:t>
            </a:r>
            <a:r>
              <a:rPr lang="de-DE" sz="2000" spc="-1" dirty="0">
                <a:solidFill>
                  <a:srgbClr val="514843"/>
                </a:solidFill>
                <a:latin typeface="Euphemia"/>
              </a:rPr>
              <a:t>. </a:t>
            </a:r>
          </a:p>
          <a:p>
            <a:pPr marL="0" indent="0">
              <a:spcBef>
                <a:spcPts val="1800"/>
              </a:spcBef>
              <a:buNone/>
              <a:defRPr/>
            </a:pPr>
            <a:r>
              <a:rPr lang="de-DE" sz="2000" spc="-1" dirty="0" err="1">
                <a:solidFill>
                  <a:srgbClr val="514843"/>
                </a:solidFill>
                <a:latin typeface="Euphemia"/>
              </a:rPr>
              <a:t>When</a:t>
            </a:r>
            <a:r>
              <a:rPr lang="de-DE" sz="2000" spc="-1" dirty="0">
                <a:solidFill>
                  <a:srgbClr val="514843"/>
                </a:solidFill>
                <a:latin typeface="Euphemia"/>
              </a:rPr>
              <a:t> L </a:t>
            </a:r>
            <a:r>
              <a:rPr lang="de-DE" sz="2000" spc="-1" dirty="0" err="1">
                <a:solidFill>
                  <a:srgbClr val="514843"/>
                </a:solidFill>
                <a:latin typeface="Euphemia"/>
              </a:rPr>
              <a:t>asks</a:t>
            </a:r>
            <a:r>
              <a:rPr lang="de-DE" sz="2000" spc="-1" dirty="0">
                <a:solidFill>
                  <a:srgbClr val="514843"/>
                </a:solidFill>
                <a:latin typeface="Euphemia"/>
              </a:rPr>
              <a:t> </a:t>
            </a:r>
            <a:r>
              <a:rPr lang="de-DE" sz="2000" spc="-1" dirty="0" err="1">
                <a:solidFill>
                  <a:srgbClr val="514843"/>
                </a:solidFill>
                <a:latin typeface="Euphemia"/>
              </a:rPr>
              <a:t>for</a:t>
            </a:r>
            <a:r>
              <a:rPr lang="de-DE" sz="2000" spc="-1" dirty="0">
                <a:solidFill>
                  <a:srgbClr val="514843"/>
                </a:solidFill>
                <a:latin typeface="Euphemia"/>
              </a:rPr>
              <a:t> </a:t>
            </a:r>
            <a:r>
              <a:rPr lang="de-DE" sz="2000" spc="-1" dirty="0" err="1">
                <a:solidFill>
                  <a:srgbClr val="514843"/>
                </a:solidFill>
                <a:latin typeface="Euphemia"/>
              </a:rPr>
              <a:t>compensation</a:t>
            </a:r>
            <a:r>
              <a:rPr lang="de-DE" sz="2000" spc="-1" dirty="0">
                <a:solidFill>
                  <a:srgbClr val="514843"/>
                </a:solidFill>
                <a:latin typeface="Euphemia"/>
              </a:rPr>
              <a:t>, S </a:t>
            </a:r>
            <a:r>
              <a:rPr lang="de-DE" sz="2000" spc="-1" dirty="0" err="1">
                <a:solidFill>
                  <a:srgbClr val="514843"/>
                </a:solidFill>
                <a:latin typeface="Euphemia"/>
              </a:rPr>
              <a:t>says</a:t>
            </a:r>
            <a:r>
              <a:rPr lang="de-DE" sz="2000" spc="-1" dirty="0">
                <a:solidFill>
                  <a:srgbClr val="514843"/>
                </a:solidFill>
                <a:latin typeface="Euphemia"/>
              </a:rPr>
              <a:t>:</a:t>
            </a:r>
          </a:p>
          <a:p>
            <a:pPr>
              <a:spcBef>
                <a:spcPts val="1800"/>
              </a:spcBef>
              <a:buFontTx/>
              <a:buChar char="-"/>
              <a:defRPr/>
            </a:pPr>
            <a:r>
              <a:rPr lang="de-DE" sz="2000" spc="-1" dirty="0">
                <a:solidFill>
                  <a:srgbClr val="514843"/>
                </a:solidFill>
                <a:latin typeface="Euphemia"/>
              </a:rPr>
              <a:t>L </a:t>
            </a:r>
            <a:r>
              <a:rPr lang="de-DE" sz="2000" spc="-1" dirty="0" err="1">
                <a:solidFill>
                  <a:srgbClr val="514843"/>
                </a:solidFill>
                <a:latin typeface="Euphemia"/>
              </a:rPr>
              <a:t>cannot</a:t>
            </a:r>
            <a:r>
              <a:rPr lang="de-DE" sz="2000" spc="-1" dirty="0">
                <a:solidFill>
                  <a:srgbClr val="514843"/>
                </a:solidFill>
                <a:latin typeface="Euphemia"/>
              </a:rPr>
              <a:t> </a:t>
            </a:r>
            <a:r>
              <a:rPr lang="de-DE" sz="2000" spc="-1" dirty="0" err="1">
                <a:solidFill>
                  <a:srgbClr val="514843"/>
                </a:solidFill>
                <a:latin typeface="Euphemia"/>
              </a:rPr>
              <a:t>get</a:t>
            </a:r>
            <a:r>
              <a:rPr lang="de-DE" sz="2000" spc="-1" dirty="0">
                <a:solidFill>
                  <a:srgbClr val="514843"/>
                </a:solidFill>
                <a:latin typeface="Euphemia"/>
              </a:rPr>
              <a:t> </a:t>
            </a:r>
            <a:r>
              <a:rPr lang="de-DE" sz="2000" spc="-1" dirty="0" err="1">
                <a:solidFill>
                  <a:srgbClr val="514843"/>
                </a:solidFill>
                <a:latin typeface="Euphemia"/>
              </a:rPr>
              <a:t>compensation</a:t>
            </a:r>
            <a:r>
              <a:rPr lang="de-DE" sz="2000" spc="-1" dirty="0">
                <a:solidFill>
                  <a:srgbClr val="514843"/>
                </a:solidFill>
                <a:latin typeface="Euphemia"/>
              </a:rPr>
              <a:t> </a:t>
            </a:r>
            <a:r>
              <a:rPr lang="de-DE" sz="2000" spc="-1" dirty="0" err="1">
                <a:solidFill>
                  <a:srgbClr val="514843"/>
                </a:solidFill>
                <a:latin typeface="Euphemia"/>
              </a:rPr>
              <a:t>as</a:t>
            </a:r>
            <a:r>
              <a:rPr lang="de-DE" sz="2000" spc="-1" dirty="0">
                <a:solidFill>
                  <a:srgbClr val="514843"/>
                </a:solidFill>
                <a:latin typeface="Euphemia"/>
              </a:rPr>
              <a:t> </a:t>
            </a:r>
            <a:r>
              <a:rPr lang="de-DE" sz="2000" spc="-1" dirty="0" err="1">
                <a:solidFill>
                  <a:srgbClr val="514843"/>
                </a:solidFill>
                <a:latin typeface="Euphemia"/>
              </a:rPr>
              <a:t>there</a:t>
            </a:r>
            <a:r>
              <a:rPr lang="de-DE" sz="2000" spc="-1" dirty="0">
                <a:solidFill>
                  <a:srgbClr val="514843"/>
                </a:solidFill>
                <a:latin typeface="Euphemia"/>
              </a:rPr>
              <a:t> was </a:t>
            </a:r>
            <a:r>
              <a:rPr lang="de-DE" sz="2000" spc="-1" dirty="0" err="1">
                <a:solidFill>
                  <a:srgbClr val="514843"/>
                </a:solidFill>
                <a:latin typeface="Euphemia"/>
              </a:rPr>
              <a:t>no</a:t>
            </a:r>
            <a:r>
              <a:rPr lang="de-DE" sz="2000" spc="-1" dirty="0">
                <a:solidFill>
                  <a:srgbClr val="514843"/>
                </a:solidFill>
                <a:latin typeface="Euphemia"/>
              </a:rPr>
              <a:t> </a:t>
            </a:r>
            <a:r>
              <a:rPr lang="de-DE" sz="2000" spc="-1" dirty="0" err="1">
                <a:solidFill>
                  <a:srgbClr val="514843"/>
                </a:solidFill>
                <a:latin typeface="Euphemia"/>
              </a:rPr>
              <a:t>damage</a:t>
            </a:r>
            <a:r>
              <a:rPr lang="de-DE" sz="2000" spc="-1" dirty="0">
                <a:solidFill>
                  <a:srgbClr val="514843"/>
                </a:solidFill>
                <a:latin typeface="Euphemia"/>
              </a:rPr>
              <a:t>, just a </a:t>
            </a:r>
            <a:r>
              <a:rPr lang="de-DE" sz="2000" spc="-1" dirty="0" err="1">
                <a:solidFill>
                  <a:srgbClr val="514843"/>
                </a:solidFill>
                <a:latin typeface="Euphemia"/>
              </a:rPr>
              <a:t>few</a:t>
            </a:r>
            <a:r>
              <a:rPr lang="de-DE" sz="2000" spc="-1" dirty="0">
                <a:solidFill>
                  <a:srgbClr val="514843"/>
                </a:solidFill>
                <a:latin typeface="Euphemia"/>
              </a:rPr>
              <a:t> log </a:t>
            </a:r>
            <a:r>
              <a:rPr lang="de-DE" sz="2000" spc="-1" dirty="0" err="1">
                <a:solidFill>
                  <a:srgbClr val="514843"/>
                </a:solidFill>
                <a:latin typeface="Euphemia"/>
              </a:rPr>
              <a:t>data</a:t>
            </a:r>
            <a:r>
              <a:rPr lang="de-DE" sz="2000" spc="-1" dirty="0">
                <a:solidFill>
                  <a:srgbClr val="514843"/>
                </a:solidFill>
                <a:latin typeface="Euphemia"/>
              </a:rPr>
              <a:t> </a:t>
            </a:r>
            <a:r>
              <a:rPr lang="de-DE" sz="2000" spc="-1" dirty="0" err="1">
                <a:solidFill>
                  <a:srgbClr val="514843"/>
                </a:solidFill>
                <a:latin typeface="Euphemia"/>
              </a:rPr>
              <a:t>were</a:t>
            </a:r>
            <a:r>
              <a:rPr lang="de-DE" sz="2000" spc="-1" dirty="0">
                <a:solidFill>
                  <a:srgbClr val="514843"/>
                </a:solidFill>
                <a:latin typeface="Euphemia"/>
              </a:rPr>
              <a:t> </a:t>
            </a:r>
            <a:r>
              <a:rPr lang="de-DE" sz="2000" spc="-1" dirty="0" err="1">
                <a:solidFill>
                  <a:srgbClr val="514843"/>
                </a:solidFill>
                <a:latin typeface="Euphemia"/>
              </a:rPr>
              <a:t>publically</a:t>
            </a:r>
            <a:r>
              <a:rPr lang="de-DE" sz="2000" spc="-1" dirty="0">
                <a:solidFill>
                  <a:srgbClr val="514843"/>
                </a:solidFill>
                <a:latin typeface="Euphemia"/>
              </a:rPr>
              <a:t> </a:t>
            </a:r>
            <a:r>
              <a:rPr lang="de-DE" sz="2000" spc="-1" dirty="0" err="1">
                <a:solidFill>
                  <a:srgbClr val="514843"/>
                </a:solidFill>
                <a:latin typeface="Euphemia"/>
              </a:rPr>
              <a:t>available</a:t>
            </a:r>
            <a:r>
              <a:rPr lang="de-DE" sz="2000" spc="-1" dirty="0">
                <a:solidFill>
                  <a:srgbClr val="514843"/>
                </a:solidFill>
                <a:latin typeface="Euphemia"/>
              </a:rPr>
              <a:t>, not real personal </a:t>
            </a:r>
            <a:r>
              <a:rPr lang="de-DE" sz="2000" spc="-1" dirty="0" err="1">
                <a:solidFill>
                  <a:srgbClr val="514843"/>
                </a:solidFill>
                <a:latin typeface="Euphemia"/>
              </a:rPr>
              <a:t>data</a:t>
            </a:r>
            <a:endParaRPr lang="de-DE" sz="2000" spc="-1" dirty="0">
              <a:solidFill>
                <a:srgbClr val="514843"/>
              </a:solidFill>
              <a:latin typeface="Euphemia"/>
            </a:endParaRPr>
          </a:p>
          <a:p>
            <a:pPr>
              <a:spcBef>
                <a:spcPts val="1800"/>
              </a:spcBef>
              <a:buFontTx/>
              <a:buChar char="-"/>
              <a:defRPr/>
            </a:pPr>
            <a:r>
              <a:rPr lang="de-DE" sz="2000" spc="-1" dirty="0">
                <a:solidFill>
                  <a:srgbClr val="514843"/>
                </a:solidFill>
                <a:latin typeface="Euphemia"/>
              </a:rPr>
              <a:t>L </a:t>
            </a:r>
            <a:r>
              <a:rPr lang="de-DE" sz="2000" spc="-1" dirty="0" err="1">
                <a:solidFill>
                  <a:srgbClr val="514843"/>
                </a:solidFill>
                <a:latin typeface="Euphemia"/>
              </a:rPr>
              <a:t>cannot</a:t>
            </a:r>
            <a:r>
              <a:rPr lang="de-DE" sz="2000" spc="-1" dirty="0">
                <a:solidFill>
                  <a:srgbClr val="514843"/>
                </a:solidFill>
                <a:latin typeface="Euphemia"/>
              </a:rPr>
              <a:t> </a:t>
            </a:r>
            <a:r>
              <a:rPr lang="de-DE" sz="2000" spc="-1" dirty="0" err="1">
                <a:solidFill>
                  <a:srgbClr val="514843"/>
                </a:solidFill>
                <a:latin typeface="Euphemia"/>
              </a:rPr>
              <a:t>get</a:t>
            </a:r>
            <a:r>
              <a:rPr lang="de-DE" sz="2000" spc="-1" dirty="0">
                <a:solidFill>
                  <a:srgbClr val="514843"/>
                </a:solidFill>
                <a:latin typeface="Euphemia"/>
              </a:rPr>
              <a:t> </a:t>
            </a:r>
            <a:r>
              <a:rPr lang="de-DE" sz="2000" spc="-1" dirty="0" err="1">
                <a:solidFill>
                  <a:srgbClr val="514843"/>
                </a:solidFill>
                <a:latin typeface="Euphemia"/>
              </a:rPr>
              <a:t>compensation</a:t>
            </a:r>
            <a:r>
              <a:rPr lang="de-DE" sz="2000" spc="-1" dirty="0">
                <a:solidFill>
                  <a:srgbClr val="514843"/>
                </a:solidFill>
                <a:latin typeface="Euphemia"/>
              </a:rPr>
              <a:t> </a:t>
            </a:r>
            <a:r>
              <a:rPr lang="de-DE" sz="2000" spc="-1" dirty="0" err="1">
                <a:solidFill>
                  <a:srgbClr val="514843"/>
                </a:solidFill>
                <a:latin typeface="Euphemia"/>
              </a:rPr>
              <a:t>from</a:t>
            </a:r>
            <a:r>
              <a:rPr lang="de-DE" sz="2000" spc="-1" dirty="0">
                <a:solidFill>
                  <a:srgbClr val="514843"/>
                </a:solidFill>
                <a:latin typeface="Euphemia"/>
              </a:rPr>
              <a:t> S, </a:t>
            </a:r>
            <a:r>
              <a:rPr lang="de-DE" sz="2000" spc="-1" dirty="0" err="1">
                <a:solidFill>
                  <a:srgbClr val="514843"/>
                </a:solidFill>
                <a:latin typeface="Euphemia"/>
              </a:rPr>
              <a:t>as</a:t>
            </a:r>
            <a:r>
              <a:rPr lang="de-DE" sz="2000" spc="-1" dirty="0">
                <a:solidFill>
                  <a:srgbClr val="514843"/>
                </a:solidFill>
                <a:latin typeface="Euphemia"/>
              </a:rPr>
              <a:t> </a:t>
            </a:r>
            <a:r>
              <a:rPr lang="de-DE" sz="2000" spc="-1" dirty="0" err="1">
                <a:solidFill>
                  <a:srgbClr val="514843"/>
                </a:solidFill>
                <a:latin typeface="Euphemia"/>
              </a:rPr>
              <a:t>it</a:t>
            </a:r>
            <a:r>
              <a:rPr lang="de-DE" sz="2000" spc="-1" dirty="0">
                <a:solidFill>
                  <a:srgbClr val="514843"/>
                </a:solidFill>
                <a:latin typeface="Euphemia"/>
              </a:rPr>
              <a:t> was all </a:t>
            </a:r>
            <a:r>
              <a:rPr lang="de-DE" sz="2000" spc="-1" dirty="0" err="1">
                <a:solidFill>
                  <a:srgbClr val="514843"/>
                </a:solidFill>
                <a:latin typeface="Euphemia"/>
              </a:rPr>
              <a:t>C‘s</a:t>
            </a:r>
            <a:r>
              <a:rPr lang="de-DE" sz="2000" spc="-1" dirty="0">
                <a:solidFill>
                  <a:srgbClr val="514843"/>
                </a:solidFill>
                <a:latin typeface="Euphemia"/>
              </a:rPr>
              <a:t> fault</a:t>
            </a:r>
          </a:p>
        </p:txBody>
      </p:sp>
    </p:spTree>
    <p:extLst>
      <p:ext uri="{BB962C8B-B14F-4D97-AF65-F5344CB8AC3E}">
        <p14:creationId xmlns:p14="http://schemas.microsoft.com/office/powerpoint/2010/main" val="978856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4888A12-5C83-4056-9E82-3BF39D496F0F}"/>
              </a:ext>
            </a:extLst>
          </p:cNvPr>
          <p:cNvSpPr>
            <a:spLocks noGrp="1"/>
          </p:cNvSpPr>
          <p:nvPr>
            <p:ph type="title"/>
          </p:nvPr>
        </p:nvSpPr>
        <p:spPr/>
        <p:txBody>
          <a:bodyPr/>
          <a:lstStyle/>
          <a:p>
            <a:r>
              <a:rPr lang="de-DE" dirty="0"/>
              <a:t>Agenda</a:t>
            </a:r>
            <a:endParaRPr lang="fi-FI" dirty="0"/>
          </a:p>
        </p:txBody>
      </p:sp>
      <p:sp>
        <p:nvSpPr>
          <p:cNvPr id="6" name="Content Placeholder 5">
            <a:extLst>
              <a:ext uri="{FF2B5EF4-FFF2-40B4-BE49-F238E27FC236}">
                <a16:creationId xmlns:a16="http://schemas.microsoft.com/office/drawing/2014/main" id="{25141C57-065A-48BB-A56C-3626F355AC61}"/>
              </a:ext>
            </a:extLst>
          </p:cNvPr>
          <p:cNvSpPr>
            <a:spLocks noGrp="1"/>
          </p:cNvSpPr>
          <p:nvPr>
            <p:ph idx="1"/>
          </p:nvPr>
        </p:nvSpPr>
        <p:spPr/>
        <p:txBody>
          <a:bodyPr/>
          <a:lstStyle/>
          <a:p>
            <a:pPr marL="343080" marR="0" lvl="0" indent="-342720" algn="l" defTabSz="914400" rtl="0" eaLnBrk="1" fontAlgn="auto" latinLnBrk="0" hangingPunct="1">
              <a:lnSpc>
                <a:spcPct val="105000"/>
              </a:lnSpc>
              <a:spcBef>
                <a:spcPts val="1800"/>
              </a:spcBef>
              <a:spcAft>
                <a:spcPts val="0"/>
              </a:spcAft>
              <a:buClr>
                <a:srgbClr val="514843"/>
              </a:buClr>
              <a:buSzTx/>
              <a:buFont typeface="Symbol"/>
              <a:buChar char=""/>
              <a:tabLst/>
              <a:defRPr/>
            </a:pPr>
            <a:r>
              <a:rPr kumimoji="0" lang="en-FI" sz="2000" b="0" i="0" u="none" strike="noStrike" kern="1200" cap="none" spc="-1" normalizeH="0" baseline="0" noProof="0" dirty="0">
                <a:ln>
                  <a:noFill/>
                </a:ln>
                <a:solidFill>
                  <a:srgbClr val="514843"/>
                </a:solidFill>
                <a:effectLst/>
                <a:uLnTx/>
                <a:uFillTx/>
                <a:latin typeface="Times New Roman"/>
                <a:ea typeface="Georgia"/>
              </a:rPr>
              <a:t>Repetition </a:t>
            </a:r>
          </a:p>
          <a:p>
            <a:pPr marL="343080" marR="0" lvl="0" indent="-342720" algn="l" defTabSz="914400" rtl="0" eaLnBrk="1" fontAlgn="auto" latinLnBrk="0" hangingPunct="1">
              <a:lnSpc>
                <a:spcPct val="105000"/>
              </a:lnSpc>
              <a:spcBef>
                <a:spcPts val="1800"/>
              </a:spcBef>
              <a:spcAft>
                <a:spcPts val="0"/>
              </a:spcAft>
              <a:buClr>
                <a:srgbClr val="514843"/>
              </a:buClr>
              <a:buSzTx/>
              <a:buFont typeface="Symbol"/>
              <a:buChar char=""/>
              <a:tabLst/>
              <a:defRPr/>
            </a:pPr>
            <a:r>
              <a:rPr kumimoji="0" lang="de-DE" sz="2000" b="0" i="0" u="none" strike="noStrike" kern="1200" cap="none" spc="-1" normalizeH="0" baseline="0" noProof="0" dirty="0">
                <a:ln>
                  <a:noFill/>
                </a:ln>
                <a:solidFill>
                  <a:srgbClr val="514843"/>
                </a:solidFill>
                <a:effectLst/>
                <a:uLnTx/>
                <a:uFillTx/>
                <a:latin typeface="Times New Roman"/>
                <a:ea typeface="Georgia"/>
              </a:rPr>
              <a:t>What is the point of enforcement?</a:t>
            </a:r>
            <a:endParaRPr kumimoji="0" lang="de-DE" sz="2000" b="0" i="0" u="none" strike="noStrike" kern="1200" cap="none" spc="-1" normalizeH="0" baseline="0" noProof="0" dirty="0">
              <a:ln>
                <a:noFill/>
              </a:ln>
              <a:solidFill>
                <a:srgbClr val="514843"/>
              </a:solidFill>
              <a:effectLst/>
              <a:uLnTx/>
              <a:uFillTx/>
              <a:latin typeface="Euphemia"/>
            </a:endParaRPr>
          </a:p>
          <a:p>
            <a:pPr marL="343080" marR="0" lvl="0" indent="-342720" algn="l" defTabSz="914400" rtl="0" eaLnBrk="1" fontAlgn="auto" latinLnBrk="0" hangingPunct="1">
              <a:lnSpc>
                <a:spcPct val="105000"/>
              </a:lnSpc>
              <a:spcBef>
                <a:spcPts val="1800"/>
              </a:spcBef>
              <a:spcAft>
                <a:spcPts val="0"/>
              </a:spcAft>
              <a:buClr>
                <a:srgbClr val="514843"/>
              </a:buClr>
              <a:buSzTx/>
              <a:buFont typeface="Symbol"/>
              <a:buChar char=""/>
              <a:tabLst/>
              <a:defRPr/>
            </a:pPr>
            <a:r>
              <a:rPr kumimoji="0" lang="de-DE" sz="2000" b="0" i="0" u="none" strike="noStrike" kern="1200" cap="none" spc="-1" normalizeH="0" baseline="0" noProof="0" dirty="0">
                <a:ln>
                  <a:noFill/>
                </a:ln>
                <a:solidFill>
                  <a:srgbClr val="514843"/>
                </a:solidFill>
                <a:effectLst/>
                <a:uLnTx/>
                <a:uFillTx/>
                <a:latin typeface="Times New Roman"/>
                <a:ea typeface="Georgia"/>
              </a:rPr>
              <a:t>Enforcement </a:t>
            </a:r>
            <a:r>
              <a:rPr kumimoji="0" lang="en-FI" sz="2000" b="0" i="0" u="none" strike="noStrike" kern="1200" cap="none" spc="-1" normalizeH="0" baseline="0" noProof="0" dirty="0">
                <a:ln>
                  <a:noFill/>
                </a:ln>
                <a:solidFill>
                  <a:srgbClr val="514843"/>
                </a:solidFill>
                <a:effectLst/>
                <a:uLnTx/>
                <a:uFillTx/>
                <a:latin typeface="Times New Roman"/>
                <a:ea typeface="Georgia"/>
              </a:rPr>
              <a:t>classic</a:t>
            </a:r>
          </a:p>
          <a:p>
            <a:pPr marL="343080" marR="0" lvl="0" indent="-342720" algn="l" defTabSz="914400" rtl="0" eaLnBrk="1" fontAlgn="auto" latinLnBrk="0" hangingPunct="1">
              <a:lnSpc>
                <a:spcPct val="105000"/>
              </a:lnSpc>
              <a:spcBef>
                <a:spcPts val="1800"/>
              </a:spcBef>
              <a:spcAft>
                <a:spcPts val="0"/>
              </a:spcAft>
              <a:buClr>
                <a:srgbClr val="514843"/>
              </a:buClr>
              <a:buSzTx/>
              <a:buFont typeface="Symbol"/>
              <a:buChar char=""/>
              <a:tabLst/>
              <a:defRPr/>
            </a:pPr>
            <a:r>
              <a:rPr kumimoji="0" lang="en-FI" sz="2000" b="0" i="0" u="none" strike="noStrike" kern="1200" cap="none" spc="-1" normalizeH="0" baseline="0" noProof="0" dirty="0">
                <a:ln>
                  <a:noFill/>
                </a:ln>
                <a:solidFill>
                  <a:srgbClr val="514843"/>
                </a:solidFill>
                <a:effectLst/>
                <a:uLnTx/>
                <a:uFillTx/>
                <a:latin typeface="Times New Roman"/>
                <a:ea typeface="Georgia"/>
              </a:rPr>
              <a:t>Enforcement alternative ways</a:t>
            </a:r>
          </a:p>
          <a:p>
            <a:pPr marL="343080" marR="0" lvl="0" indent="-342720" algn="l" defTabSz="914400" rtl="0" eaLnBrk="1" fontAlgn="auto" latinLnBrk="0" hangingPunct="1">
              <a:lnSpc>
                <a:spcPct val="105000"/>
              </a:lnSpc>
              <a:spcBef>
                <a:spcPts val="1800"/>
              </a:spcBef>
              <a:spcAft>
                <a:spcPts val="0"/>
              </a:spcAft>
              <a:buClr>
                <a:srgbClr val="514843"/>
              </a:buClr>
              <a:buSzTx/>
              <a:buFont typeface="Symbol"/>
              <a:buChar char=""/>
              <a:tabLst/>
              <a:defRPr/>
            </a:pPr>
            <a:r>
              <a:rPr kumimoji="0" lang="en-FI" sz="2000" b="0" i="0" u="none" strike="noStrike" kern="1200" cap="none" spc="-1" normalizeH="0" baseline="0" noProof="0" dirty="0">
                <a:ln>
                  <a:noFill/>
                </a:ln>
                <a:solidFill>
                  <a:srgbClr val="514843"/>
                </a:solidFill>
                <a:effectLst/>
                <a:uLnTx/>
                <a:uFillTx/>
                <a:latin typeface="Times New Roman"/>
                <a:ea typeface="Georgia"/>
              </a:rPr>
              <a:t>Discussion: We need more funding</a:t>
            </a:r>
          </a:p>
          <a:p>
            <a:endParaRPr lang="de-DE" dirty="0"/>
          </a:p>
          <a:p>
            <a:pPr marL="0" indent="0">
              <a:buNone/>
            </a:pPr>
            <a:endParaRPr lang="fi-FI" dirty="0"/>
          </a:p>
        </p:txBody>
      </p:sp>
    </p:spTree>
    <p:extLst>
      <p:ext uri="{BB962C8B-B14F-4D97-AF65-F5344CB8AC3E}">
        <p14:creationId xmlns:p14="http://schemas.microsoft.com/office/powerpoint/2010/main" val="1432754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679E9E-6918-43E5-8A79-88A3119CD79E}"/>
              </a:ext>
            </a:extLst>
          </p:cNvPr>
          <p:cNvSpPr>
            <a:spLocks noGrp="1"/>
          </p:cNvSpPr>
          <p:nvPr>
            <p:ph type="title"/>
          </p:nvPr>
        </p:nvSpPr>
        <p:spPr/>
        <p:txBody>
          <a:bodyPr/>
          <a:lstStyle/>
          <a:p>
            <a:r>
              <a:rPr lang="de-DE" dirty="0"/>
              <a:t>Should you be able to get compensation for non-material damage?</a:t>
            </a:r>
            <a:endParaRPr lang="fi-FI" dirty="0"/>
          </a:p>
        </p:txBody>
      </p:sp>
      <p:sp>
        <p:nvSpPr>
          <p:cNvPr id="3" name="Content Placeholder 2">
            <a:extLst>
              <a:ext uri="{FF2B5EF4-FFF2-40B4-BE49-F238E27FC236}">
                <a16:creationId xmlns:a16="http://schemas.microsoft.com/office/drawing/2014/main" id="{B02C9C6E-2ED5-4F6E-A257-26EBA23EFB78}"/>
              </a:ext>
            </a:extLst>
          </p:cNvPr>
          <p:cNvSpPr>
            <a:spLocks noGrp="1"/>
          </p:cNvSpPr>
          <p:nvPr>
            <p:ph idx="1"/>
          </p:nvPr>
        </p:nvSpPr>
        <p:spPr/>
        <p:txBody>
          <a:bodyPr/>
          <a:lstStyle/>
          <a:p>
            <a:endParaRPr lang="fi-FI"/>
          </a:p>
        </p:txBody>
      </p:sp>
      <p:sp>
        <p:nvSpPr>
          <p:cNvPr id="4" name="Footer Placeholder 3">
            <a:extLst>
              <a:ext uri="{FF2B5EF4-FFF2-40B4-BE49-F238E27FC236}">
                <a16:creationId xmlns:a16="http://schemas.microsoft.com/office/drawing/2014/main" id="{060304AA-AFAE-4B52-A835-E6DD82D18819}"/>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1200" cap="none" spc="0" normalizeH="0" baseline="0" noProof="0" dirty="0">
              <a:ln>
                <a:noFill/>
              </a:ln>
              <a:solidFill>
                <a:srgbClr val="514843">
                  <a:lumMod val="75000"/>
                </a:srgbClr>
              </a:solidFill>
              <a:effectLst/>
              <a:uLnTx/>
              <a:uFillTx/>
              <a:latin typeface="Euphemia"/>
              <a:ea typeface="+mn-ea"/>
              <a:cs typeface="+mn-cs"/>
            </a:endParaRPr>
          </a:p>
        </p:txBody>
      </p:sp>
    </p:spTree>
    <p:extLst>
      <p:ext uri="{BB962C8B-B14F-4D97-AF65-F5344CB8AC3E}">
        <p14:creationId xmlns:p14="http://schemas.microsoft.com/office/powerpoint/2010/main" val="311279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rtlCol="0">
            <a:normAutofit/>
          </a:bodyPr>
          <a:lstStyle/>
          <a:p>
            <a:pPr>
              <a:spcBef>
                <a:spcPts val="0"/>
              </a:spcBef>
              <a:defRPr/>
            </a:pPr>
            <a:r>
              <a:rPr lang="fr-CA" sz="2800" spc="-1" dirty="0">
                <a:solidFill>
                  <a:srgbClr val="514843"/>
                </a:solidFill>
                <a:latin typeface="Plantagenet Cherokee"/>
                <a:ea typeface="+mn-ea"/>
                <a:cs typeface="+mn-cs"/>
                <a:hlinkClick r:id="rId3">
                  <a:extLst>
                    <a:ext uri="{A12FA001-AC4F-418D-AE19-62706E023703}">
                      <ahyp:hlinkClr xmlns:ahyp="http://schemas.microsoft.com/office/drawing/2018/hyperlinkcolor" val="tx"/>
                    </a:ext>
                  </a:extLst>
                </a:hlinkClick>
              </a:rPr>
              <a:t>Case </a:t>
            </a:r>
            <a:r>
              <a:rPr lang="en-FI" sz="2800" spc="-1" dirty="0">
                <a:solidFill>
                  <a:srgbClr val="514843"/>
                </a:solidFill>
                <a:latin typeface="Plantagenet Cherokee"/>
                <a:ea typeface="+mn-ea"/>
                <a:cs typeface="+mn-cs"/>
              </a:rPr>
              <a:t>S</a:t>
            </a:r>
            <a:r>
              <a:rPr lang="de-DE" sz="2800" spc="-1" dirty="0">
                <a:solidFill>
                  <a:srgbClr val="514843"/>
                </a:solidFill>
                <a:latin typeface="Plantagenet Cherokee"/>
                <a:ea typeface="+mn-ea"/>
                <a:cs typeface="+mn-cs"/>
              </a:rPr>
              <a:t>u</a:t>
            </a:r>
            <a:r>
              <a:rPr lang="en-FI" sz="2800" spc="-1" dirty="0">
                <a:solidFill>
                  <a:srgbClr val="514843"/>
                </a:solidFill>
                <a:latin typeface="Plantagenet Cherokee"/>
                <a:ea typeface="+mn-ea"/>
                <a:cs typeface="+mn-cs"/>
              </a:rPr>
              <a:t>m</a:t>
            </a:r>
            <a:r>
              <a:rPr lang="de-DE" sz="2800" spc="-1" dirty="0">
                <a:solidFill>
                  <a:srgbClr val="514843"/>
                </a:solidFill>
                <a:latin typeface="Plantagenet Cherokee"/>
                <a:ea typeface="+mn-ea"/>
                <a:cs typeface="+mn-cs"/>
              </a:rPr>
              <a:t>m</a:t>
            </a:r>
            <a:r>
              <a:rPr lang="en-FI" sz="2800" spc="-1" dirty="0">
                <a:solidFill>
                  <a:srgbClr val="514843"/>
                </a:solidFill>
                <a:latin typeface="Plantagenet Cherokee"/>
                <a:ea typeface="+mn-ea"/>
                <a:cs typeface="+mn-cs"/>
              </a:rPr>
              <a:t>a</a:t>
            </a:r>
            <a:r>
              <a:rPr lang="de-DE" sz="2800" spc="-1" dirty="0">
                <a:solidFill>
                  <a:srgbClr val="514843"/>
                </a:solidFill>
                <a:latin typeface="Plantagenet Cherokee"/>
                <a:ea typeface="+mn-ea"/>
                <a:cs typeface="+mn-cs"/>
              </a:rPr>
              <a:t>r</a:t>
            </a:r>
            <a:r>
              <a:rPr lang="en-FI" sz="2800" spc="-1" dirty="0">
                <a:solidFill>
                  <a:srgbClr val="514843"/>
                </a:solidFill>
                <a:latin typeface="Plantagenet Cherokee"/>
                <a:ea typeface="+mn-ea"/>
                <a:cs typeface="+mn-cs"/>
              </a:rPr>
              <a:t>y </a:t>
            </a:r>
            <a:r>
              <a:rPr lang="de-DE" sz="2800" spc="-1" dirty="0">
                <a:solidFill>
                  <a:srgbClr val="514843"/>
                </a:solidFill>
                <a:latin typeface="Plantagenet Cherokee"/>
                <a:ea typeface="+mn-ea"/>
                <a:cs typeface="+mn-cs"/>
              </a:rPr>
              <a:t>G</a:t>
            </a:r>
            <a:r>
              <a:rPr lang="en-FI" sz="2800" spc="-1" dirty="0">
                <a:solidFill>
                  <a:srgbClr val="514843"/>
                </a:solidFill>
                <a:latin typeface="Plantagenet Cherokee"/>
                <a:ea typeface="+mn-ea"/>
                <a:cs typeface="+mn-cs"/>
              </a:rPr>
              <a:t>o</a:t>
            </a:r>
            <a:r>
              <a:rPr lang="de-DE" sz="2800" spc="-1" dirty="0">
                <a:solidFill>
                  <a:srgbClr val="514843"/>
                </a:solidFill>
                <a:latin typeface="Plantagenet Cherokee"/>
                <a:ea typeface="+mn-ea"/>
                <a:cs typeface="+mn-cs"/>
              </a:rPr>
              <a:t>o</a:t>
            </a:r>
            <a:r>
              <a:rPr lang="en-FI" sz="2800" spc="-1" dirty="0">
                <a:solidFill>
                  <a:srgbClr val="514843"/>
                </a:solidFill>
                <a:latin typeface="Plantagenet Cherokee"/>
                <a:ea typeface="+mn-ea"/>
                <a:cs typeface="+mn-cs"/>
              </a:rPr>
              <a:t>g</a:t>
            </a:r>
            <a:r>
              <a:rPr lang="de-DE" sz="2800" spc="-1" dirty="0">
                <a:solidFill>
                  <a:srgbClr val="514843"/>
                </a:solidFill>
                <a:latin typeface="Plantagenet Cherokee"/>
                <a:ea typeface="+mn-ea"/>
                <a:cs typeface="+mn-cs"/>
              </a:rPr>
              <a:t>l</a:t>
            </a:r>
            <a:r>
              <a:rPr lang="en-FI" sz="2800" spc="-1" dirty="0">
                <a:solidFill>
                  <a:srgbClr val="514843"/>
                </a:solidFill>
                <a:latin typeface="Plantagenet Cherokee"/>
                <a:ea typeface="+mn-ea"/>
                <a:cs typeface="+mn-cs"/>
              </a:rPr>
              <a:t>e </a:t>
            </a:r>
            <a:r>
              <a:rPr lang="de-DE" sz="2800" spc="-1" dirty="0">
                <a:solidFill>
                  <a:srgbClr val="514843"/>
                </a:solidFill>
                <a:latin typeface="Plantagenet Cherokee"/>
                <a:ea typeface="+mn-ea"/>
                <a:cs typeface="+mn-cs"/>
              </a:rPr>
              <a:t>v</a:t>
            </a:r>
            <a:r>
              <a:rPr lang="en-FI" sz="2800" spc="-1" dirty="0">
                <a:solidFill>
                  <a:srgbClr val="514843"/>
                </a:solidFill>
                <a:latin typeface="Plantagenet Cherokee"/>
                <a:ea typeface="+mn-ea"/>
                <a:cs typeface="+mn-cs"/>
              </a:rPr>
              <a:t>. </a:t>
            </a:r>
            <a:r>
              <a:rPr lang="de-DE" sz="2800" spc="-1" dirty="0">
                <a:solidFill>
                  <a:srgbClr val="514843"/>
                </a:solidFill>
                <a:latin typeface="Plantagenet Cherokee"/>
                <a:ea typeface="+mn-ea"/>
                <a:cs typeface="+mn-cs"/>
              </a:rPr>
              <a:t>V</a:t>
            </a:r>
            <a:r>
              <a:rPr lang="en-FI" sz="2800" spc="-1" dirty="0" err="1">
                <a:solidFill>
                  <a:srgbClr val="514843"/>
                </a:solidFill>
                <a:latin typeface="Plantagenet Cherokee"/>
                <a:ea typeface="+mn-ea"/>
                <a:cs typeface="+mn-cs"/>
              </a:rPr>
              <a:t>i</a:t>
            </a:r>
            <a:r>
              <a:rPr lang="de-DE" sz="2800" spc="-1" dirty="0">
                <a:solidFill>
                  <a:srgbClr val="514843"/>
                </a:solidFill>
                <a:latin typeface="Plantagenet Cherokee"/>
                <a:ea typeface="+mn-ea"/>
                <a:cs typeface="+mn-cs"/>
              </a:rPr>
              <a:t>d</a:t>
            </a:r>
            <a:r>
              <a:rPr lang="en-FI" sz="2800" spc="-1" dirty="0">
                <a:solidFill>
                  <a:srgbClr val="514843"/>
                </a:solidFill>
                <a:latin typeface="Plantagenet Cherokee"/>
                <a:ea typeface="+mn-ea"/>
                <a:cs typeface="+mn-cs"/>
              </a:rPr>
              <a:t>a</a:t>
            </a:r>
            <a:r>
              <a:rPr lang="de-DE" sz="2800" spc="-1" dirty="0">
                <a:solidFill>
                  <a:srgbClr val="514843"/>
                </a:solidFill>
                <a:latin typeface="Plantagenet Cherokee"/>
                <a:ea typeface="+mn-ea"/>
                <a:cs typeface="+mn-cs"/>
              </a:rPr>
              <a:t>l</a:t>
            </a:r>
            <a:r>
              <a:rPr lang="en-FI" sz="2800" spc="-1" dirty="0">
                <a:solidFill>
                  <a:srgbClr val="514843"/>
                </a:solidFill>
                <a:latin typeface="Plantagenet Cherokee"/>
                <a:ea typeface="+mn-ea"/>
                <a:cs typeface="+mn-cs"/>
              </a:rPr>
              <a:t> (2015)</a:t>
            </a:r>
            <a:endParaRPr lang="fr-CA" sz="2800" spc="-1" dirty="0">
              <a:solidFill>
                <a:srgbClr val="514843"/>
              </a:solidFill>
              <a:latin typeface="Plantagenet Cherokee"/>
              <a:ea typeface="+mn-ea"/>
              <a:cs typeface="+mn-cs"/>
            </a:endParaRPr>
          </a:p>
        </p:txBody>
      </p:sp>
      <p:sp>
        <p:nvSpPr>
          <p:cNvPr id="3" name="Content Placeholder 2"/>
          <p:cNvSpPr>
            <a:spLocks noGrp="1"/>
          </p:cNvSpPr>
          <p:nvPr>
            <p:ph idx="1"/>
          </p:nvPr>
        </p:nvSpPr>
        <p:spPr/>
        <p:txBody>
          <a:bodyPr/>
          <a:lstStyle/>
          <a:p>
            <a:pPr>
              <a:spcBef>
                <a:spcPts val="1800"/>
              </a:spcBef>
              <a:defRPr/>
            </a:pPr>
            <a:r>
              <a:rPr lang="de-DE" sz="2000" spc="-1" dirty="0">
                <a:solidFill>
                  <a:srgbClr val="514843"/>
                </a:solidFill>
                <a:latin typeface="Euphemia"/>
              </a:rPr>
              <a:t>FACTS/PROCEEDING </a:t>
            </a:r>
          </a:p>
          <a:p>
            <a:pPr lvl="1">
              <a:spcBef>
                <a:spcPts val="1800"/>
              </a:spcBef>
              <a:defRPr/>
            </a:pPr>
            <a:r>
              <a:rPr lang="de-DE" spc="-1" dirty="0">
                <a:solidFill>
                  <a:srgbClr val="514843"/>
                </a:solidFill>
                <a:latin typeface="Euphemia"/>
              </a:rPr>
              <a:t>G</a:t>
            </a:r>
            <a:r>
              <a:rPr lang="en-FI" spc="-1" dirty="0">
                <a:solidFill>
                  <a:srgbClr val="514843"/>
                </a:solidFill>
                <a:latin typeface="Euphemia"/>
              </a:rPr>
              <a:t>o</a:t>
            </a:r>
            <a:r>
              <a:rPr lang="de-DE" spc="-1" dirty="0">
                <a:solidFill>
                  <a:srgbClr val="514843"/>
                </a:solidFill>
                <a:latin typeface="Euphemia"/>
              </a:rPr>
              <a:t>o</a:t>
            </a:r>
            <a:r>
              <a:rPr lang="en-FI" spc="-1" dirty="0">
                <a:solidFill>
                  <a:srgbClr val="514843"/>
                </a:solidFill>
                <a:latin typeface="Euphemia"/>
              </a:rPr>
              <a:t>g</a:t>
            </a:r>
            <a:r>
              <a:rPr lang="de-DE" spc="-1" dirty="0">
                <a:solidFill>
                  <a:srgbClr val="514843"/>
                </a:solidFill>
                <a:latin typeface="Euphemia"/>
              </a:rPr>
              <a:t>l</a:t>
            </a:r>
            <a:r>
              <a:rPr lang="en-FI" spc="-1" dirty="0">
                <a:solidFill>
                  <a:srgbClr val="514843"/>
                </a:solidFill>
                <a:latin typeface="Euphemia"/>
              </a:rPr>
              <a:t>e </a:t>
            </a:r>
            <a:r>
              <a:rPr lang="de-DE" spc="-1" dirty="0" err="1">
                <a:solidFill>
                  <a:srgbClr val="514843"/>
                </a:solidFill>
                <a:latin typeface="Euphemia"/>
              </a:rPr>
              <a:t>allegedly</a:t>
            </a:r>
            <a:r>
              <a:rPr lang="en-FI" spc="-1" dirty="0">
                <a:solidFill>
                  <a:srgbClr val="514843"/>
                </a:solidFill>
                <a:latin typeface="Euphemia"/>
              </a:rPr>
              <a:t> </a:t>
            </a:r>
            <a:r>
              <a:rPr lang="de-DE" spc="-1" dirty="0">
                <a:solidFill>
                  <a:srgbClr val="514843"/>
                </a:solidFill>
                <a:latin typeface="Euphemia"/>
              </a:rPr>
              <a:t>c</a:t>
            </a:r>
            <a:r>
              <a:rPr lang="en-FI" spc="-1" dirty="0" err="1">
                <a:solidFill>
                  <a:srgbClr val="514843"/>
                </a:solidFill>
                <a:latin typeface="Euphemia"/>
              </a:rPr>
              <a:t>ircumvented</a:t>
            </a:r>
            <a:r>
              <a:rPr lang="en-FI" spc="-1" dirty="0">
                <a:solidFill>
                  <a:srgbClr val="514843"/>
                </a:solidFill>
                <a:latin typeface="Euphemia"/>
              </a:rPr>
              <a:t> privacy settings in the Safari </a:t>
            </a:r>
            <a:r>
              <a:rPr lang="en-FI" spc="-1" dirty="0" err="1">
                <a:solidFill>
                  <a:srgbClr val="514843"/>
                </a:solidFill>
                <a:latin typeface="Euphemia"/>
              </a:rPr>
              <a:t>br</a:t>
            </a:r>
            <a:r>
              <a:rPr lang="de-DE" spc="-1" dirty="0">
                <a:solidFill>
                  <a:srgbClr val="514843"/>
                </a:solidFill>
                <a:latin typeface="Euphemia"/>
              </a:rPr>
              <a:t>o</a:t>
            </a:r>
            <a:r>
              <a:rPr lang="en-FI" spc="-1" dirty="0" err="1">
                <a:solidFill>
                  <a:srgbClr val="514843"/>
                </a:solidFill>
                <a:latin typeface="Euphemia"/>
              </a:rPr>
              <a:t>wser</a:t>
            </a:r>
            <a:r>
              <a:rPr lang="en-FI" spc="-1" dirty="0">
                <a:solidFill>
                  <a:srgbClr val="514843"/>
                </a:solidFill>
                <a:latin typeface="Euphemia"/>
              </a:rPr>
              <a:t> (</a:t>
            </a:r>
            <a:r>
              <a:rPr lang="de-DE" spc="-1" dirty="0">
                <a:solidFill>
                  <a:srgbClr val="514843"/>
                </a:solidFill>
                <a:latin typeface="Euphemia"/>
              </a:rPr>
              <a:t>s</a:t>
            </a:r>
            <a:r>
              <a:rPr lang="en-FI" spc="-1" dirty="0">
                <a:solidFill>
                  <a:srgbClr val="514843"/>
                </a:solidFill>
                <a:latin typeface="Euphemia"/>
              </a:rPr>
              <a:t>e</a:t>
            </a:r>
            <a:r>
              <a:rPr lang="de-DE" spc="-1" dirty="0">
                <a:solidFill>
                  <a:srgbClr val="514843"/>
                </a:solidFill>
                <a:latin typeface="Euphemia"/>
              </a:rPr>
              <a:t>t</a:t>
            </a:r>
            <a:r>
              <a:rPr lang="en-FI" spc="-1" dirty="0">
                <a:solidFill>
                  <a:srgbClr val="514843"/>
                </a:solidFill>
                <a:latin typeface="Euphemia"/>
              </a:rPr>
              <a:t>t</a:t>
            </a:r>
            <a:r>
              <a:rPr lang="de-DE" spc="-1" dirty="0">
                <a:solidFill>
                  <a:srgbClr val="514843"/>
                </a:solidFill>
                <a:latin typeface="Euphemia"/>
              </a:rPr>
              <a:t>l</a:t>
            </a:r>
            <a:r>
              <a:rPr lang="en-FI" spc="-1" dirty="0">
                <a:solidFill>
                  <a:srgbClr val="514843"/>
                </a:solidFill>
                <a:latin typeface="Euphemia"/>
              </a:rPr>
              <a:t>e</a:t>
            </a:r>
            <a:r>
              <a:rPr lang="de-DE" spc="-1" dirty="0">
                <a:solidFill>
                  <a:srgbClr val="514843"/>
                </a:solidFill>
                <a:latin typeface="Euphemia"/>
              </a:rPr>
              <a:t>d</a:t>
            </a:r>
            <a:r>
              <a:rPr lang="en-FI" spc="-1" dirty="0">
                <a:solidFill>
                  <a:srgbClr val="514843"/>
                </a:solidFill>
                <a:latin typeface="Euphemia"/>
              </a:rPr>
              <a:t> </a:t>
            </a:r>
            <a:r>
              <a:rPr lang="de-DE" spc="-1" dirty="0">
                <a:solidFill>
                  <a:srgbClr val="514843"/>
                </a:solidFill>
                <a:latin typeface="Euphemia"/>
              </a:rPr>
              <a:t>w</a:t>
            </a:r>
            <a:r>
              <a:rPr lang="en-FI" spc="-1" dirty="0" err="1">
                <a:solidFill>
                  <a:srgbClr val="514843"/>
                </a:solidFill>
                <a:latin typeface="Euphemia"/>
              </a:rPr>
              <a:t>i</a:t>
            </a:r>
            <a:r>
              <a:rPr lang="de-DE" spc="-1" dirty="0">
                <a:solidFill>
                  <a:srgbClr val="514843"/>
                </a:solidFill>
                <a:latin typeface="Euphemia"/>
              </a:rPr>
              <a:t>t</a:t>
            </a:r>
            <a:r>
              <a:rPr lang="en-FI" spc="-1" dirty="0">
                <a:solidFill>
                  <a:srgbClr val="514843"/>
                </a:solidFill>
                <a:latin typeface="Euphemia"/>
              </a:rPr>
              <a:t>h </a:t>
            </a:r>
            <a:r>
              <a:rPr lang="de-DE" spc="-1" dirty="0">
                <a:solidFill>
                  <a:srgbClr val="514843"/>
                </a:solidFill>
                <a:latin typeface="Euphemia"/>
              </a:rPr>
              <a:t>F</a:t>
            </a:r>
            <a:r>
              <a:rPr lang="en-FI" spc="-1" dirty="0">
                <a:solidFill>
                  <a:srgbClr val="514843"/>
                </a:solidFill>
                <a:latin typeface="Euphemia"/>
              </a:rPr>
              <a:t>T</a:t>
            </a:r>
            <a:r>
              <a:rPr lang="de-DE" spc="-1" dirty="0">
                <a:solidFill>
                  <a:srgbClr val="514843"/>
                </a:solidFill>
                <a:latin typeface="Euphemia"/>
              </a:rPr>
              <a:t>C</a:t>
            </a:r>
            <a:r>
              <a:rPr lang="en-FI" spc="-1" dirty="0">
                <a:solidFill>
                  <a:srgbClr val="514843"/>
                </a:solidFill>
                <a:latin typeface="Euphemia"/>
              </a:rPr>
              <a:t>)</a:t>
            </a:r>
          </a:p>
          <a:p>
            <a:pPr lvl="1">
              <a:spcBef>
                <a:spcPts val="1800"/>
              </a:spcBef>
              <a:defRPr/>
            </a:pPr>
            <a:r>
              <a:rPr lang="de-DE" spc="-1" dirty="0">
                <a:solidFill>
                  <a:srgbClr val="514843"/>
                </a:solidFill>
                <a:latin typeface="Euphemia"/>
              </a:rPr>
              <a:t>G</a:t>
            </a:r>
            <a:r>
              <a:rPr lang="en-FI" spc="-1" dirty="0" err="1">
                <a:solidFill>
                  <a:srgbClr val="514843"/>
                </a:solidFill>
                <a:latin typeface="Euphemia"/>
              </a:rPr>
              <a:t>oogle</a:t>
            </a:r>
            <a:r>
              <a:rPr lang="en-FI" spc="-1" dirty="0">
                <a:solidFill>
                  <a:srgbClr val="514843"/>
                </a:solidFill>
                <a:latin typeface="Euphemia"/>
              </a:rPr>
              <a:t> collected information about the Claimant’</a:t>
            </a:r>
            <a:r>
              <a:rPr lang="de-DE" spc="-1" dirty="0">
                <a:solidFill>
                  <a:srgbClr val="514843"/>
                </a:solidFill>
                <a:latin typeface="Euphemia"/>
              </a:rPr>
              <a:t>s</a:t>
            </a:r>
            <a:r>
              <a:rPr lang="en-FI" spc="-1" dirty="0">
                <a:solidFill>
                  <a:srgbClr val="514843"/>
                </a:solidFill>
                <a:latin typeface="Euphemia"/>
              </a:rPr>
              <a:t> </a:t>
            </a:r>
            <a:r>
              <a:rPr lang="de-DE" spc="-1" dirty="0">
                <a:solidFill>
                  <a:srgbClr val="514843"/>
                </a:solidFill>
                <a:latin typeface="Euphemia"/>
              </a:rPr>
              <a:t>i</a:t>
            </a:r>
            <a:r>
              <a:rPr lang="en-FI" spc="-1" dirty="0">
                <a:solidFill>
                  <a:srgbClr val="514843"/>
                </a:solidFill>
                <a:latin typeface="Euphemia"/>
              </a:rPr>
              <a:t>n</a:t>
            </a:r>
            <a:r>
              <a:rPr lang="de-DE" spc="-1" dirty="0">
                <a:solidFill>
                  <a:srgbClr val="514843"/>
                </a:solidFill>
                <a:latin typeface="Euphemia"/>
              </a:rPr>
              <a:t>t</a:t>
            </a:r>
            <a:r>
              <a:rPr lang="en-FI" spc="-1" dirty="0">
                <a:solidFill>
                  <a:srgbClr val="514843"/>
                </a:solidFill>
                <a:latin typeface="Euphemia"/>
              </a:rPr>
              <a:t>e</a:t>
            </a:r>
            <a:r>
              <a:rPr lang="de-DE" spc="-1" dirty="0">
                <a:solidFill>
                  <a:srgbClr val="514843"/>
                </a:solidFill>
                <a:latin typeface="Euphemia"/>
              </a:rPr>
              <a:t>r</a:t>
            </a:r>
            <a:r>
              <a:rPr lang="en-FI" spc="-1" dirty="0">
                <a:solidFill>
                  <a:srgbClr val="514843"/>
                </a:solidFill>
                <a:latin typeface="Euphemia"/>
              </a:rPr>
              <a:t>n</a:t>
            </a:r>
            <a:r>
              <a:rPr lang="de-DE" spc="-1" dirty="0">
                <a:solidFill>
                  <a:srgbClr val="514843"/>
                </a:solidFill>
                <a:latin typeface="Euphemia"/>
              </a:rPr>
              <a:t>e</a:t>
            </a:r>
            <a:r>
              <a:rPr lang="en-FI" spc="-1" dirty="0">
                <a:solidFill>
                  <a:srgbClr val="514843"/>
                </a:solidFill>
                <a:latin typeface="Euphemia"/>
              </a:rPr>
              <a:t>t </a:t>
            </a:r>
            <a:r>
              <a:rPr lang="de-DE" spc="-1" dirty="0">
                <a:solidFill>
                  <a:srgbClr val="514843"/>
                </a:solidFill>
                <a:latin typeface="Euphemia"/>
              </a:rPr>
              <a:t>u</a:t>
            </a:r>
            <a:r>
              <a:rPr lang="en-FI" spc="-1" dirty="0">
                <a:solidFill>
                  <a:srgbClr val="514843"/>
                </a:solidFill>
                <a:latin typeface="Euphemia"/>
              </a:rPr>
              <a:t>s</a:t>
            </a:r>
            <a:r>
              <a:rPr lang="de-DE" spc="-1" dirty="0">
                <a:solidFill>
                  <a:srgbClr val="514843"/>
                </a:solidFill>
                <a:latin typeface="Euphemia"/>
              </a:rPr>
              <a:t>a</a:t>
            </a:r>
            <a:r>
              <a:rPr lang="en-FI" spc="-1" dirty="0">
                <a:solidFill>
                  <a:srgbClr val="514843"/>
                </a:solidFill>
                <a:latin typeface="Euphemia"/>
              </a:rPr>
              <a:t>g</a:t>
            </a:r>
            <a:r>
              <a:rPr lang="de-DE" spc="-1" dirty="0">
                <a:solidFill>
                  <a:srgbClr val="514843"/>
                </a:solidFill>
                <a:latin typeface="Euphemia"/>
              </a:rPr>
              <a:t>e</a:t>
            </a:r>
            <a:r>
              <a:rPr lang="en-FI" spc="-1" dirty="0">
                <a:solidFill>
                  <a:srgbClr val="514843"/>
                </a:solidFill>
                <a:latin typeface="Euphemia"/>
              </a:rPr>
              <a:t>, </a:t>
            </a:r>
            <a:r>
              <a:rPr lang="de-DE" spc="-1" dirty="0">
                <a:solidFill>
                  <a:srgbClr val="514843"/>
                </a:solidFill>
                <a:latin typeface="Euphemia"/>
              </a:rPr>
              <a:t>i</a:t>
            </a:r>
            <a:r>
              <a:rPr lang="en-FI" spc="-1" dirty="0">
                <a:solidFill>
                  <a:srgbClr val="514843"/>
                </a:solidFill>
                <a:latin typeface="Euphemia"/>
              </a:rPr>
              <a:t>n </a:t>
            </a:r>
            <a:r>
              <a:rPr lang="de-DE" spc="-1" dirty="0">
                <a:solidFill>
                  <a:srgbClr val="514843"/>
                </a:solidFill>
                <a:latin typeface="Euphemia"/>
              </a:rPr>
              <a:t>p</a:t>
            </a:r>
            <a:r>
              <a:rPr lang="en-FI" spc="-1" dirty="0">
                <a:solidFill>
                  <a:srgbClr val="514843"/>
                </a:solidFill>
                <a:latin typeface="Euphemia"/>
              </a:rPr>
              <a:t>a</a:t>
            </a:r>
            <a:r>
              <a:rPr lang="de-DE" spc="-1" dirty="0">
                <a:solidFill>
                  <a:srgbClr val="514843"/>
                </a:solidFill>
                <a:latin typeface="Euphemia"/>
              </a:rPr>
              <a:t>r</a:t>
            </a:r>
            <a:r>
              <a:rPr lang="en-FI" spc="-1" dirty="0">
                <a:solidFill>
                  <a:srgbClr val="514843"/>
                </a:solidFill>
                <a:latin typeface="Euphemia"/>
              </a:rPr>
              <a:t>t</a:t>
            </a:r>
            <a:r>
              <a:rPr lang="de-DE" spc="-1" dirty="0">
                <a:solidFill>
                  <a:srgbClr val="514843"/>
                </a:solidFill>
                <a:latin typeface="Euphemia"/>
              </a:rPr>
              <a:t>i</a:t>
            </a:r>
            <a:r>
              <a:rPr lang="en-FI" spc="-1" dirty="0">
                <a:solidFill>
                  <a:srgbClr val="514843"/>
                </a:solidFill>
                <a:latin typeface="Euphemia"/>
              </a:rPr>
              <a:t>c</a:t>
            </a:r>
            <a:r>
              <a:rPr lang="de-DE" spc="-1" dirty="0">
                <a:solidFill>
                  <a:srgbClr val="514843"/>
                </a:solidFill>
                <a:latin typeface="Euphemia"/>
              </a:rPr>
              <a:t>u</a:t>
            </a:r>
            <a:r>
              <a:rPr lang="en-FI" spc="-1" dirty="0">
                <a:solidFill>
                  <a:srgbClr val="514843"/>
                </a:solidFill>
                <a:latin typeface="Euphemia"/>
              </a:rPr>
              <a:t>l</a:t>
            </a:r>
            <a:r>
              <a:rPr lang="de-DE" spc="-1" dirty="0">
                <a:solidFill>
                  <a:srgbClr val="514843"/>
                </a:solidFill>
                <a:latin typeface="Euphemia"/>
              </a:rPr>
              <a:t>a</a:t>
            </a:r>
            <a:r>
              <a:rPr lang="en-FI" spc="-1" dirty="0">
                <a:solidFill>
                  <a:srgbClr val="514843"/>
                </a:solidFill>
                <a:latin typeface="Euphemia"/>
              </a:rPr>
              <a:t>r </a:t>
            </a:r>
            <a:r>
              <a:rPr lang="de-DE" spc="-1" dirty="0">
                <a:solidFill>
                  <a:srgbClr val="514843"/>
                </a:solidFill>
                <a:latin typeface="Euphemia"/>
              </a:rPr>
              <a:t>B</a:t>
            </a:r>
            <a:r>
              <a:rPr lang="en-FI" spc="-1" dirty="0">
                <a:solidFill>
                  <a:srgbClr val="514843"/>
                </a:solidFill>
                <a:latin typeface="Euphemia"/>
              </a:rPr>
              <a:t>G</a:t>
            </a:r>
            <a:r>
              <a:rPr lang="de-DE" spc="-1" dirty="0">
                <a:solidFill>
                  <a:srgbClr val="514843"/>
                </a:solidFill>
                <a:latin typeface="Euphemia"/>
              </a:rPr>
              <a:t>I</a:t>
            </a:r>
            <a:r>
              <a:rPr lang="en-FI" spc="-1" dirty="0">
                <a:solidFill>
                  <a:srgbClr val="514843"/>
                </a:solidFill>
                <a:latin typeface="Euphemia"/>
              </a:rPr>
              <a:t>, </a:t>
            </a:r>
            <a:r>
              <a:rPr lang="de-DE" spc="-1" dirty="0">
                <a:solidFill>
                  <a:srgbClr val="514843"/>
                </a:solidFill>
                <a:latin typeface="Euphemia"/>
              </a:rPr>
              <a:t>i</a:t>
            </a:r>
            <a:r>
              <a:rPr lang="en-FI" spc="-1" dirty="0">
                <a:solidFill>
                  <a:srgbClr val="514843"/>
                </a:solidFill>
                <a:latin typeface="Euphemia"/>
              </a:rPr>
              <a:t>.</a:t>
            </a:r>
            <a:r>
              <a:rPr lang="de-DE" spc="-1" dirty="0">
                <a:solidFill>
                  <a:srgbClr val="514843"/>
                </a:solidFill>
                <a:latin typeface="Euphemia"/>
              </a:rPr>
              <a:t>e</a:t>
            </a:r>
            <a:r>
              <a:rPr lang="en-FI" spc="-1" dirty="0">
                <a:solidFill>
                  <a:srgbClr val="514843"/>
                </a:solidFill>
                <a:latin typeface="Euphemia"/>
              </a:rPr>
              <a:t>. </a:t>
            </a:r>
            <a:r>
              <a:rPr lang="de-DE" spc="-1" dirty="0">
                <a:solidFill>
                  <a:srgbClr val="514843"/>
                </a:solidFill>
                <a:latin typeface="Euphemia"/>
              </a:rPr>
              <a:t>B</a:t>
            </a:r>
            <a:r>
              <a:rPr lang="en-FI" spc="-1" dirty="0">
                <a:solidFill>
                  <a:srgbClr val="514843"/>
                </a:solidFill>
                <a:latin typeface="Euphemia"/>
              </a:rPr>
              <a:t>r</a:t>
            </a:r>
            <a:r>
              <a:rPr lang="de-DE" spc="-1" dirty="0">
                <a:solidFill>
                  <a:srgbClr val="514843"/>
                </a:solidFill>
                <a:latin typeface="Euphemia"/>
              </a:rPr>
              <a:t>o</a:t>
            </a:r>
            <a:r>
              <a:rPr lang="en-FI" spc="-1" dirty="0">
                <a:solidFill>
                  <a:srgbClr val="514843"/>
                </a:solidFill>
                <a:latin typeface="Euphemia"/>
              </a:rPr>
              <a:t>wser generated information</a:t>
            </a:r>
            <a:endParaRPr lang="de-DE" spc="-1" dirty="0">
              <a:solidFill>
                <a:srgbClr val="514843"/>
              </a:solidFill>
              <a:latin typeface="Euphemia"/>
            </a:endParaRPr>
          </a:p>
          <a:p>
            <a:pPr>
              <a:spcBef>
                <a:spcPts val="1800"/>
              </a:spcBef>
              <a:defRPr/>
            </a:pPr>
            <a:r>
              <a:rPr lang="en-FI" sz="2000" spc="-1" dirty="0">
                <a:solidFill>
                  <a:srgbClr val="514843"/>
                </a:solidFill>
                <a:latin typeface="Euphemia"/>
              </a:rPr>
              <a:t>QUESTION</a:t>
            </a:r>
            <a:endParaRPr lang="de-DE" sz="2000" spc="-1" dirty="0">
              <a:solidFill>
                <a:srgbClr val="514843"/>
              </a:solidFill>
              <a:latin typeface="Euphemia"/>
            </a:endParaRPr>
          </a:p>
          <a:p>
            <a:pPr lvl="1">
              <a:spcBef>
                <a:spcPts val="1800"/>
              </a:spcBef>
              <a:defRPr/>
            </a:pPr>
            <a:r>
              <a:rPr lang="en-FI" spc="-1" dirty="0">
                <a:solidFill>
                  <a:srgbClr val="514843"/>
                </a:solidFill>
                <a:latin typeface="Euphemia"/>
              </a:rPr>
              <a:t>For what harm can you claim damages?</a:t>
            </a:r>
            <a:endParaRPr lang="en-US" spc="-1" dirty="0">
              <a:solidFill>
                <a:srgbClr val="514843"/>
              </a:solidFill>
              <a:latin typeface="Euphemia"/>
            </a:endParaRPr>
          </a:p>
        </p:txBody>
      </p:sp>
      <p:sp>
        <p:nvSpPr>
          <p:cNvPr id="5" name="Rectangle: Rounded Corners 4">
            <a:extLst>
              <a:ext uri="{FF2B5EF4-FFF2-40B4-BE49-F238E27FC236}">
                <a16:creationId xmlns:a16="http://schemas.microsoft.com/office/drawing/2014/main" id="{332A0D97-E26A-4944-A0E6-7259F0196784}"/>
              </a:ext>
            </a:extLst>
          </p:cNvPr>
          <p:cNvSpPr/>
          <p:nvPr/>
        </p:nvSpPr>
        <p:spPr>
          <a:xfrm>
            <a:off x="1058176" y="4657298"/>
            <a:ext cx="10075648" cy="133065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dirty="0">
              <a:ln>
                <a:noFill/>
              </a:ln>
              <a:solidFill>
                <a:srgbClr val="FFFFFF"/>
              </a:solidFill>
              <a:effectLst/>
              <a:uLnTx/>
              <a:uFillTx/>
              <a:latin typeface="Euphemia"/>
              <a:ea typeface="+mn-ea"/>
              <a:cs typeface="+mn-cs"/>
            </a:endParaRPr>
          </a:p>
        </p:txBody>
      </p:sp>
      <p:sp>
        <p:nvSpPr>
          <p:cNvPr id="6" name="Subtitle 8">
            <a:extLst>
              <a:ext uri="{FF2B5EF4-FFF2-40B4-BE49-F238E27FC236}">
                <a16:creationId xmlns:a16="http://schemas.microsoft.com/office/drawing/2014/main" id="{67832F77-1C9F-4B11-A4DE-3E09AC1A098F}"/>
              </a:ext>
            </a:extLst>
          </p:cNvPr>
          <p:cNvSpPr txBox="1">
            <a:spLocks/>
          </p:cNvSpPr>
          <p:nvPr/>
        </p:nvSpPr>
        <p:spPr>
          <a:xfrm>
            <a:off x="1354635" y="5135219"/>
            <a:ext cx="9982199" cy="629906"/>
          </a:xfrm>
          <a:prstGeom prst="rect">
            <a:avLst/>
          </a:prstGeom>
        </p:spPr>
        <p:txBody>
          <a:bodyPr vert="horz" lIns="0" tIns="45720" rIns="0" bIns="45720" rtlCol="0">
            <a:normAutofit fontScale="25000" lnSpcReduction="20000"/>
          </a:bodyPr>
          <a:lstStyle>
            <a:lvl1pPr marL="228600" indent="-228600" algn="l" defTabSz="914400" rtl="0" eaLnBrk="1" latinLnBrk="0" hangingPunct="1">
              <a:lnSpc>
                <a:spcPct val="90000"/>
              </a:lnSpc>
              <a:spcBef>
                <a:spcPts val="1800"/>
              </a:spcBef>
              <a:buFont typeface="Wingdings" panose="05000000000000000000" pitchFamily="2" charset="2"/>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600"/>
              </a:spcBef>
              <a:buFont typeface="Wingdings" panose="05000000000000000000" pitchFamily="2" charset="2"/>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600"/>
              </a:spcBef>
              <a:buFont typeface="Wingdings" panose="05000000000000000000" pitchFamily="2" charset="2"/>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600"/>
              </a:spcBef>
              <a:buFont typeface="Wingdings" panose="05000000000000000000" pitchFamily="2" charset="2"/>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600"/>
              </a:spcBef>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Wingdings" panose="05000000000000000000" pitchFamily="2" charset="2"/>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Wingdings" panose="05000000000000000000" pitchFamily="2" charset="2"/>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Wingdings" panose="05000000000000000000" pitchFamily="2" charset="2"/>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Wingdings" panose="05000000000000000000" pitchFamily="2" charset="2"/>
              <a:buChar char="§"/>
              <a:defRPr sz="14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800"/>
              </a:spcBef>
              <a:spcAft>
                <a:spcPts val="0"/>
              </a:spcAft>
              <a:buClrTx/>
              <a:buSzTx/>
              <a:buFont typeface="Wingdings" panose="05000000000000000000" pitchFamily="2" charset="2"/>
              <a:buChar char="§"/>
              <a:tabLst/>
              <a:defRPr/>
            </a:pPr>
            <a:r>
              <a:rPr kumimoji="0" lang="en-GB" sz="9600" b="0" i="1" u="sng" strike="noStrike" kern="1200" cap="none" spc="0" normalizeH="0" baseline="0" noProof="0" dirty="0">
                <a:ln>
                  <a:noFill/>
                </a:ln>
                <a:solidFill>
                  <a:srgbClr val="FFFFFF"/>
                </a:solidFill>
                <a:effectLst/>
                <a:uLnTx/>
                <a:uFillTx/>
                <a:latin typeface="Euphemia"/>
                <a:ea typeface="+mn-ea"/>
                <a:cs typeface="+mn-cs"/>
                <a:hlinkClick r:id="rId4">
                  <a:extLst>
                    <a:ext uri="{A12FA001-AC4F-418D-AE19-62706E023703}">
                      <ahyp:hlinkClr xmlns:ahyp="http://schemas.microsoft.com/office/drawing/2018/hyperlinkcolor" val="tx"/>
                    </a:ext>
                  </a:extLst>
                </a:hlinkClick>
              </a:rPr>
              <a:t>Google v. Vidal-Hall</a:t>
            </a:r>
            <a:r>
              <a:rPr kumimoji="0" lang="en-GB" sz="9600" b="0" i="0" u="none" strike="noStrike" kern="1200" cap="none" spc="0" normalizeH="0" baseline="0" noProof="0" dirty="0">
                <a:ln>
                  <a:noFill/>
                </a:ln>
                <a:solidFill>
                  <a:srgbClr val="FFFFFF"/>
                </a:solidFill>
                <a:effectLst/>
                <a:uLnTx/>
                <a:uFillTx/>
                <a:latin typeface="Euphemia"/>
                <a:ea typeface="+mn-ea"/>
                <a:cs typeface="+mn-cs"/>
              </a:rPr>
              <a:t> [2015] EWCA </a:t>
            </a:r>
            <a:r>
              <a:rPr kumimoji="0" lang="en-GB" sz="9600" b="0" i="0" u="none" strike="noStrike" kern="1200" cap="none" spc="0" normalizeH="0" baseline="0" noProof="0" dirty="0" err="1">
                <a:ln>
                  <a:noFill/>
                </a:ln>
                <a:solidFill>
                  <a:srgbClr val="FFFFFF"/>
                </a:solidFill>
                <a:effectLst/>
                <a:uLnTx/>
                <a:uFillTx/>
                <a:latin typeface="Euphemia"/>
                <a:ea typeface="+mn-ea"/>
                <a:cs typeface="+mn-cs"/>
              </a:rPr>
              <a:t>Civ</a:t>
            </a:r>
            <a:r>
              <a:rPr kumimoji="0" lang="en-GB" sz="9600" b="0" i="0" u="none" strike="noStrike" kern="1200" cap="none" spc="0" normalizeH="0" baseline="0" noProof="0" dirty="0">
                <a:ln>
                  <a:noFill/>
                </a:ln>
                <a:solidFill>
                  <a:srgbClr val="FFFFFF"/>
                </a:solidFill>
                <a:effectLst/>
                <a:uLnTx/>
                <a:uFillTx/>
                <a:latin typeface="Euphemia"/>
                <a:ea typeface="+mn-ea"/>
                <a:cs typeface="+mn-cs"/>
              </a:rPr>
              <a:t> 311 [Damage for distress?]</a:t>
            </a:r>
            <a:endParaRPr kumimoji="0" lang="en-FI" sz="9600" b="0" i="0" u="none" strike="noStrike" kern="1200" cap="none" spc="0" normalizeH="0" baseline="0" noProof="0" dirty="0">
              <a:ln>
                <a:noFill/>
              </a:ln>
              <a:solidFill>
                <a:srgbClr val="FFFFFF"/>
              </a:solidFill>
              <a:effectLst/>
              <a:uLnTx/>
              <a:uFillTx/>
              <a:latin typeface="Euphemia"/>
              <a:ea typeface="+mn-ea"/>
              <a:cs typeface="+mn-cs"/>
            </a:endParaRPr>
          </a:p>
          <a:p>
            <a:pPr marL="228600" marR="0" lvl="0" indent="-228600" algn="l" defTabSz="914400" rtl="0" eaLnBrk="1" fontAlgn="auto" latinLnBrk="0" hangingPunct="1">
              <a:lnSpc>
                <a:spcPct val="90000"/>
              </a:lnSpc>
              <a:spcBef>
                <a:spcPts val="1800"/>
              </a:spcBef>
              <a:spcAft>
                <a:spcPts val="0"/>
              </a:spcAft>
              <a:buClrTx/>
              <a:buSzTx/>
              <a:buFont typeface="Wingdings" panose="05000000000000000000" pitchFamily="2" charset="2"/>
              <a:buChar char="§"/>
              <a:tabLst/>
              <a:defRPr/>
            </a:pPr>
            <a:r>
              <a:rPr kumimoji="0" lang="en-GB" sz="2000" b="0" i="0" u="none" strike="noStrike" kern="1200" cap="none" spc="0" normalizeH="0" baseline="0" noProof="0" dirty="0">
                <a:ln>
                  <a:noFill/>
                </a:ln>
                <a:solidFill>
                  <a:srgbClr val="FFFFFF"/>
                </a:solidFill>
                <a:effectLst/>
                <a:uLnTx/>
                <a:uFillTx/>
                <a:latin typeface="Euphemia"/>
                <a:ea typeface="+mn-ea"/>
                <a:cs typeface="+mn-cs"/>
              </a:rPr>
              <a:t> </a:t>
            </a:r>
          </a:p>
          <a:p>
            <a:pPr marL="228600" marR="0" lvl="0" indent="-228600" algn="l" defTabSz="914400" rtl="0" eaLnBrk="1" fontAlgn="auto" latinLnBrk="0" hangingPunct="1">
              <a:lnSpc>
                <a:spcPct val="90000"/>
              </a:lnSpc>
              <a:spcBef>
                <a:spcPts val="1800"/>
              </a:spcBef>
              <a:spcAft>
                <a:spcPts val="0"/>
              </a:spcAft>
              <a:buClrTx/>
              <a:buSzTx/>
              <a:buFont typeface="Wingdings" panose="05000000000000000000" pitchFamily="2" charset="2"/>
              <a:buChar char="§"/>
              <a:tabLst/>
              <a:defRPr/>
            </a:pPr>
            <a:r>
              <a:rPr kumimoji="0" lang="en-GB" sz="2000" b="0" i="0" u="none" strike="noStrike" kern="1200" cap="none" spc="0" normalizeH="0" baseline="0" noProof="0" dirty="0">
                <a:ln>
                  <a:noFill/>
                </a:ln>
                <a:solidFill>
                  <a:srgbClr val="514843"/>
                </a:solidFill>
                <a:effectLst/>
                <a:uLnTx/>
                <a:uFillTx/>
                <a:latin typeface="Euphemia"/>
                <a:ea typeface="+mn-ea"/>
                <a:cs typeface="+mn-cs"/>
              </a:rPr>
              <a:t> </a:t>
            </a:r>
          </a:p>
          <a:p>
            <a:pPr marL="228600" marR="0" lvl="0" indent="-228600" algn="l" defTabSz="914400" rtl="0" eaLnBrk="1" fontAlgn="auto" latinLnBrk="0" hangingPunct="1">
              <a:lnSpc>
                <a:spcPct val="90000"/>
              </a:lnSpc>
              <a:spcBef>
                <a:spcPts val="1800"/>
              </a:spcBef>
              <a:spcAft>
                <a:spcPts val="0"/>
              </a:spcAft>
              <a:buClrTx/>
              <a:buSzTx/>
              <a:buFont typeface="Wingdings" panose="05000000000000000000" pitchFamily="2" charset="2"/>
              <a:buChar char="§"/>
              <a:tabLst/>
              <a:defRPr/>
            </a:pPr>
            <a:endParaRPr kumimoji="0" lang="en-GB" sz="2000" b="0" i="0" u="none" strike="noStrike" kern="1200" cap="none" spc="0" normalizeH="0" baseline="0" noProof="0" dirty="0">
              <a:ln>
                <a:noFill/>
              </a:ln>
              <a:solidFill>
                <a:srgbClr val="514843"/>
              </a:solidFill>
              <a:effectLst/>
              <a:uLnTx/>
              <a:uFillTx/>
              <a:latin typeface="Euphemia"/>
              <a:ea typeface="+mn-ea"/>
              <a:cs typeface="+mn-cs"/>
            </a:endParaRPr>
          </a:p>
        </p:txBody>
      </p:sp>
    </p:spTree>
    <p:extLst>
      <p:ext uri="{BB962C8B-B14F-4D97-AF65-F5344CB8AC3E}">
        <p14:creationId xmlns:p14="http://schemas.microsoft.com/office/powerpoint/2010/main" val="3558569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rtlCol="0">
            <a:normAutofit/>
          </a:bodyPr>
          <a:lstStyle/>
          <a:p>
            <a:pPr>
              <a:defRPr/>
            </a:pPr>
            <a:r>
              <a:rPr lang="fr-CA" sz="2800" spc="-1" dirty="0">
                <a:solidFill>
                  <a:srgbClr val="514843"/>
                </a:solidFill>
                <a:latin typeface="Plantagenet Cherokee"/>
                <a:ea typeface="+mn-ea"/>
                <a:cs typeface="+mn-cs"/>
                <a:hlinkClick r:id="rId3">
                  <a:extLst>
                    <a:ext uri="{A12FA001-AC4F-418D-AE19-62706E023703}">
                      <ahyp:hlinkClr xmlns:ahyp="http://schemas.microsoft.com/office/drawing/2018/hyperlinkcolor" val="tx"/>
                    </a:ext>
                  </a:extLst>
                </a:hlinkClick>
              </a:rPr>
              <a:t>Case</a:t>
            </a:r>
            <a:r>
              <a:rPr lang="fr-CA" dirty="0">
                <a:solidFill>
                  <a:schemeClr val="tx1">
                    <a:lumMod val="75000"/>
                    <a:lumOff val="25000"/>
                  </a:schemeClr>
                </a:solidFill>
                <a:hlinkClick r:id="rId3"/>
              </a:rPr>
              <a:t> </a:t>
            </a:r>
            <a:r>
              <a:rPr lang="en-FI" sz="2800" spc="-1" dirty="0">
                <a:solidFill>
                  <a:srgbClr val="514843"/>
                </a:solidFill>
                <a:latin typeface="Plantagenet Cherokee"/>
                <a:ea typeface="+mn-ea"/>
                <a:cs typeface="+mn-cs"/>
              </a:rPr>
              <a:t>S</a:t>
            </a:r>
            <a:r>
              <a:rPr lang="de-DE" dirty="0">
                <a:solidFill>
                  <a:schemeClr val="tx1">
                    <a:lumMod val="75000"/>
                    <a:lumOff val="25000"/>
                  </a:schemeClr>
                </a:solidFill>
              </a:rPr>
              <a:t>u</a:t>
            </a:r>
            <a:r>
              <a:rPr lang="en-FI" dirty="0">
                <a:solidFill>
                  <a:schemeClr val="tx1">
                    <a:lumMod val="75000"/>
                    <a:lumOff val="25000"/>
                  </a:schemeClr>
                </a:solidFill>
              </a:rPr>
              <a:t>m</a:t>
            </a:r>
            <a:r>
              <a:rPr lang="de-DE" dirty="0">
                <a:solidFill>
                  <a:schemeClr val="tx1">
                    <a:lumMod val="75000"/>
                    <a:lumOff val="25000"/>
                  </a:schemeClr>
                </a:solidFill>
              </a:rPr>
              <a:t>m</a:t>
            </a:r>
            <a:r>
              <a:rPr lang="en-FI" dirty="0">
                <a:solidFill>
                  <a:schemeClr val="tx1">
                    <a:lumMod val="75000"/>
                    <a:lumOff val="25000"/>
                  </a:schemeClr>
                </a:solidFill>
              </a:rPr>
              <a:t>a</a:t>
            </a:r>
            <a:r>
              <a:rPr lang="de-DE" dirty="0">
                <a:solidFill>
                  <a:schemeClr val="tx1">
                    <a:lumMod val="75000"/>
                    <a:lumOff val="25000"/>
                  </a:schemeClr>
                </a:solidFill>
              </a:rPr>
              <a:t>r</a:t>
            </a:r>
            <a:r>
              <a:rPr lang="en-FI" dirty="0">
                <a:solidFill>
                  <a:schemeClr val="tx1">
                    <a:lumMod val="75000"/>
                    <a:lumOff val="25000"/>
                  </a:schemeClr>
                </a:solidFill>
              </a:rPr>
              <a:t>y </a:t>
            </a:r>
            <a:r>
              <a:rPr lang="de-DE" dirty="0">
                <a:solidFill>
                  <a:schemeClr val="tx1">
                    <a:lumMod val="75000"/>
                    <a:lumOff val="25000"/>
                  </a:schemeClr>
                </a:solidFill>
              </a:rPr>
              <a:t>G</a:t>
            </a:r>
            <a:r>
              <a:rPr lang="en-FI" dirty="0">
                <a:solidFill>
                  <a:schemeClr val="tx1">
                    <a:lumMod val="75000"/>
                    <a:lumOff val="25000"/>
                  </a:schemeClr>
                </a:solidFill>
              </a:rPr>
              <a:t>o</a:t>
            </a:r>
            <a:r>
              <a:rPr lang="de-DE" dirty="0">
                <a:solidFill>
                  <a:schemeClr val="tx1">
                    <a:lumMod val="75000"/>
                    <a:lumOff val="25000"/>
                  </a:schemeClr>
                </a:solidFill>
              </a:rPr>
              <a:t>o</a:t>
            </a:r>
            <a:r>
              <a:rPr lang="en-FI" dirty="0">
                <a:solidFill>
                  <a:schemeClr val="tx1">
                    <a:lumMod val="75000"/>
                    <a:lumOff val="25000"/>
                  </a:schemeClr>
                </a:solidFill>
              </a:rPr>
              <a:t>g</a:t>
            </a:r>
            <a:r>
              <a:rPr lang="de-DE" dirty="0">
                <a:solidFill>
                  <a:schemeClr val="tx1">
                    <a:lumMod val="75000"/>
                    <a:lumOff val="25000"/>
                  </a:schemeClr>
                </a:solidFill>
              </a:rPr>
              <a:t>l</a:t>
            </a:r>
            <a:r>
              <a:rPr lang="en-FI" dirty="0">
                <a:solidFill>
                  <a:schemeClr val="tx1">
                    <a:lumMod val="75000"/>
                    <a:lumOff val="25000"/>
                  </a:schemeClr>
                </a:solidFill>
              </a:rPr>
              <a:t>e </a:t>
            </a:r>
            <a:r>
              <a:rPr lang="de-DE" dirty="0">
                <a:solidFill>
                  <a:schemeClr val="tx1">
                    <a:lumMod val="75000"/>
                    <a:lumOff val="25000"/>
                  </a:schemeClr>
                </a:solidFill>
              </a:rPr>
              <a:t>v</a:t>
            </a:r>
            <a:r>
              <a:rPr lang="en-FI" dirty="0">
                <a:solidFill>
                  <a:schemeClr val="tx1">
                    <a:lumMod val="75000"/>
                    <a:lumOff val="25000"/>
                  </a:schemeClr>
                </a:solidFill>
              </a:rPr>
              <a:t>. </a:t>
            </a:r>
            <a:r>
              <a:rPr lang="de-DE" dirty="0">
                <a:solidFill>
                  <a:schemeClr val="tx1">
                    <a:lumMod val="75000"/>
                    <a:lumOff val="25000"/>
                  </a:schemeClr>
                </a:solidFill>
              </a:rPr>
              <a:t>V</a:t>
            </a:r>
            <a:r>
              <a:rPr lang="en-FI" dirty="0" err="1">
                <a:solidFill>
                  <a:schemeClr val="tx1">
                    <a:lumMod val="75000"/>
                    <a:lumOff val="25000"/>
                  </a:schemeClr>
                </a:solidFill>
              </a:rPr>
              <a:t>i</a:t>
            </a:r>
            <a:r>
              <a:rPr lang="de-DE" dirty="0">
                <a:solidFill>
                  <a:schemeClr val="tx1">
                    <a:lumMod val="75000"/>
                    <a:lumOff val="25000"/>
                  </a:schemeClr>
                </a:solidFill>
              </a:rPr>
              <a:t>d</a:t>
            </a:r>
            <a:r>
              <a:rPr lang="en-FI" dirty="0">
                <a:solidFill>
                  <a:schemeClr val="tx1">
                    <a:lumMod val="75000"/>
                    <a:lumOff val="25000"/>
                  </a:schemeClr>
                </a:solidFill>
              </a:rPr>
              <a:t>a</a:t>
            </a:r>
            <a:r>
              <a:rPr lang="de-DE" dirty="0">
                <a:solidFill>
                  <a:schemeClr val="tx1">
                    <a:lumMod val="75000"/>
                    <a:lumOff val="25000"/>
                  </a:schemeClr>
                </a:solidFill>
              </a:rPr>
              <a:t>l</a:t>
            </a:r>
            <a:r>
              <a:rPr lang="en-FI" dirty="0">
                <a:solidFill>
                  <a:schemeClr val="tx1">
                    <a:lumMod val="75000"/>
                    <a:lumOff val="25000"/>
                  </a:schemeClr>
                </a:solidFill>
              </a:rPr>
              <a:t> </a:t>
            </a:r>
            <a:endParaRPr lang="fr-CA" dirty="0">
              <a:solidFill>
                <a:schemeClr val="tx1">
                  <a:lumMod val="75000"/>
                  <a:lumOff val="25000"/>
                </a:schemeClr>
              </a:solidFill>
            </a:endParaRPr>
          </a:p>
        </p:txBody>
      </p:sp>
      <p:sp>
        <p:nvSpPr>
          <p:cNvPr id="3" name="Content Placeholder 2"/>
          <p:cNvSpPr>
            <a:spLocks noGrp="1"/>
          </p:cNvSpPr>
          <p:nvPr>
            <p:ph idx="1"/>
          </p:nvPr>
        </p:nvSpPr>
        <p:spPr/>
        <p:txBody>
          <a:bodyPr/>
          <a:lstStyle/>
          <a:p>
            <a:pPr>
              <a:spcBef>
                <a:spcPts val="1800"/>
              </a:spcBef>
              <a:defRPr/>
            </a:pPr>
            <a:r>
              <a:rPr lang="de-DE" sz="2000" spc="-1" dirty="0">
                <a:solidFill>
                  <a:srgbClr val="514843"/>
                </a:solidFill>
                <a:latin typeface="Euphemia"/>
              </a:rPr>
              <a:t>DECISION</a:t>
            </a:r>
          </a:p>
          <a:p>
            <a:pPr lvl="1">
              <a:spcBef>
                <a:spcPts val="1800"/>
              </a:spcBef>
              <a:defRPr/>
            </a:pPr>
            <a:r>
              <a:rPr lang="de-DE" spc="-1" dirty="0">
                <a:solidFill>
                  <a:srgbClr val="514843"/>
                </a:solidFill>
                <a:latin typeface="Euphemia"/>
              </a:rPr>
              <a:t>M</a:t>
            </a:r>
            <a:r>
              <a:rPr lang="en-FI" spc="-1" dirty="0" err="1">
                <a:solidFill>
                  <a:srgbClr val="514843"/>
                </a:solidFill>
                <a:latin typeface="Euphemia"/>
              </a:rPr>
              <a:t>isu</a:t>
            </a:r>
            <a:r>
              <a:rPr lang="de-DE" spc="-1" dirty="0">
                <a:solidFill>
                  <a:srgbClr val="514843"/>
                </a:solidFill>
                <a:latin typeface="Euphemia"/>
              </a:rPr>
              <a:t>s</a:t>
            </a:r>
            <a:r>
              <a:rPr lang="en-FI" spc="-1" dirty="0">
                <a:solidFill>
                  <a:srgbClr val="514843"/>
                </a:solidFill>
                <a:latin typeface="Euphemia"/>
              </a:rPr>
              <a:t>e </a:t>
            </a:r>
            <a:r>
              <a:rPr lang="de-DE" spc="-1" dirty="0">
                <a:solidFill>
                  <a:srgbClr val="514843"/>
                </a:solidFill>
                <a:latin typeface="Euphemia"/>
              </a:rPr>
              <a:t>o</a:t>
            </a:r>
            <a:r>
              <a:rPr lang="en-FI" spc="-1" dirty="0">
                <a:solidFill>
                  <a:srgbClr val="514843"/>
                </a:solidFill>
                <a:latin typeface="Euphemia"/>
              </a:rPr>
              <a:t>f </a:t>
            </a:r>
            <a:r>
              <a:rPr lang="de-DE" spc="-1" dirty="0">
                <a:solidFill>
                  <a:srgbClr val="514843"/>
                </a:solidFill>
                <a:latin typeface="Euphemia"/>
              </a:rPr>
              <a:t>p</a:t>
            </a:r>
            <a:r>
              <a:rPr lang="en-FI" spc="-1" dirty="0" err="1">
                <a:solidFill>
                  <a:srgbClr val="514843"/>
                </a:solidFill>
                <a:latin typeface="Euphemia"/>
              </a:rPr>
              <a:t>ersonal</a:t>
            </a:r>
            <a:r>
              <a:rPr lang="en-FI" spc="-1" dirty="0">
                <a:solidFill>
                  <a:srgbClr val="514843"/>
                </a:solidFill>
                <a:latin typeface="Euphemia"/>
              </a:rPr>
              <a:t> data is a tort</a:t>
            </a:r>
          </a:p>
          <a:p>
            <a:pPr lvl="1">
              <a:spcBef>
                <a:spcPts val="1800"/>
              </a:spcBef>
              <a:defRPr/>
            </a:pPr>
            <a:r>
              <a:rPr lang="de-DE" spc="-1" dirty="0">
                <a:solidFill>
                  <a:srgbClr val="514843"/>
                </a:solidFill>
                <a:latin typeface="Euphemia"/>
              </a:rPr>
              <a:t>C</a:t>
            </a:r>
            <a:r>
              <a:rPr lang="en-FI" spc="-1" dirty="0" err="1">
                <a:solidFill>
                  <a:srgbClr val="514843"/>
                </a:solidFill>
                <a:latin typeface="Euphemia"/>
              </a:rPr>
              <a:t>laimants</a:t>
            </a:r>
            <a:r>
              <a:rPr lang="en-FI" spc="-1" dirty="0">
                <a:solidFill>
                  <a:srgbClr val="514843"/>
                </a:solidFill>
                <a:latin typeface="Euphemia"/>
              </a:rPr>
              <a:t> may recover </a:t>
            </a:r>
            <a:r>
              <a:rPr lang="de-DE" spc="-1" dirty="0">
                <a:solidFill>
                  <a:srgbClr val="514843"/>
                </a:solidFill>
                <a:latin typeface="Euphemia"/>
              </a:rPr>
              <a:t>d</a:t>
            </a:r>
            <a:r>
              <a:rPr lang="en-FI" spc="-1" dirty="0">
                <a:solidFill>
                  <a:srgbClr val="514843"/>
                </a:solidFill>
                <a:latin typeface="Euphemia"/>
              </a:rPr>
              <a:t>a</a:t>
            </a:r>
            <a:r>
              <a:rPr lang="de-DE" spc="-1" dirty="0">
                <a:solidFill>
                  <a:srgbClr val="514843"/>
                </a:solidFill>
                <a:latin typeface="Euphemia"/>
              </a:rPr>
              <a:t>m</a:t>
            </a:r>
            <a:r>
              <a:rPr lang="en-FI" spc="-1" dirty="0">
                <a:solidFill>
                  <a:srgbClr val="514843"/>
                </a:solidFill>
                <a:latin typeface="Euphemia"/>
              </a:rPr>
              <a:t>a</a:t>
            </a:r>
            <a:r>
              <a:rPr lang="de-DE" spc="-1" dirty="0">
                <a:solidFill>
                  <a:srgbClr val="514843"/>
                </a:solidFill>
                <a:latin typeface="Euphemia"/>
              </a:rPr>
              <a:t>g</a:t>
            </a:r>
            <a:r>
              <a:rPr lang="en-FI" spc="-1" dirty="0">
                <a:solidFill>
                  <a:srgbClr val="514843"/>
                </a:solidFill>
                <a:latin typeface="Euphemia"/>
              </a:rPr>
              <a:t>e</a:t>
            </a:r>
            <a:r>
              <a:rPr lang="de-DE" spc="-1" dirty="0">
                <a:solidFill>
                  <a:srgbClr val="514843"/>
                </a:solidFill>
                <a:latin typeface="Euphemia"/>
              </a:rPr>
              <a:t>s</a:t>
            </a:r>
            <a:r>
              <a:rPr lang="en-FI" spc="-1" dirty="0">
                <a:solidFill>
                  <a:srgbClr val="514843"/>
                </a:solidFill>
                <a:latin typeface="Euphemia"/>
              </a:rPr>
              <a:t> </a:t>
            </a:r>
            <a:r>
              <a:rPr lang="de-DE" spc="-1" dirty="0">
                <a:solidFill>
                  <a:srgbClr val="514843"/>
                </a:solidFill>
                <a:latin typeface="Euphemia"/>
              </a:rPr>
              <a:t>f</a:t>
            </a:r>
            <a:r>
              <a:rPr lang="en-FI" spc="-1" dirty="0">
                <a:solidFill>
                  <a:srgbClr val="514843"/>
                </a:solidFill>
                <a:latin typeface="Euphemia"/>
              </a:rPr>
              <a:t>o</a:t>
            </a:r>
            <a:r>
              <a:rPr lang="de-DE" spc="-1" dirty="0">
                <a:solidFill>
                  <a:srgbClr val="514843"/>
                </a:solidFill>
                <a:latin typeface="Euphemia"/>
              </a:rPr>
              <a:t>r</a:t>
            </a:r>
            <a:r>
              <a:rPr lang="en-FI" spc="-1" dirty="0">
                <a:solidFill>
                  <a:srgbClr val="514843"/>
                </a:solidFill>
                <a:latin typeface="Euphemia"/>
              </a:rPr>
              <a:t> non-</a:t>
            </a:r>
            <a:r>
              <a:rPr lang="en-FI" spc="-1" dirty="0" err="1">
                <a:solidFill>
                  <a:srgbClr val="514843"/>
                </a:solidFill>
                <a:latin typeface="Euphemia"/>
              </a:rPr>
              <a:t>pecun</a:t>
            </a:r>
            <a:r>
              <a:rPr lang="de-DE" spc="-1" dirty="0">
                <a:solidFill>
                  <a:srgbClr val="514843"/>
                </a:solidFill>
                <a:latin typeface="Euphemia"/>
              </a:rPr>
              <a:t>i</a:t>
            </a:r>
            <a:r>
              <a:rPr lang="en-FI" spc="-1" dirty="0" err="1">
                <a:solidFill>
                  <a:srgbClr val="514843"/>
                </a:solidFill>
                <a:latin typeface="Euphemia"/>
              </a:rPr>
              <a:t>ary</a:t>
            </a:r>
            <a:r>
              <a:rPr lang="en-FI" spc="-1" dirty="0">
                <a:solidFill>
                  <a:srgbClr val="514843"/>
                </a:solidFill>
                <a:latin typeface="Euphemia"/>
              </a:rPr>
              <a:t> </a:t>
            </a:r>
            <a:r>
              <a:rPr lang="de-DE" spc="-1" dirty="0">
                <a:solidFill>
                  <a:srgbClr val="514843"/>
                </a:solidFill>
                <a:latin typeface="Euphemia"/>
              </a:rPr>
              <a:t>d</a:t>
            </a:r>
            <a:r>
              <a:rPr lang="en-FI" spc="-1" dirty="0">
                <a:solidFill>
                  <a:srgbClr val="514843"/>
                </a:solidFill>
                <a:latin typeface="Euphemia"/>
              </a:rPr>
              <a:t>a</a:t>
            </a:r>
            <a:r>
              <a:rPr lang="de-DE" spc="-1" dirty="0">
                <a:solidFill>
                  <a:srgbClr val="514843"/>
                </a:solidFill>
                <a:latin typeface="Euphemia"/>
              </a:rPr>
              <a:t>m</a:t>
            </a:r>
            <a:r>
              <a:rPr lang="en-FI" spc="-1" dirty="0">
                <a:solidFill>
                  <a:srgbClr val="514843"/>
                </a:solidFill>
                <a:latin typeface="Euphemia"/>
              </a:rPr>
              <a:t>a</a:t>
            </a:r>
            <a:r>
              <a:rPr lang="de-DE" spc="-1" dirty="0">
                <a:solidFill>
                  <a:srgbClr val="514843"/>
                </a:solidFill>
                <a:latin typeface="Euphemia"/>
              </a:rPr>
              <a:t>g</a:t>
            </a:r>
            <a:r>
              <a:rPr lang="en-FI" spc="-1" dirty="0">
                <a:solidFill>
                  <a:srgbClr val="514843"/>
                </a:solidFill>
                <a:latin typeface="Euphemia"/>
              </a:rPr>
              <a:t>e</a:t>
            </a:r>
            <a:r>
              <a:rPr lang="de-DE" spc="-1" dirty="0">
                <a:solidFill>
                  <a:srgbClr val="514843"/>
                </a:solidFill>
                <a:latin typeface="Euphemia"/>
              </a:rPr>
              <a:t>s</a:t>
            </a:r>
            <a:r>
              <a:rPr lang="en-FI" spc="-1" dirty="0">
                <a:solidFill>
                  <a:srgbClr val="514843"/>
                </a:solidFill>
                <a:latin typeface="Euphemia"/>
              </a:rPr>
              <a:t> </a:t>
            </a:r>
          </a:p>
          <a:p>
            <a:pPr lvl="1">
              <a:spcBef>
                <a:spcPts val="1800"/>
              </a:spcBef>
              <a:defRPr/>
            </a:pPr>
            <a:r>
              <a:rPr lang="en-FI" spc="-1" dirty="0">
                <a:solidFill>
                  <a:srgbClr val="514843"/>
                </a:solidFill>
                <a:latin typeface="Euphemia"/>
              </a:rPr>
              <a:t>The directive as implemented in UK law protects privacy as a </a:t>
            </a:r>
            <a:r>
              <a:rPr lang="de-DE" spc="-1" dirty="0">
                <a:solidFill>
                  <a:srgbClr val="514843"/>
                </a:solidFill>
                <a:latin typeface="Euphemia"/>
              </a:rPr>
              <a:t>w</a:t>
            </a:r>
            <a:r>
              <a:rPr lang="en-FI" spc="-1" dirty="0">
                <a:solidFill>
                  <a:srgbClr val="514843"/>
                </a:solidFill>
                <a:latin typeface="Euphemia"/>
              </a:rPr>
              <a:t>h</a:t>
            </a:r>
            <a:r>
              <a:rPr lang="de-DE" spc="-1" dirty="0">
                <a:solidFill>
                  <a:srgbClr val="514843"/>
                </a:solidFill>
                <a:latin typeface="Euphemia"/>
              </a:rPr>
              <a:t>o</a:t>
            </a:r>
            <a:r>
              <a:rPr lang="en-FI" spc="-1" dirty="0">
                <a:solidFill>
                  <a:srgbClr val="514843"/>
                </a:solidFill>
                <a:latin typeface="Euphemia"/>
              </a:rPr>
              <a:t>l</a:t>
            </a:r>
            <a:r>
              <a:rPr lang="de-DE" spc="-1" dirty="0">
                <a:solidFill>
                  <a:srgbClr val="514843"/>
                </a:solidFill>
                <a:latin typeface="Euphemia"/>
              </a:rPr>
              <a:t>e</a:t>
            </a:r>
            <a:r>
              <a:rPr lang="en-FI" spc="-1" dirty="0">
                <a:solidFill>
                  <a:srgbClr val="514843"/>
                </a:solidFill>
                <a:latin typeface="Euphemia"/>
              </a:rPr>
              <a:t>, </a:t>
            </a:r>
            <a:r>
              <a:rPr lang="de-DE" spc="-1" dirty="0">
                <a:solidFill>
                  <a:srgbClr val="514843"/>
                </a:solidFill>
                <a:latin typeface="Euphemia"/>
              </a:rPr>
              <a:t>n</a:t>
            </a:r>
            <a:r>
              <a:rPr lang="en-FI" spc="-1" dirty="0">
                <a:solidFill>
                  <a:srgbClr val="514843"/>
                </a:solidFill>
                <a:latin typeface="Euphemia"/>
              </a:rPr>
              <a:t>o</a:t>
            </a:r>
            <a:r>
              <a:rPr lang="de-DE" spc="-1" dirty="0">
                <a:solidFill>
                  <a:srgbClr val="514843"/>
                </a:solidFill>
                <a:latin typeface="Euphemia"/>
              </a:rPr>
              <a:t>t</a:t>
            </a:r>
            <a:r>
              <a:rPr lang="en-FI" spc="-1" dirty="0">
                <a:solidFill>
                  <a:srgbClr val="514843"/>
                </a:solidFill>
                <a:latin typeface="Euphemia"/>
              </a:rPr>
              <a:t> </a:t>
            </a:r>
            <a:r>
              <a:rPr lang="de-DE" spc="-1" dirty="0">
                <a:solidFill>
                  <a:srgbClr val="514843"/>
                </a:solidFill>
                <a:latin typeface="Euphemia"/>
              </a:rPr>
              <a:t>j</a:t>
            </a:r>
            <a:r>
              <a:rPr lang="en-FI" spc="-1" dirty="0">
                <a:solidFill>
                  <a:srgbClr val="514843"/>
                </a:solidFill>
                <a:latin typeface="Euphemia"/>
              </a:rPr>
              <a:t>u</a:t>
            </a:r>
            <a:r>
              <a:rPr lang="de-DE" spc="-1" dirty="0">
                <a:solidFill>
                  <a:srgbClr val="514843"/>
                </a:solidFill>
                <a:latin typeface="Euphemia"/>
              </a:rPr>
              <a:t>s</a:t>
            </a:r>
            <a:r>
              <a:rPr lang="en-FI" spc="-1" dirty="0">
                <a:solidFill>
                  <a:srgbClr val="514843"/>
                </a:solidFill>
                <a:latin typeface="Euphemia"/>
              </a:rPr>
              <a:t>t </a:t>
            </a:r>
            <a:r>
              <a:rPr lang="de-DE" spc="-1" dirty="0">
                <a:solidFill>
                  <a:srgbClr val="514843"/>
                </a:solidFill>
                <a:latin typeface="Euphemia"/>
              </a:rPr>
              <a:t>e</a:t>
            </a:r>
            <a:r>
              <a:rPr lang="en-FI" spc="-1" dirty="0">
                <a:solidFill>
                  <a:srgbClr val="514843"/>
                </a:solidFill>
                <a:latin typeface="Euphemia"/>
              </a:rPr>
              <a:t>c</a:t>
            </a:r>
            <a:r>
              <a:rPr lang="de-DE" spc="-1" dirty="0">
                <a:solidFill>
                  <a:srgbClr val="514843"/>
                </a:solidFill>
                <a:latin typeface="Euphemia"/>
              </a:rPr>
              <a:t>o</a:t>
            </a:r>
            <a:r>
              <a:rPr lang="en-FI" spc="-1" dirty="0">
                <a:solidFill>
                  <a:srgbClr val="514843"/>
                </a:solidFill>
                <a:latin typeface="Euphemia"/>
              </a:rPr>
              <a:t>n</a:t>
            </a:r>
            <a:r>
              <a:rPr lang="de-DE" spc="-1" dirty="0">
                <a:solidFill>
                  <a:srgbClr val="514843"/>
                </a:solidFill>
                <a:latin typeface="Euphemia"/>
              </a:rPr>
              <a:t>o</a:t>
            </a:r>
            <a:r>
              <a:rPr lang="en-FI" spc="-1" dirty="0">
                <a:solidFill>
                  <a:srgbClr val="514843"/>
                </a:solidFill>
                <a:latin typeface="Euphemia"/>
              </a:rPr>
              <a:t>m</a:t>
            </a:r>
            <a:r>
              <a:rPr lang="de-DE" spc="-1" dirty="0">
                <a:solidFill>
                  <a:srgbClr val="514843"/>
                </a:solidFill>
                <a:latin typeface="Euphemia"/>
              </a:rPr>
              <a:t>i</a:t>
            </a:r>
            <a:r>
              <a:rPr lang="en-FI" spc="-1" dirty="0">
                <a:solidFill>
                  <a:srgbClr val="514843"/>
                </a:solidFill>
                <a:latin typeface="Euphemia"/>
              </a:rPr>
              <a:t>c </a:t>
            </a:r>
            <a:r>
              <a:rPr lang="de-DE" spc="-1" dirty="0">
                <a:solidFill>
                  <a:srgbClr val="514843"/>
                </a:solidFill>
                <a:latin typeface="Euphemia"/>
              </a:rPr>
              <a:t>r</a:t>
            </a:r>
            <a:r>
              <a:rPr lang="en-FI" spc="-1" dirty="0" err="1">
                <a:solidFill>
                  <a:srgbClr val="514843"/>
                </a:solidFill>
                <a:latin typeface="Euphemia"/>
              </a:rPr>
              <a:t>i</a:t>
            </a:r>
            <a:r>
              <a:rPr lang="de-DE" spc="-1" dirty="0">
                <a:solidFill>
                  <a:srgbClr val="514843"/>
                </a:solidFill>
                <a:latin typeface="Euphemia"/>
              </a:rPr>
              <a:t>g</a:t>
            </a:r>
            <a:r>
              <a:rPr lang="en-FI" spc="-1" dirty="0">
                <a:solidFill>
                  <a:srgbClr val="514843"/>
                </a:solidFill>
                <a:latin typeface="Euphemia"/>
              </a:rPr>
              <a:t>h</a:t>
            </a:r>
            <a:r>
              <a:rPr lang="de-DE" spc="-1" dirty="0">
                <a:solidFill>
                  <a:srgbClr val="514843"/>
                </a:solidFill>
                <a:latin typeface="Euphemia"/>
              </a:rPr>
              <a:t>t</a:t>
            </a:r>
            <a:r>
              <a:rPr lang="en-FI" spc="-1" dirty="0">
                <a:solidFill>
                  <a:srgbClr val="514843"/>
                </a:solidFill>
                <a:latin typeface="Euphemia"/>
              </a:rPr>
              <a:t>s</a:t>
            </a:r>
          </a:p>
          <a:p>
            <a:pPr>
              <a:spcBef>
                <a:spcPts val="1800"/>
              </a:spcBef>
              <a:defRPr/>
            </a:pPr>
            <a:r>
              <a:rPr lang="en-FI" sz="2000" spc="-1" dirty="0">
                <a:solidFill>
                  <a:srgbClr val="514843"/>
                </a:solidFill>
                <a:latin typeface="Euphemia"/>
              </a:rPr>
              <a:t>IMPORTANCE</a:t>
            </a:r>
          </a:p>
          <a:p>
            <a:pPr lvl="1">
              <a:spcBef>
                <a:spcPts val="1800"/>
              </a:spcBef>
              <a:defRPr/>
            </a:pPr>
            <a:r>
              <a:rPr lang="en-FI" spc="-1" dirty="0">
                <a:solidFill>
                  <a:srgbClr val="514843"/>
                </a:solidFill>
                <a:latin typeface="Euphemia"/>
              </a:rPr>
              <a:t>Landmark case.</a:t>
            </a:r>
          </a:p>
          <a:p>
            <a:pPr lvl="1">
              <a:spcBef>
                <a:spcPts val="1800"/>
              </a:spcBef>
              <a:defRPr/>
            </a:pPr>
            <a:r>
              <a:rPr lang="en-FI" spc="-1" dirty="0">
                <a:solidFill>
                  <a:srgbClr val="514843"/>
                </a:solidFill>
                <a:latin typeface="Euphemia"/>
              </a:rPr>
              <a:t>GDPR now recognizes this Europe wide </a:t>
            </a:r>
            <a:endParaRPr lang="en-US" spc="-1" dirty="0">
              <a:solidFill>
                <a:srgbClr val="514843"/>
              </a:solidFill>
              <a:latin typeface="Euphemia"/>
            </a:endParaRPr>
          </a:p>
        </p:txBody>
      </p:sp>
    </p:spTree>
    <p:extLst>
      <p:ext uri="{BB962C8B-B14F-4D97-AF65-F5344CB8AC3E}">
        <p14:creationId xmlns:p14="http://schemas.microsoft.com/office/powerpoint/2010/main" val="1413573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rtlCol="0">
            <a:normAutofit/>
          </a:bodyPr>
          <a:lstStyle/>
          <a:p>
            <a:pPr>
              <a:defRPr/>
            </a:pPr>
            <a:r>
              <a:rPr lang="fr-CA" sz="2800" spc="-1" dirty="0">
                <a:solidFill>
                  <a:srgbClr val="514843"/>
                </a:solidFill>
                <a:latin typeface="Plantagenet Cherokee"/>
                <a:ea typeface="+mn-ea"/>
                <a:cs typeface="+mn-cs"/>
                <a:hlinkClick r:id="rId3">
                  <a:extLst>
                    <a:ext uri="{A12FA001-AC4F-418D-AE19-62706E023703}">
                      <ahyp:hlinkClr xmlns:ahyp="http://schemas.microsoft.com/office/drawing/2018/hyperlinkcolor" val="tx"/>
                    </a:ext>
                  </a:extLst>
                </a:hlinkClick>
              </a:rPr>
              <a:t>Case</a:t>
            </a:r>
            <a:r>
              <a:rPr lang="fr-CA" dirty="0">
                <a:solidFill>
                  <a:schemeClr val="tx1">
                    <a:lumMod val="75000"/>
                    <a:lumOff val="25000"/>
                  </a:schemeClr>
                </a:solidFill>
                <a:hlinkClick r:id="rId3"/>
              </a:rPr>
              <a:t> </a:t>
            </a:r>
            <a:r>
              <a:rPr lang="en-FI" sz="2800" spc="-1" dirty="0">
                <a:solidFill>
                  <a:srgbClr val="514843"/>
                </a:solidFill>
                <a:latin typeface="Plantagenet Cherokee"/>
                <a:ea typeface="+mn-ea"/>
                <a:cs typeface="+mn-cs"/>
              </a:rPr>
              <a:t>S</a:t>
            </a:r>
            <a:r>
              <a:rPr lang="de-DE" dirty="0">
                <a:solidFill>
                  <a:schemeClr val="tx1">
                    <a:lumMod val="75000"/>
                    <a:lumOff val="25000"/>
                  </a:schemeClr>
                </a:solidFill>
              </a:rPr>
              <a:t>u</a:t>
            </a:r>
            <a:r>
              <a:rPr lang="en-FI" dirty="0">
                <a:solidFill>
                  <a:schemeClr val="tx1">
                    <a:lumMod val="75000"/>
                    <a:lumOff val="25000"/>
                  </a:schemeClr>
                </a:solidFill>
              </a:rPr>
              <a:t>m</a:t>
            </a:r>
            <a:r>
              <a:rPr lang="de-DE" dirty="0">
                <a:solidFill>
                  <a:schemeClr val="tx1">
                    <a:lumMod val="75000"/>
                    <a:lumOff val="25000"/>
                  </a:schemeClr>
                </a:solidFill>
              </a:rPr>
              <a:t>m</a:t>
            </a:r>
            <a:r>
              <a:rPr lang="en-FI" dirty="0">
                <a:solidFill>
                  <a:schemeClr val="tx1">
                    <a:lumMod val="75000"/>
                    <a:lumOff val="25000"/>
                  </a:schemeClr>
                </a:solidFill>
              </a:rPr>
              <a:t>a</a:t>
            </a:r>
            <a:r>
              <a:rPr lang="de-DE" dirty="0">
                <a:solidFill>
                  <a:schemeClr val="tx1">
                    <a:lumMod val="75000"/>
                    <a:lumOff val="25000"/>
                  </a:schemeClr>
                </a:solidFill>
              </a:rPr>
              <a:t>r</a:t>
            </a:r>
            <a:r>
              <a:rPr lang="en-FI" dirty="0">
                <a:solidFill>
                  <a:schemeClr val="tx1">
                    <a:lumMod val="75000"/>
                    <a:lumOff val="25000"/>
                  </a:schemeClr>
                </a:solidFill>
              </a:rPr>
              <a:t>y </a:t>
            </a:r>
            <a:r>
              <a:rPr lang="de-DE" dirty="0" err="1">
                <a:solidFill>
                  <a:schemeClr val="tx1">
                    <a:lumMod val="75000"/>
                    <a:lumOff val="25000"/>
                  </a:schemeClr>
                </a:solidFill>
              </a:rPr>
              <a:t>Östereichische</a:t>
            </a:r>
            <a:r>
              <a:rPr lang="de-DE" dirty="0">
                <a:solidFill>
                  <a:schemeClr val="tx1">
                    <a:lumMod val="75000"/>
                    <a:lumOff val="25000"/>
                  </a:schemeClr>
                </a:solidFill>
              </a:rPr>
              <a:t> Post (2022) AG opinion </a:t>
            </a:r>
            <a:r>
              <a:rPr lang="de-DE" dirty="0" err="1">
                <a:solidFill>
                  <a:schemeClr val="tx1">
                    <a:lumMod val="75000"/>
                    <a:lumOff val="25000"/>
                  </a:schemeClr>
                </a:solidFill>
              </a:rPr>
              <a:t>Oct</a:t>
            </a:r>
            <a:r>
              <a:rPr lang="de-DE" dirty="0">
                <a:solidFill>
                  <a:schemeClr val="tx1">
                    <a:lumMod val="75000"/>
                    <a:lumOff val="25000"/>
                  </a:schemeClr>
                </a:solidFill>
              </a:rPr>
              <a:t> 2022</a:t>
            </a:r>
            <a:endParaRPr lang="fr-CA" dirty="0">
              <a:solidFill>
                <a:schemeClr val="tx1">
                  <a:lumMod val="75000"/>
                  <a:lumOff val="25000"/>
                </a:schemeClr>
              </a:solidFill>
            </a:endParaRPr>
          </a:p>
        </p:txBody>
      </p:sp>
      <p:sp>
        <p:nvSpPr>
          <p:cNvPr id="3" name="Content Placeholder 2"/>
          <p:cNvSpPr>
            <a:spLocks noGrp="1"/>
          </p:cNvSpPr>
          <p:nvPr>
            <p:ph idx="1"/>
          </p:nvPr>
        </p:nvSpPr>
        <p:spPr/>
        <p:txBody>
          <a:bodyPr/>
          <a:lstStyle/>
          <a:p>
            <a:pPr>
              <a:spcBef>
                <a:spcPts val="1800"/>
              </a:spcBef>
              <a:defRPr/>
            </a:pPr>
            <a:r>
              <a:rPr lang="de-DE" sz="2000" spc="-1" dirty="0">
                <a:solidFill>
                  <a:srgbClr val="514843"/>
                </a:solidFill>
                <a:latin typeface="Euphemia"/>
              </a:rPr>
              <a:t>FACTS</a:t>
            </a:r>
          </a:p>
          <a:p>
            <a:pPr lvl="1">
              <a:spcBef>
                <a:spcPts val="1800"/>
              </a:spcBef>
              <a:defRPr/>
            </a:pPr>
            <a:r>
              <a:rPr lang="en-GB" b="0" i="0" dirty="0">
                <a:solidFill>
                  <a:srgbClr val="000000"/>
                </a:solidFill>
                <a:effectLst/>
                <a:latin typeface="Open Sans" panose="020B0606030504020204" pitchFamily="34" charset="0"/>
              </a:rPr>
              <a:t>Since 2017, </a:t>
            </a:r>
            <a:r>
              <a:rPr lang="en-GB" b="0" i="0" dirty="0" err="1">
                <a:solidFill>
                  <a:srgbClr val="000000"/>
                </a:solidFill>
                <a:effectLst/>
                <a:latin typeface="Open Sans" panose="020B0606030504020204" pitchFamily="34" charset="0"/>
              </a:rPr>
              <a:t>Österreichische</a:t>
            </a:r>
            <a:r>
              <a:rPr lang="en-GB" b="0" i="0" dirty="0">
                <a:solidFill>
                  <a:srgbClr val="000000"/>
                </a:solidFill>
                <a:effectLst/>
                <a:latin typeface="Open Sans" panose="020B0606030504020204" pitchFamily="34" charset="0"/>
              </a:rPr>
              <a:t> Post AG, collected information on the political party affinities of the Austrian population. </a:t>
            </a:r>
          </a:p>
          <a:p>
            <a:pPr lvl="1">
              <a:spcBef>
                <a:spcPts val="1800"/>
              </a:spcBef>
              <a:defRPr/>
            </a:pPr>
            <a:r>
              <a:rPr lang="en-GB" b="0" i="0" dirty="0">
                <a:solidFill>
                  <a:srgbClr val="000000"/>
                </a:solidFill>
                <a:effectLst/>
                <a:latin typeface="Open Sans" panose="020B0606030504020204" pitchFamily="34" charset="0"/>
              </a:rPr>
              <a:t>With the assistance of an algorithm, it defined ‘target group addresses’ according to certain socio-demographic features.</a:t>
            </a:r>
          </a:p>
          <a:p>
            <a:pPr lvl="1">
              <a:spcBef>
                <a:spcPts val="1800"/>
              </a:spcBef>
              <a:defRPr/>
            </a:pPr>
            <a:r>
              <a:rPr lang="en-GB" dirty="0">
                <a:solidFill>
                  <a:srgbClr val="000000"/>
                </a:solidFill>
                <a:latin typeface="Open Sans" panose="020B0606030504020204" pitchFamily="34" charset="0"/>
              </a:rPr>
              <a:t>UI has not consented to this processing, is up set, angered and offended  - he would like 1000€ compensation.</a:t>
            </a:r>
            <a:endParaRPr lang="de-DE" spc="-1" dirty="0">
              <a:solidFill>
                <a:srgbClr val="514843"/>
              </a:solidFill>
              <a:latin typeface="Euphemia"/>
            </a:endParaRPr>
          </a:p>
          <a:p>
            <a:pPr>
              <a:spcBef>
                <a:spcPts val="1800"/>
              </a:spcBef>
              <a:defRPr/>
            </a:pPr>
            <a:r>
              <a:rPr lang="en-FI" sz="2000" spc="-1" dirty="0">
                <a:solidFill>
                  <a:srgbClr val="514843"/>
                </a:solidFill>
                <a:latin typeface="Euphemia"/>
              </a:rPr>
              <a:t>QUESTION</a:t>
            </a:r>
            <a:endParaRPr lang="de-DE" sz="2000" spc="-1" dirty="0">
              <a:solidFill>
                <a:srgbClr val="514843"/>
              </a:solidFill>
              <a:latin typeface="Euphemia"/>
            </a:endParaRPr>
          </a:p>
          <a:p>
            <a:pPr lvl="1">
              <a:spcBef>
                <a:spcPts val="1800"/>
              </a:spcBef>
              <a:defRPr/>
            </a:pPr>
            <a:r>
              <a:rPr lang="en-GB" b="0" i="0" dirty="0">
                <a:solidFill>
                  <a:srgbClr val="000000"/>
                </a:solidFill>
                <a:effectLst/>
                <a:latin typeface="Open Sans" panose="020B0606030504020204" pitchFamily="34" charset="0"/>
              </a:rPr>
              <a:t>Does </a:t>
            </a:r>
            <a:r>
              <a:rPr lang="en-GB" b="0" i="0" dirty="0" err="1">
                <a:solidFill>
                  <a:srgbClr val="000000"/>
                </a:solidFill>
                <a:effectLst/>
                <a:latin typeface="Open Sans" panose="020B0606030504020204" pitchFamily="34" charset="0"/>
              </a:rPr>
              <a:t>fringement</a:t>
            </a:r>
            <a:r>
              <a:rPr lang="en-GB" b="0" i="0" dirty="0">
                <a:solidFill>
                  <a:srgbClr val="000000"/>
                </a:solidFill>
                <a:effectLst/>
                <a:latin typeface="Open Sans" panose="020B0606030504020204" pitchFamily="34" charset="0"/>
              </a:rPr>
              <a:t> of the provisions of the GDPR </a:t>
            </a:r>
            <a:r>
              <a:rPr lang="en-GB" b="0" i="1" dirty="0">
                <a:solidFill>
                  <a:srgbClr val="000000"/>
                </a:solidFill>
                <a:effectLst/>
                <a:latin typeface="Open Sans" panose="020B0606030504020204" pitchFamily="34" charset="0"/>
              </a:rPr>
              <a:t>automatically</a:t>
            </a:r>
            <a:r>
              <a:rPr lang="en-GB" b="0" i="0" dirty="0">
                <a:solidFill>
                  <a:srgbClr val="000000"/>
                </a:solidFill>
                <a:effectLst/>
                <a:latin typeface="Open Sans" panose="020B0606030504020204" pitchFamily="34" charset="0"/>
              </a:rPr>
              <a:t> produces harm which gives rise to a right to compensation without the defendant having the possibility to demonstrate otherwise?</a:t>
            </a:r>
            <a:endParaRPr lang="de-DE" spc="-1" dirty="0">
              <a:solidFill>
                <a:srgbClr val="514843"/>
              </a:solidFill>
              <a:latin typeface="Euphemia"/>
            </a:endParaRPr>
          </a:p>
        </p:txBody>
      </p:sp>
    </p:spTree>
    <p:extLst>
      <p:ext uri="{BB962C8B-B14F-4D97-AF65-F5344CB8AC3E}">
        <p14:creationId xmlns:p14="http://schemas.microsoft.com/office/powerpoint/2010/main" val="3747427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51BDB5-AD8F-4F42-B4D8-12E798AF670B}"/>
              </a:ext>
            </a:extLst>
          </p:cNvPr>
          <p:cNvSpPr>
            <a:spLocks noGrp="1"/>
          </p:cNvSpPr>
          <p:nvPr>
            <p:ph type="title"/>
          </p:nvPr>
        </p:nvSpPr>
        <p:spPr/>
        <p:txBody>
          <a:bodyPr/>
          <a:lstStyle/>
          <a:p>
            <a:r>
              <a:rPr lang="de-DE" dirty="0"/>
              <a:t>Take </a:t>
            </a:r>
            <a:r>
              <a:rPr lang="de-DE" dirty="0" err="1"/>
              <a:t>aways</a:t>
            </a:r>
            <a:r>
              <a:rPr lang="de-DE" dirty="0"/>
              <a:t>	</a:t>
            </a:r>
            <a:endParaRPr lang="fi-FI" dirty="0"/>
          </a:p>
        </p:txBody>
      </p:sp>
      <p:sp>
        <p:nvSpPr>
          <p:cNvPr id="3" name="Content Placeholder 2">
            <a:extLst>
              <a:ext uri="{FF2B5EF4-FFF2-40B4-BE49-F238E27FC236}">
                <a16:creationId xmlns:a16="http://schemas.microsoft.com/office/drawing/2014/main" id="{2895A008-96C9-4FD4-AC46-5FFDDDF0DE0D}"/>
              </a:ext>
            </a:extLst>
          </p:cNvPr>
          <p:cNvSpPr>
            <a:spLocks noGrp="1"/>
          </p:cNvSpPr>
          <p:nvPr>
            <p:ph idx="1"/>
          </p:nvPr>
        </p:nvSpPr>
        <p:spPr/>
        <p:txBody>
          <a:bodyPr>
            <a:normAutofit/>
          </a:bodyPr>
          <a:lstStyle/>
          <a:p>
            <a:pPr marL="0" indent="0">
              <a:buNone/>
            </a:pPr>
            <a:r>
              <a:rPr lang="en-GB" sz="24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1. Damage must be proven (recital 27 et seq.).</a:t>
            </a:r>
            <a:br>
              <a:rPr lang="en-GB" sz="2400" dirty="0">
                <a:effectLst/>
                <a:latin typeface="Trebuchet MS" panose="020B0603020202020204" pitchFamily="34" charset="0"/>
                <a:ea typeface="Calibri" panose="020F0502020204030204" pitchFamily="34" charset="0"/>
                <a:cs typeface="Calibri" panose="020F0502020204030204" pitchFamily="34" charset="0"/>
              </a:rPr>
            </a:br>
            <a:r>
              <a:rPr lang="en-GB" sz="24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2. GDPR does not have a punitive character (recital 35 et seq.).</a:t>
            </a:r>
            <a:br>
              <a:rPr lang="en-GB" sz="2400" dirty="0">
                <a:effectLst/>
                <a:latin typeface="Trebuchet MS" panose="020B0603020202020204" pitchFamily="34" charset="0"/>
                <a:ea typeface="Calibri" panose="020F0502020204030204" pitchFamily="34" charset="0"/>
                <a:cs typeface="Calibri" panose="020F0502020204030204" pitchFamily="34" charset="0"/>
              </a:rPr>
            </a:br>
            <a:r>
              <a:rPr lang="en-GB" sz="24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3. GDPR does not contain an absolute presumption of damage (recital 56 et seq..).</a:t>
            </a:r>
            <a:br>
              <a:rPr lang="en-GB" sz="2400" dirty="0">
                <a:effectLst/>
                <a:latin typeface="Trebuchet MS" panose="020B0603020202020204" pitchFamily="34" charset="0"/>
                <a:ea typeface="Calibri" panose="020F0502020204030204" pitchFamily="34" charset="0"/>
                <a:cs typeface="Calibri" panose="020F0502020204030204" pitchFamily="34" charset="0"/>
              </a:rPr>
            </a:br>
            <a:r>
              <a:rPr lang="en-GB" sz="24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4. Loss of control over data does not constitute damage per se (recital 61 et seq.).</a:t>
            </a:r>
            <a:br>
              <a:rPr lang="en-GB" sz="2400" dirty="0">
                <a:effectLst/>
                <a:latin typeface="Trebuchet MS" panose="020B0603020202020204" pitchFamily="34" charset="0"/>
                <a:ea typeface="Calibri" panose="020F0502020204030204" pitchFamily="34" charset="0"/>
                <a:cs typeface="Calibri" panose="020F0502020204030204" pitchFamily="34" charset="0"/>
              </a:rPr>
            </a:br>
            <a:r>
              <a:rPr lang="en-GB" sz="2400" dirty="0">
                <a:solidFill>
                  <a:srgbClr val="000000"/>
                </a:solidFill>
                <a:effectLst/>
                <a:latin typeface="Trebuchet MS" panose="020B0603020202020204" pitchFamily="34" charset="0"/>
                <a:ea typeface="Calibri" panose="020F0502020204030204" pitchFamily="34" charset="0"/>
                <a:cs typeface="Calibri" panose="020F0502020204030204" pitchFamily="34" charset="0"/>
              </a:rPr>
              <a:t>5. Ergo: Minor breaches do not provide grounds for a claim for damages under GDPR (recital 95 et seq.)</a:t>
            </a:r>
            <a:endParaRPr lang="fi-FI" sz="2800" b="1" dirty="0"/>
          </a:p>
        </p:txBody>
      </p:sp>
      <p:sp>
        <p:nvSpPr>
          <p:cNvPr id="4" name="Footer Placeholder 3">
            <a:extLst>
              <a:ext uri="{FF2B5EF4-FFF2-40B4-BE49-F238E27FC236}">
                <a16:creationId xmlns:a16="http://schemas.microsoft.com/office/drawing/2014/main" id="{2254F1FB-DFFB-4C25-8E5D-A43D4ECFA843}"/>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1200" cap="none" spc="0" normalizeH="0" baseline="0" noProof="0" dirty="0">
              <a:ln>
                <a:noFill/>
              </a:ln>
              <a:solidFill>
                <a:srgbClr val="514843">
                  <a:lumMod val="75000"/>
                </a:srgbClr>
              </a:solidFill>
              <a:effectLst/>
              <a:uLnTx/>
              <a:uFillTx/>
              <a:latin typeface="Euphemia"/>
              <a:ea typeface="+mn-ea"/>
              <a:cs typeface="+mn-cs"/>
            </a:endParaRPr>
          </a:p>
        </p:txBody>
      </p:sp>
    </p:spTree>
    <p:extLst>
      <p:ext uri="{BB962C8B-B14F-4D97-AF65-F5344CB8AC3E}">
        <p14:creationId xmlns:p14="http://schemas.microsoft.com/office/powerpoint/2010/main" val="2974237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p:cNvSpPr>
            <a:spLocks noGrp="1"/>
          </p:cNvSpPr>
          <p:nvPr>
            <p:ph type="title"/>
          </p:nvPr>
        </p:nvSpPr>
        <p:spPr/>
        <p:txBody>
          <a:bodyPr rtlCol="0">
            <a:normAutofit/>
          </a:bodyPr>
          <a:lstStyle/>
          <a:p>
            <a:pPr>
              <a:defRPr/>
            </a:pPr>
            <a:r>
              <a:rPr lang="fr-CA" sz="2800" spc="-1" dirty="0">
                <a:solidFill>
                  <a:srgbClr val="514843"/>
                </a:solidFill>
                <a:latin typeface="Plantagenet Cherokee"/>
                <a:ea typeface="+mn-ea"/>
                <a:cs typeface="+mn-cs"/>
                <a:hlinkClick r:id="rId3">
                  <a:extLst>
                    <a:ext uri="{A12FA001-AC4F-418D-AE19-62706E023703}">
                      <ahyp:hlinkClr xmlns:ahyp="http://schemas.microsoft.com/office/drawing/2018/hyperlinkcolor" val="tx"/>
                    </a:ext>
                  </a:extLst>
                </a:hlinkClick>
              </a:rPr>
              <a:t>Case</a:t>
            </a:r>
            <a:r>
              <a:rPr lang="fr-CA" dirty="0">
                <a:solidFill>
                  <a:schemeClr val="tx1">
                    <a:lumMod val="75000"/>
                    <a:lumOff val="25000"/>
                  </a:schemeClr>
                </a:solidFill>
                <a:hlinkClick r:id="rId3"/>
              </a:rPr>
              <a:t> </a:t>
            </a:r>
            <a:r>
              <a:rPr lang="en-FI" sz="2800" spc="-1" dirty="0">
                <a:solidFill>
                  <a:srgbClr val="514843"/>
                </a:solidFill>
                <a:latin typeface="Plantagenet Cherokee"/>
                <a:ea typeface="+mn-ea"/>
                <a:cs typeface="+mn-cs"/>
              </a:rPr>
              <a:t>S</a:t>
            </a:r>
            <a:r>
              <a:rPr lang="de-DE" dirty="0">
                <a:solidFill>
                  <a:schemeClr val="tx1">
                    <a:lumMod val="75000"/>
                    <a:lumOff val="25000"/>
                  </a:schemeClr>
                </a:solidFill>
              </a:rPr>
              <a:t>u</a:t>
            </a:r>
            <a:r>
              <a:rPr lang="en-FI" dirty="0">
                <a:solidFill>
                  <a:schemeClr val="tx1">
                    <a:lumMod val="75000"/>
                    <a:lumOff val="25000"/>
                  </a:schemeClr>
                </a:solidFill>
              </a:rPr>
              <a:t>m</a:t>
            </a:r>
            <a:r>
              <a:rPr lang="de-DE" dirty="0">
                <a:solidFill>
                  <a:schemeClr val="tx1">
                    <a:lumMod val="75000"/>
                    <a:lumOff val="25000"/>
                  </a:schemeClr>
                </a:solidFill>
              </a:rPr>
              <a:t>m</a:t>
            </a:r>
            <a:r>
              <a:rPr lang="en-FI" dirty="0">
                <a:solidFill>
                  <a:schemeClr val="tx1">
                    <a:lumMod val="75000"/>
                    <a:lumOff val="25000"/>
                  </a:schemeClr>
                </a:solidFill>
              </a:rPr>
              <a:t>a</a:t>
            </a:r>
            <a:r>
              <a:rPr lang="de-DE" dirty="0">
                <a:solidFill>
                  <a:schemeClr val="tx1">
                    <a:lumMod val="75000"/>
                    <a:lumOff val="25000"/>
                  </a:schemeClr>
                </a:solidFill>
              </a:rPr>
              <a:t>r</a:t>
            </a:r>
            <a:r>
              <a:rPr lang="en-FI" dirty="0">
                <a:solidFill>
                  <a:schemeClr val="tx1">
                    <a:lumMod val="75000"/>
                    <a:lumOff val="25000"/>
                  </a:schemeClr>
                </a:solidFill>
              </a:rPr>
              <a:t>y </a:t>
            </a:r>
            <a:r>
              <a:rPr lang="de-DE" dirty="0" err="1">
                <a:solidFill>
                  <a:schemeClr val="tx1">
                    <a:lumMod val="75000"/>
                    <a:lumOff val="25000"/>
                  </a:schemeClr>
                </a:solidFill>
              </a:rPr>
              <a:t>Östereichische</a:t>
            </a:r>
            <a:r>
              <a:rPr lang="de-DE" dirty="0">
                <a:solidFill>
                  <a:schemeClr val="tx1">
                    <a:lumMod val="75000"/>
                    <a:lumOff val="25000"/>
                  </a:schemeClr>
                </a:solidFill>
              </a:rPr>
              <a:t> Post (2022) AG opinion June 2022</a:t>
            </a:r>
            <a:endParaRPr lang="fr-CA" dirty="0">
              <a:solidFill>
                <a:schemeClr val="tx1">
                  <a:lumMod val="75000"/>
                  <a:lumOff val="25000"/>
                </a:schemeClr>
              </a:solidFill>
            </a:endParaRPr>
          </a:p>
        </p:txBody>
      </p:sp>
      <p:sp>
        <p:nvSpPr>
          <p:cNvPr id="3" name="Content Placeholder 2"/>
          <p:cNvSpPr>
            <a:spLocks noGrp="1"/>
          </p:cNvSpPr>
          <p:nvPr>
            <p:ph idx="1"/>
          </p:nvPr>
        </p:nvSpPr>
        <p:spPr/>
        <p:txBody>
          <a:bodyPr/>
          <a:lstStyle/>
          <a:p>
            <a:pPr>
              <a:spcBef>
                <a:spcPts val="1800"/>
              </a:spcBef>
              <a:defRPr/>
            </a:pPr>
            <a:r>
              <a:rPr lang="de-DE" sz="2000" spc="-1" dirty="0">
                <a:solidFill>
                  <a:srgbClr val="514843"/>
                </a:solidFill>
                <a:latin typeface="Euphemia"/>
              </a:rPr>
              <a:t>FACTS</a:t>
            </a:r>
          </a:p>
          <a:p>
            <a:pPr lvl="1">
              <a:spcBef>
                <a:spcPts val="1800"/>
              </a:spcBef>
              <a:defRPr/>
            </a:pPr>
            <a:r>
              <a:rPr lang="en-GB" b="0" i="0" dirty="0">
                <a:solidFill>
                  <a:srgbClr val="000000"/>
                </a:solidFill>
                <a:effectLst/>
                <a:latin typeface="Open Sans" panose="020B0606030504020204" pitchFamily="34" charset="0"/>
              </a:rPr>
              <a:t>Individual wants information to whom his personal data has been disclosed </a:t>
            </a:r>
          </a:p>
          <a:p>
            <a:pPr>
              <a:spcBef>
                <a:spcPts val="1800"/>
              </a:spcBef>
              <a:defRPr/>
            </a:pPr>
            <a:endParaRPr lang="de-DE" sz="2000" spc="-1" dirty="0">
              <a:solidFill>
                <a:srgbClr val="514843"/>
              </a:solidFill>
              <a:latin typeface="Euphemia"/>
            </a:endParaRPr>
          </a:p>
          <a:p>
            <a:pPr>
              <a:spcBef>
                <a:spcPts val="1800"/>
              </a:spcBef>
              <a:defRPr/>
            </a:pPr>
            <a:endParaRPr lang="de-DE" spc="-1" dirty="0">
              <a:solidFill>
                <a:srgbClr val="514843"/>
              </a:solidFill>
              <a:latin typeface="Euphemia"/>
            </a:endParaRPr>
          </a:p>
          <a:p>
            <a:pPr>
              <a:spcBef>
                <a:spcPts val="1800"/>
              </a:spcBef>
              <a:defRPr/>
            </a:pPr>
            <a:endParaRPr lang="de-DE" sz="2000" spc="-1" dirty="0">
              <a:solidFill>
                <a:srgbClr val="514843"/>
              </a:solidFill>
              <a:latin typeface="Euphemia"/>
            </a:endParaRPr>
          </a:p>
          <a:p>
            <a:pPr>
              <a:spcBef>
                <a:spcPts val="1800"/>
              </a:spcBef>
              <a:defRPr/>
            </a:pPr>
            <a:endParaRPr lang="de-DE" spc="-1" dirty="0">
              <a:solidFill>
                <a:srgbClr val="514843"/>
              </a:solidFill>
              <a:latin typeface="Euphemia"/>
            </a:endParaRPr>
          </a:p>
          <a:p>
            <a:pPr>
              <a:spcBef>
                <a:spcPts val="1800"/>
              </a:spcBef>
              <a:defRPr/>
            </a:pPr>
            <a:r>
              <a:rPr lang="en-FI" sz="2000" spc="-1" dirty="0">
                <a:solidFill>
                  <a:srgbClr val="514843"/>
                </a:solidFill>
                <a:latin typeface="Euphemia"/>
              </a:rPr>
              <a:t>QUESTION</a:t>
            </a:r>
            <a:endParaRPr lang="de-DE" sz="2000" spc="-1" dirty="0">
              <a:solidFill>
                <a:srgbClr val="514843"/>
              </a:solidFill>
              <a:latin typeface="Euphemia"/>
            </a:endParaRPr>
          </a:p>
          <a:p>
            <a:pPr lvl="1">
              <a:spcBef>
                <a:spcPts val="1800"/>
              </a:spcBef>
              <a:defRPr/>
            </a:pPr>
            <a:r>
              <a:rPr lang="de-DE" spc="-1" dirty="0">
                <a:solidFill>
                  <a:srgbClr val="514843"/>
                </a:solidFill>
                <a:latin typeface="Euphemia"/>
              </a:rPr>
              <a:t>D</a:t>
            </a:r>
          </a:p>
        </p:txBody>
      </p:sp>
      <p:pic>
        <p:nvPicPr>
          <p:cNvPr id="5" name="Graphic 4" descr="Woman with solid fill">
            <a:extLst>
              <a:ext uri="{FF2B5EF4-FFF2-40B4-BE49-F238E27FC236}">
                <a16:creationId xmlns:a16="http://schemas.microsoft.com/office/drawing/2014/main" id="{E863247E-E8E4-493C-81DB-C5443890B3E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251358" y="2894202"/>
            <a:ext cx="914400" cy="914400"/>
          </a:xfrm>
          <a:prstGeom prst="rect">
            <a:avLst/>
          </a:prstGeom>
        </p:spPr>
      </p:pic>
      <p:pic>
        <p:nvPicPr>
          <p:cNvPr id="7" name="Graphic 6" descr="Online Network with solid fill">
            <a:extLst>
              <a:ext uri="{FF2B5EF4-FFF2-40B4-BE49-F238E27FC236}">
                <a16:creationId xmlns:a16="http://schemas.microsoft.com/office/drawing/2014/main" id="{B52F481F-D595-48EA-936A-CAAC92FC9A6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848056" y="3523860"/>
            <a:ext cx="914400" cy="914400"/>
          </a:xfrm>
          <a:prstGeom prst="rect">
            <a:avLst/>
          </a:prstGeom>
        </p:spPr>
      </p:pic>
      <p:pic>
        <p:nvPicPr>
          <p:cNvPr id="9" name="Graphic 8" descr="Robot with solid fill">
            <a:extLst>
              <a:ext uri="{FF2B5EF4-FFF2-40B4-BE49-F238E27FC236}">
                <a16:creationId xmlns:a16="http://schemas.microsoft.com/office/drawing/2014/main" id="{342C0199-DBB9-44F0-9158-760C1442DB2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848056" y="2343734"/>
            <a:ext cx="914400" cy="914400"/>
          </a:xfrm>
          <a:prstGeom prst="rect">
            <a:avLst/>
          </a:prstGeom>
        </p:spPr>
      </p:pic>
      <p:pic>
        <p:nvPicPr>
          <p:cNvPr id="15" name="Graphic 14" descr="Arrow Right with solid fill">
            <a:extLst>
              <a:ext uri="{FF2B5EF4-FFF2-40B4-BE49-F238E27FC236}">
                <a16:creationId xmlns:a16="http://schemas.microsoft.com/office/drawing/2014/main" id="{A064DEB6-A830-4C27-8EB4-87E5F472275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983470" y="2885999"/>
            <a:ext cx="1523127" cy="914400"/>
          </a:xfrm>
          <a:prstGeom prst="rect">
            <a:avLst/>
          </a:prstGeom>
        </p:spPr>
      </p:pic>
      <p:pic>
        <p:nvPicPr>
          <p:cNvPr id="19" name="Graphic 18" descr="Envelope with solid fill">
            <a:extLst>
              <a:ext uri="{FF2B5EF4-FFF2-40B4-BE49-F238E27FC236}">
                <a16:creationId xmlns:a16="http://schemas.microsoft.com/office/drawing/2014/main" id="{FAA1FF9F-08F7-4311-93F0-F1EA4BBA8D3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736772" y="2929948"/>
            <a:ext cx="914400" cy="914400"/>
          </a:xfrm>
          <a:prstGeom prst="rect">
            <a:avLst/>
          </a:prstGeom>
        </p:spPr>
      </p:pic>
      <p:sp>
        <p:nvSpPr>
          <p:cNvPr id="20" name="TextBox 19">
            <a:extLst>
              <a:ext uri="{FF2B5EF4-FFF2-40B4-BE49-F238E27FC236}">
                <a16:creationId xmlns:a16="http://schemas.microsoft.com/office/drawing/2014/main" id="{4408C11C-6912-484F-A3E2-79B50AEC5FB2}"/>
              </a:ext>
            </a:extLst>
          </p:cNvPr>
          <p:cNvSpPr txBox="1"/>
          <p:nvPr/>
        </p:nvSpPr>
        <p:spPr>
          <a:xfrm>
            <a:off x="3176979" y="3808601"/>
            <a:ext cx="2024195"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514843"/>
                </a:solidFill>
                <a:effectLst/>
                <a:uLnTx/>
                <a:uFillTx/>
                <a:latin typeface="Euphemia"/>
                <a:ea typeface="+mn-ea"/>
                <a:cs typeface="+mn-cs"/>
              </a:rPr>
              <a:t>Österreichische Post </a:t>
            </a:r>
            <a:endParaRPr kumimoji="0" lang="fi-FI" sz="1800" b="0" i="0" u="none" strike="noStrike" kern="1200" cap="none" spc="0" normalizeH="0" baseline="0" noProof="0" dirty="0">
              <a:ln>
                <a:noFill/>
              </a:ln>
              <a:solidFill>
                <a:srgbClr val="514843"/>
              </a:solidFill>
              <a:effectLst/>
              <a:uLnTx/>
              <a:uFillTx/>
              <a:latin typeface="Euphemia"/>
              <a:ea typeface="+mn-ea"/>
              <a:cs typeface="+mn-cs"/>
            </a:endParaRPr>
          </a:p>
        </p:txBody>
      </p:sp>
      <p:sp>
        <p:nvSpPr>
          <p:cNvPr id="21" name="TextBox 20">
            <a:extLst>
              <a:ext uri="{FF2B5EF4-FFF2-40B4-BE49-F238E27FC236}">
                <a16:creationId xmlns:a16="http://schemas.microsoft.com/office/drawing/2014/main" id="{92DFB688-D73E-446C-8EDB-A97FF29C6BC7}"/>
              </a:ext>
            </a:extLst>
          </p:cNvPr>
          <p:cNvSpPr txBox="1"/>
          <p:nvPr/>
        </p:nvSpPr>
        <p:spPr>
          <a:xfrm>
            <a:off x="1366356" y="3809999"/>
            <a:ext cx="202419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514843"/>
                </a:solidFill>
                <a:effectLst/>
                <a:uLnTx/>
                <a:uFillTx/>
                <a:latin typeface="Euphemia"/>
                <a:ea typeface="+mn-ea"/>
                <a:cs typeface="+mn-cs"/>
              </a:rPr>
              <a:t>RW</a:t>
            </a:r>
            <a:endParaRPr kumimoji="0" lang="fi-FI" sz="1800" b="0" i="0" u="none" strike="noStrike" kern="1200" cap="none" spc="0" normalizeH="0" baseline="0" noProof="0" dirty="0">
              <a:ln>
                <a:noFill/>
              </a:ln>
              <a:solidFill>
                <a:srgbClr val="514843"/>
              </a:solidFill>
              <a:effectLst/>
              <a:uLnTx/>
              <a:uFillTx/>
              <a:latin typeface="Euphemia"/>
              <a:ea typeface="+mn-ea"/>
              <a:cs typeface="+mn-cs"/>
            </a:endParaRPr>
          </a:p>
        </p:txBody>
      </p:sp>
      <p:pic>
        <p:nvPicPr>
          <p:cNvPr id="26" name="Graphic 25" descr="Arrow Right with solid fill">
            <a:extLst>
              <a:ext uri="{FF2B5EF4-FFF2-40B4-BE49-F238E27FC236}">
                <a16:creationId xmlns:a16="http://schemas.microsoft.com/office/drawing/2014/main" id="{647A476D-CB20-46B6-B32A-23B557ABDFA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21412926">
            <a:off x="4574923" y="2846709"/>
            <a:ext cx="2263399" cy="914400"/>
          </a:xfrm>
          <a:prstGeom prst="rect">
            <a:avLst/>
          </a:prstGeom>
        </p:spPr>
      </p:pic>
      <p:pic>
        <p:nvPicPr>
          <p:cNvPr id="27" name="Graphic 26" descr="Arrow Right with solid fill">
            <a:extLst>
              <a:ext uri="{FF2B5EF4-FFF2-40B4-BE49-F238E27FC236}">
                <a16:creationId xmlns:a16="http://schemas.microsoft.com/office/drawing/2014/main" id="{75447729-DC0D-4516-864B-7C84D7867AC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587795">
            <a:off x="4578534" y="3207047"/>
            <a:ext cx="2342160" cy="914400"/>
          </a:xfrm>
          <a:prstGeom prst="rect">
            <a:avLst/>
          </a:prstGeom>
        </p:spPr>
      </p:pic>
      <p:sp>
        <p:nvSpPr>
          <p:cNvPr id="28" name="TextBox 27">
            <a:extLst>
              <a:ext uri="{FF2B5EF4-FFF2-40B4-BE49-F238E27FC236}">
                <a16:creationId xmlns:a16="http://schemas.microsoft.com/office/drawing/2014/main" id="{70EDE406-49A4-4A63-A19A-4527F486C043}"/>
              </a:ext>
            </a:extLst>
          </p:cNvPr>
          <p:cNvSpPr txBox="1"/>
          <p:nvPr/>
        </p:nvSpPr>
        <p:spPr>
          <a:xfrm>
            <a:off x="7762456" y="2491530"/>
            <a:ext cx="2463594" cy="203132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514843"/>
                </a:solidFill>
                <a:effectLst/>
                <a:uLnTx/>
                <a:uFillTx/>
                <a:latin typeface="Euphemia"/>
                <a:ea typeface="+mn-ea"/>
                <a:cs typeface="+mn-cs"/>
              </a:rPr>
              <a:t>Tech companies </a:t>
            </a:r>
          </a:p>
          <a:p>
            <a:pPr marL="285750" marR="0" lvl="0" indent="-285750" algn="l" defTabSz="914400" rtl="0" eaLnBrk="1" fontAlgn="auto" latinLnBrk="0" hangingPunct="1">
              <a:lnSpc>
                <a:spcPct val="100000"/>
              </a:lnSpc>
              <a:spcBef>
                <a:spcPts val="0"/>
              </a:spcBef>
              <a:spcAft>
                <a:spcPts val="0"/>
              </a:spcAft>
              <a:buClrTx/>
              <a:buSzTx/>
              <a:buFont typeface="Symbol" panose="05050102010706020507" pitchFamily="18" charset="2"/>
              <a:buChar char="Þ"/>
              <a:tabLst/>
              <a:defRPr/>
            </a:pPr>
            <a:r>
              <a:rPr kumimoji="0" lang="de-DE" sz="1800" b="0" i="0" u="none" strike="noStrike" kern="1200" cap="none" spc="0" normalizeH="0" baseline="0" noProof="0" dirty="0">
                <a:ln>
                  <a:noFill/>
                </a:ln>
                <a:solidFill>
                  <a:srgbClr val="514843"/>
                </a:solidFill>
                <a:effectLst/>
                <a:uLnTx/>
                <a:uFillTx/>
                <a:latin typeface="Euphemia"/>
                <a:ea typeface="+mn-ea"/>
                <a:cs typeface="+mn-cs"/>
              </a:rPr>
              <a:t>Amazon</a:t>
            </a:r>
          </a:p>
          <a:p>
            <a:pPr marL="285750" marR="0" lvl="0" indent="-285750" algn="l" defTabSz="914400" rtl="0" eaLnBrk="1" fontAlgn="auto" latinLnBrk="0" hangingPunct="1">
              <a:lnSpc>
                <a:spcPct val="100000"/>
              </a:lnSpc>
              <a:spcBef>
                <a:spcPts val="0"/>
              </a:spcBef>
              <a:spcAft>
                <a:spcPts val="0"/>
              </a:spcAft>
              <a:buClrTx/>
              <a:buSzTx/>
              <a:buFont typeface="Symbol" panose="05050102010706020507" pitchFamily="18" charset="2"/>
              <a:buChar char="Þ"/>
              <a:tabLst/>
              <a:defRPr/>
            </a:pPr>
            <a:r>
              <a:rPr kumimoji="0" lang="de-DE" sz="1800" b="0" i="0" u="none" strike="noStrike" kern="1200" cap="none" spc="0" normalizeH="0" baseline="0" noProof="0" dirty="0">
                <a:ln>
                  <a:noFill/>
                </a:ln>
                <a:solidFill>
                  <a:srgbClr val="514843"/>
                </a:solidFill>
                <a:effectLst/>
                <a:uLnTx/>
                <a:uFillTx/>
                <a:latin typeface="Euphemia"/>
                <a:ea typeface="+mn-ea"/>
                <a:cs typeface="+mn-cs"/>
              </a:rPr>
              <a:t>Google</a:t>
            </a:r>
          </a:p>
          <a:p>
            <a:pPr marL="285750" marR="0" lvl="0" indent="-285750" algn="l" defTabSz="914400" rtl="0" eaLnBrk="1" fontAlgn="auto" latinLnBrk="0" hangingPunct="1">
              <a:lnSpc>
                <a:spcPct val="100000"/>
              </a:lnSpc>
              <a:spcBef>
                <a:spcPts val="0"/>
              </a:spcBef>
              <a:spcAft>
                <a:spcPts val="0"/>
              </a:spcAft>
              <a:buClrTx/>
              <a:buSzTx/>
              <a:buFont typeface="Symbol" panose="05050102010706020507" pitchFamily="18" charset="2"/>
              <a:buChar char="Þ"/>
              <a:tabLst/>
              <a:defRPr/>
            </a:pPr>
            <a:endParaRPr kumimoji="0" lang="de-DE" sz="1800" b="0" i="0" u="none" strike="noStrike" kern="1200" cap="none" spc="0" normalizeH="0" baseline="0" noProof="0" dirty="0">
              <a:ln>
                <a:noFill/>
              </a:ln>
              <a:solidFill>
                <a:srgbClr val="514843"/>
              </a:solidFill>
              <a:effectLst/>
              <a:uLnTx/>
              <a:uFillTx/>
              <a:latin typeface="Euphemi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514843"/>
                </a:solidFill>
                <a:effectLst/>
                <a:uLnTx/>
                <a:uFillTx/>
                <a:latin typeface="Euphemia"/>
                <a:ea typeface="+mn-ea"/>
                <a:cs typeface="+mn-cs"/>
              </a:rPr>
              <a:t>Telcos</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è"/>
              <a:tabLst/>
              <a:defRPr/>
            </a:pPr>
            <a:r>
              <a:rPr kumimoji="0" lang="de-DE" sz="1800" b="0" i="0" u="none" strike="noStrike" kern="1200" cap="none" spc="0" normalizeH="0" baseline="0" noProof="0" dirty="0">
                <a:ln>
                  <a:noFill/>
                </a:ln>
                <a:solidFill>
                  <a:srgbClr val="514843"/>
                </a:solidFill>
                <a:effectLst/>
                <a:uLnTx/>
                <a:uFillTx/>
                <a:latin typeface="Euphemia"/>
                <a:ea typeface="+mn-ea"/>
                <a:cs typeface="+mn-cs"/>
                <a:sym typeface="Wingdings" panose="05000000000000000000" pitchFamily="2" charset="2"/>
              </a:rPr>
              <a:t>Elisa </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è"/>
              <a:tabLst/>
              <a:defRPr/>
            </a:pPr>
            <a:r>
              <a:rPr kumimoji="0" lang="de-DE" sz="1800" b="0" i="0" u="none" strike="noStrike" kern="1200" cap="none" spc="0" normalizeH="0" baseline="0" noProof="0" dirty="0">
                <a:ln>
                  <a:noFill/>
                </a:ln>
                <a:solidFill>
                  <a:srgbClr val="514843"/>
                </a:solidFill>
                <a:effectLst/>
                <a:uLnTx/>
                <a:uFillTx/>
                <a:latin typeface="Euphemia"/>
                <a:ea typeface="+mn-ea"/>
                <a:cs typeface="+mn-cs"/>
                <a:sym typeface="Wingdings" panose="05000000000000000000" pitchFamily="2" charset="2"/>
              </a:rPr>
              <a:t>Others </a:t>
            </a:r>
            <a:endParaRPr kumimoji="0" lang="fi-FI" sz="1800" b="0" i="0" u="none" strike="noStrike" kern="1200" cap="none" spc="0" normalizeH="0" baseline="0" noProof="0" dirty="0">
              <a:ln>
                <a:noFill/>
              </a:ln>
              <a:solidFill>
                <a:srgbClr val="514843"/>
              </a:solidFill>
              <a:effectLst/>
              <a:uLnTx/>
              <a:uFillTx/>
              <a:latin typeface="Euphemia"/>
              <a:ea typeface="+mn-ea"/>
              <a:cs typeface="+mn-cs"/>
            </a:endParaRPr>
          </a:p>
        </p:txBody>
      </p:sp>
    </p:spTree>
    <p:extLst>
      <p:ext uri="{BB962C8B-B14F-4D97-AF65-F5344CB8AC3E}">
        <p14:creationId xmlns:p14="http://schemas.microsoft.com/office/powerpoint/2010/main" val="2267523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F9C72E-715D-4334-92BB-4755DEA5EDEA}"/>
              </a:ext>
            </a:extLst>
          </p:cNvPr>
          <p:cNvSpPr>
            <a:spLocks noGrp="1"/>
          </p:cNvSpPr>
          <p:nvPr>
            <p:ph type="ctrTitle"/>
          </p:nvPr>
        </p:nvSpPr>
        <p:spPr/>
        <p:txBody>
          <a:bodyPr/>
          <a:lstStyle/>
          <a:p>
            <a:r>
              <a:rPr lang="en-FI" dirty="0"/>
              <a:t>Third-Party Watch-Dogs </a:t>
            </a:r>
            <a:endParaRPr lang="de-DE" dirty="0"/>
          </a:p>
        </p:txBody>
      </p:sp>
      <p:sp>
        <p:nvSpPr>
          <p:cNvPr id="3" name="Subtitle 2">
            <a:extLst>
              <a:ext uri="{FF2B5EF4-FFF2-40B4-BE49-F238E27FC236}">
                <a16:creationId xmlns:a16="http://schemas.microsoft.com/office/drawing/2014/main" id="{8232F03A-FDEA-4CED-A9CF-03375EA3856D}"/>
              </a:ext>
            </a:extLst>
          </p:cNvPr>
          <p:cNvSpPr>
            <a:spLocks noGrp="1"/>
          </p:cNvSpPr>
          <p:nvPr>
            <p:ph type="subTitle" idx="1"/>
          </p:nvPr>
        </p:nvSpPr>
        <p:spPr/>
        <p:txBody>
          <a:bodyPr/>
          <a:lstStyle/>
          <a:p>
            <a:endParaRPr lang="de-DE"/>
          </a:p>
        </p:txBody>
      </p:sp>
      <p:pic>
        <p:nvPicPr>
          <p:cNvPr id="5" name="Picture Placeholder 4">
            <a:extLst>
              <a:ext uri="{FF2B5EF4-FFF2-40B4-BE49-F238E27FC236}">
                <a16:creationId xmlns:a16="http://schemas.microsoft.com/office/drawing/2014/main" id="{9F93E3C4-98A6-4E15-8984-C4AB20A71271}"/>
              </a:ext>
            </a:extLst>
          </p:cNvPr>
          <p:cNvPicPr>
            <a:picLocks noGrp="1" noChangeAspect="1"/>
          </p:cNvPicPr>
          <p:nvPr>
            <p:ph type="pic" sz="quarter" idx="13"/>
          </p:nvPr>
        </p:nvPicPr>
        <p:blipFill rotWithShape="1">
          <a:blip r:embed="rId2"/>
          <a:srcRect l="935" r="935"/>
          <a:stretch/>
        </p:blipFill>
        <p:spPr/>
      </p:pic>
    </p:spTree>
    <p:extLst>
      <p:ext uri="{BB962C8B-B14F-4D97-AF65-F5344CB8AC3E}">
        <p14:creationId xmlns:p14="http://schemas.microsoft.com/office/powerpoint/2010/main" val="2428850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1" name="TextShape 1"/>
          <p:cNvSpPr txBox="1"/>
          <p:nvPr/>
        </p:nvSpPr>
        <p:spPr>
          <a:xfrm>
            <a:off x="1104840" y="76320"/>
            <a:ext cx="9980280" cy="1096560"/>
          </a:xfrm>
          <a:prstGeom prst="rect">
            <a:avLst/>
          </a:prstGeom>
          <a:noFill/>
          <a:ln>
            <a:noFill/>
          </a:ln>
        </p:spPr>
        <p:txBody>
          <a:bodyPr lIns="0" rIns="0" anchor="b">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de-DE" sz="2800" b="0" i="0" u="none" strike="noStrike" kern="1200" cap="none" spc="-1" normalizeH="0" baseline="0" noProof="0">
                <a:ln>
                  <a:noFill/>
                </a:ln>
                <a:solidFill>
                  <a:srgbClr val="514843"/>
                </a:solidFill>
                <a:effectLst/>
                <a:uLnTx/>
                <a:uFillTx/>
                <a:latin typeface="Plantagenet Cherokee"/>
                <a:ea typeface="+mn-ea"/>
                <a:cs typeface="+mn-cs"/>
              </a:rPr>
              <a:t>Third-party watchdogs</a:t>
            </a:r>
            <a:endParaRPr kumimoji="0" lang="de-DE" sz="2800" b="0" i="0" u="none" strike="noStrike" kern="1200" cap="none" spc="-1" normalizeH="0" baseline="0" noProof="0">
              <a:ln>
                <a:noFill/>
              </a:ln>
              <a:solidFill>
                <a:srgbClr val="514843"/>
              </a:solidFill>
              <a:effectLst/>
              <a:uLnTx/>
              <a:uFillTx/>
              <a:latin typeface="Euphemia"/>
              <a:ea typeface="+mn-ea"/>
              <a:cs typeface="+mn-cs"/>
            </a:endParaRPr>
          </a:p>
        </p:txBody>
      </p:sp>
      <p:sp>
        <p:nvSpPr>
          <p:cNvPr id="332" name="TextShape 2"/>
          <p:cNvSpPr txBox="1"/>
          <p:nvPr/>
        </p:nvSpPr>
        <p:spPr>
          <a:xfrm>
            <a:off x="1104840" y="1600200"/>
            <a:ext cx="9981720" cy="4571640"/>
          </a:xfrm>
          <a:prstGeom prst="rect">
            <a:avLst/>
          </a:prstGeom>
          <a:noFill/>
          <a:ln>
            <a:noFill/>
          </a:ln>
        </p:spPr>
        <p:txBody>
          <a:bodyPr lIns="0" rIns="0">
            <a:noAutofit/>
          </a:bodyPr>
          <a:lstStyle/>
          <a:p>
            <a:pPr marL="228600" marR="0" lvl="0" indent="-228240" algn="l" defTabSz="914400" rtl="0" eaLnBrk="1" fontAlgn="auto" latinLnBrk="0" hangingPunct="1">
              <a:lnSpc>
                <a:spcPct val="90000"/>
              </a:lnSpc>
              <a:spcBef>
                <a:spcPts val="1800"/>
              </a:spcBef>
              <a:spcAft>
                <a:spcPts val="0"/>
              </a:spcAft>
              <a:buClr>
                <a:srgbClr val="514843"/>
              </a:buClr>
              <a:buSzTx/>
              <a:buFont typeface="Wingdings" charset="2"/>
              <a:buChar char=""/>
              <a:tabLst/>
              <a:defRPr/>
            </a:pPr>
            <a:r>
              <a:rPr kumimoji="0" lang="de-DE" sz="2000" b="0" i="0" u="none" strike="noStrike" kern="1200" cap="none" spc="-1" normalizeH="0" baseline="0" noProof="0" dirty="0" err="1">
                <a:ln>
                  <a:noFill/>
                </a:ln>
                <a:solidFill>
                  <a:srgbClr val="514843"/>
                </a:solidFill>
                <a:effectLst/>
                <a:uLnTx/>
                <a:uFillTx/>
                <a:latin typeface="Euphemia"/>
                <a:ea typeface="+mn-ea"/>
                <a:cs typeface="+mn-cs"/>
              </a:rPr>
              <a:t>Sometimes</a:t>
            </a:r>
            <a:r>
              <a:rPr kumimoji="0" lang="de-DE" sz="2000" b="0" i="0" u="none" strike="noStrike" kern="1200" cap="none" spc="-1" normalizeH="0" baseline="0" noProof="0" dirty="0">
                <a:ln>
                  <a:noFill/>
                </a:ln>
                <a:solidFill>
                  <a:srgbClr val="514843"/>
                </a:solidFill>
                <a:effectLst/>
                <a:uLnTx/>
                <a:uFillTx/>
                <a:latin typeface="Euphemia"/>
                <a:ea typeface="+mn-ea"/>
                <a:cs typeface="+mn-cs"/>
              </a:rPr>
              <a:t>, a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pressure</a:t>
            </a:r>
            <a:r>
              <a:rPr kumimoji="0" lang="de-DE" sz="2000" b="0" i="0" u="none" strike="noStrike" kern="1200" cap="none" spc="-1" normalizeH="0" baseline="0" noProof="0" dirty="0">
                <a:ln>
                  <a:noFill/>
                </a:ln>
                <a:solidFill>
                  <a:srgbClr val="514843"/>
                </a:solidFill>
                <a:effectLst/>
                <a:uLnTx/>
                <a:uFillTx/>
                <a:latin typeface="Euphemia"/>
                <a:ea typeface="+mn-ea"/>
                <a:cs typeface="+mn-cs"/>
              </a:rPr>
              <a:t> group or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watchdog</a:t>
            </a:r>
            <a:r>
              <a:rPr kumimoji="0" lang="de-DE" sz="2000" b="0" i="0" u="none" strike="noStrike" kern="1200" cap="none" spc="-1" normalizeH="0" baseline="0" noProof="0" dirty="0">
                <a:ln>
                  <a:noFill/>
                </a:ln>
                <a:solidFill>
                  <a:srgbClr val="514843"/>
                </a:solidFill>
                <a:effectLst/>
                <a:uLnTx/>
                <a:uFillTx/>
                <a:latin typeface="Euphemia"/>
                <a:ea typeface="+mn-ea"/>
                <a:cs typeface="+mn-cs"/>
              </a:rPr>
              <a:t> may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want</a:t>
            </a:r>
            <a:r>
              <a:rPr kumimoji="0" lang="de-DE" sz="2000" b="0" i="0" u="none" strike="noStrike" kern="1200" cap="none" spc="-1" normalizeH="0" baseline="0" noProof="0" dirty="0">
                <a:ln>
                  <a:noFill/>
                </a:ln>
                <a:solidFill>
                  <a:srgbClr val="514843"/>
                </a:solidFill>
                <a:effectLst/>
                <a:uLnTx/>
                <a:uFillTx/>
                <a:latin typeface="Euphemia"/>
                <a:ea typeface="+mn-ea"/>
                <a:cs typeface="+mn-cs"/>
              </a:rPr>
              <a:t> to bring an enforcemen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claim</a:t>
            </a:r>
            <a:endParaRPr kumimoji="0" lang="de-DE" sz="2000" b="0" i="0" u="none" strike="noStrike" kern="1200" cap="none" spc="-1" normalizeH="0" baseline="0" noProof="0" dirty="0">
              <a:ln>
                <a:noFill/>
              </a:ln>
              <a:solidFill>
                <a:srgbClr val="514843"/>
              </a:solidFill>
              <a:effectLst/>
              <a:uLnTx/>
              <a:uFillTx/>
              <a:latin typeface="Euphemia"/>
              <a:ea typeface="+mn-ea"/>
              <a:cs typeface="+mn-cs"/>
            </a:endParaRPr>
          </a:p>
          <a:p>
            <a:pPr marL="685800" marR="0" lvl="1" indent="-228240" algn="l" defTabSz="914400" rtl="0" eaLnBrk="1" fontAlgn="auto" latinLnBrk="0" hangingPunct="1">
              <a:lnSpc>
                <a:spcPct val="90000"/>
              </a:lnSpc>
              <a:spcBef>
                <a:spcPts val="1800"/>
              </a:spcBef>
              <a:spcAft>
                <a:spcPts val="0"/>
              </a:spcAft>
              <a:buClr>
                <a:srgbClr val="514843"/>
              </a:buClr>
              <a:buSzTx/>
              <a:buFont typeface="Wingdings" charset="2"/>
              <a:buChar char=""/>
              <a:tabLst/>
              <a:defRPr/>
            </a:pPr>
            <a:r>
              <a:rPr kumimoji="0" lang="de-DE" sz="2000" b="0" i="0" u="none" strike="noStrike" kern="1200" cap="none" spc="-1" normalizeH="0" baseline="0" noProof="0" dirty="0">
                <a:ln>
                  <a:noFill/>
                </a:ln>
                <a:solidFill>
                  <a:srgbClr val="514843"/>
                </a:solidFill>
                <a:effectLst/>
                <a:uLnTx/>
                <a:uFillTx/>
                <a:latin typeface="Euphemia"/>
                <a:ea typeface="+mn-ea"/>
                <a:cs typeface="+mn-cs"/>
              </a:rPr>
              <a:t>NOYB</a:t>
            </a:r>
          </a:p>
          <a:p>
            <a:pPr marL="685800" marR="0" lvl="1" indent="-228240" algn="l" defTabSz="914400" rtl="0" eaLnBrk="1" fontAlgn="auto" latinLnBrk="0" hangingPunct="1">
              <a:lnSpc>
                <a:spcPct val="90000"/>
              </a:lnSpc>
              <a:spcBef>
                <a:spcPts val="1800"/>
              </a:spcBef>
              <a:spcAft>
                <a:spcPts val="0"/>
              </a:spcAft>
              <a:buClr>
                <a:srgbClr val="514843"/>
              </a:buClr>
              <a:buSzTx/>
              <a:buFont typeface="Wingdings" charset="2"/>
              <a:buChar char=""/>
              <a:tabLst/>
              <a:defRPr/>
            </a:pPr>
            <a:r>
              <a:rPr kumimoji="0" lang="de-DE" sz="2000" b="0" i="0" u="none" strike="noStrike" kern="1200" cap="none" spc="-1" normalizeH="0" baseline="0" noProof="0" dirty="0">
                <a:ln>
                  <a:noFill/>
                </a:ln>
                <a:solidFill>
                  <a:srgbClr val="514843"/>
                </a:solidFill>
                <a:effectLst/>
                <a:uLnTx/>
                <a:uFillTx/>
                <a:latin typeface="Euphemia"/>
                <a:ea typeface="+mn-ea"/>
                <a:cs typeface="+mn-cs"/>
              </a:rPr>
              <a:t>Digital Rights Ireland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brought</a:t>
            </a:r>
            <a:r>
              <a:rPr kumimoji="0" lang="de-DE" sz="2000" b="0" i="0" u="none" strike="noStrike" kern="1200" cap="none" spc="-1" normalizeH="0" baseline="0" noProof="0" dirty="0">
                <a:ln>
                  <a:noFill/>
                </a:ln>
                <a:solidFill>
                  <a:srgbClr val="514843"/>
                </a:solidFill>
                <a:effectLst/>
                <a:uLnTx/>
                <a:uFillTx/>
                <a:latin typeface="Euphemia"/>
                <a:ea typeface="+mn-ea"/>
                <a:cs typeface="+mn-cs"/>
              </a:rPr>
              <a:t> a very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important</a:t>
            </a:r>
            <a:r>
              <a:rPr kumimoji="0" lang="de-DE" sz="2000" b="0" i="0" u="none" strike="noStrike" kern="1200" cap="none" spc="-1" normalizeH="0" baseline="0" noProof="0" dirty="0">
                <a:ln>
                  <a:noFill/>
                </a:ln>
                <a:solidFill>
                  <a:srgbClr val="514843"/>
                </a:solidFill>
                <a:effectLst/>
                <a:uLnTx/>
                <a:uFillTx/>
                <a:latin typeface="Euphemia"/>
                <a:ea typeface="+mn-ea"/>
                <a:cs typeface="+mn-cs"/>
              </a:rPr>
              <a:t> case in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governmental</a:t>
            </a:r>
            <a:r>
              <a:rPr kumimoji="0" lang="de-DE" sz="2000" b="0" i="0" u="none" strike="noStrike" kern="1200" cap="none" spc="-1" normalizeH="0" baseline="0" noProof="0" dirty="0">
                <a:ln>
                  <a:noFill/>
                </a:ln>
                <a:solidFill>
                  <a:srgbClr val="514843"/>
                </a:solidFill>
                <a:effectLst/>
                <a:uLnTx/>
                <a:uFillTx/>
                <a:latin typeface="Euphemia"/>
                <a:ea typeface="+mn-ea"/>
                <a:cs typeface="+mn-cs"/>
              </a:rPr>
              <a:t> access to data</a:t>
            </a:r>
          </a:p>
          <a:p>
            <a:pPr marL="228600" marR="0" lvl="0" indent="-228240" algn="l" defTabSz="914400" rtl="0" eaLnBrk="1" fontAlgn="auto" latinLnBrk="0" hangingPunct="1">
              <a:lnSpc>
                <a:spcPct val="90000"/>
              </a:lnSpc>
              <a:spcBef>
                <a:spcPts val="1800"/>
              </a:spcBef>
              <a:spcAft>
                <a:spcPts val="0"/>
              </a:spcAft>
              <a:buClr>
                <a:srgbClr val="514843"/>
              </a:buClr>
              <a:buSzTx/>
              <a:buFont typeface="Wingdings" charset="2"/>
              <a:buChar char=""/>
              <a:tabLst/>
              <a:defRPr/>
            </a:pPr>
            <a:r>
              <a:rPr kumimoji="0" lang="de-DE" sz="2000" b="0" i="0" u="none" strike="noStrike" kern="1200" cap="none" spc="-1" normalizeH="0" baseline="0" noProof="0" dirty="0">
                <a:ln>
                  <a:noFill/>
                </a:ln>
                <a:solidFill>
                  <a:srgbClr val="514843"/>
                </a:solidFill>
                <a:effectLst/>
                <a:uLnTx/>
                <a:uFillTx/>
                <a:latin typeface="Euphemia"/>
                <a:ea typeface="+mn-ea"/>
                <a:cs typeface="+mn-cs"/>
              </a:rPr>
              <a:t>These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groups</a:t>
            </a:r>
            <a:r>
              <a:rPr kumimoji="0" lang="de-DE" sz="2000" b="0" i="0" u="none" strike="noStrike" kern="1200" cap="none" spc="-1" normalizeH="0" baseline="0" noProof="0" dirty="0">
                <a:ln>
                  <a:noFill/>
                </a:ln>
                <a:solidFill>
                  <a:srgbClr val="514843"/>
                </a:solidFill>
                <a:effectLst/>
                <a:uLnTx/>
                <a:uFillTx/>
                <a:latin typeface="Euphemia"/>
                <a:ea typeface="+mn-ea"/>
                <a:cs typeface="+mn-cs"/>
              </a:rPr>
              <a:t> usually have high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levels</a:t>
            </a:r>
            <a:r>
              <a:rPr kumimoji="0" lang="de-DE" sz="2000" b="0" i="0" u="none" strike="noStrike" kern="1200" cap="none" spc="-1" normalizeH="0" baseline="0" noProof="0" dirty="0">
                <a:ln>
                  <a:noFill/>
                </a:ln>
                <a:solidFill>
                  <a:srgbClr val="514843"/>
                </a:solidFill>
                <a:effectLst/>
                <a:uLnTx/>
                <a:uFillTx/>
                <a:latin typeface="Euphemia"/>
                <a:ea typeface="+mn-ea"/>
                <a:cs typeface="+mn-cs"/>
              </a:rPr>
              <a:t> of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expertise</a:t>
            </a:r>
            <a:r>
              <a:rPr kumimoji="0" lang="de-DE" sz="2000" b="0" i="0" u="none" strike="noStrike" kern="1200" cap="none" spc="-1" normalizeH="0" baseline="0" noProof="0" dirty="0">
                <a:ln>
                  <a:noFill/>
                </a:ln>
                <a:solidFill>
                  <a:srgbClr val="514843"/>
                </a:solidFill>
                <a:effectLst/>
                <a:uLnTx/>
                <a:uFillTx/>
                <a:latin typeface="Euphemia"/>
                <a:ea typeface="+mn-ea"/>
                <a:cs typeface="+mn-cs"/>
              </a:rPr>
              <a:t> and often have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decent</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funding</a:t>
            </a:r>
            <a:endParaRPr kumimoji="0" lang="de-DE" sz="2000" b="0" i="0" u="none" strike="noStrike" kern="1200" cap="none" spc="-1" normalizeH="0" baseline="0" noProof="0" dirty="0">
              <a:ln>
                <a:noFill/>
              </a:ln>
              <a:solidFill>
                <a:srgbClr val="514843"/>
              </a:solidFill>
              <a:effectLst/>
              <a:uLnTx/>
              <a:uFillTx/>
              <a:latin typeface="Euphemia"/>
              <a:ea typeface="+mn-ea"/>
              <a:cs typeface="+mn-cs"/>
            </a:endParaRPr>
          </a:p>
          <a:p>
            <a:pPr marL="228600" marR="0" lvl="0" indent="-228240" algn="l" defTabSz="914400" rtl="0" eaLnBrk="1" fontAlgn="auto" latinLnBrk="0" hangingPunct="1">
              <a:lnSpc>
                <a:spcPct val="90000"/>
              </a:lnSpc>
              <a:spcBef>
                <a:spcPts val="1800"/>
              </a:spcBef>
              <a:spcAft>
                <a:spcPts val="0"/>
              </a:spcAft>
              <a:buClr>
                <a:srgbClr val="514843"/>
              </a:buClr>
              <a:buSzTx/>
              <a:buFont typeface="Wingdings" charset="2"/>
              <a:buChar char=""/>
              <a:tabLst/>
              <a:defRPr/>
            </a:pPr>
            <a:r>
              <a:rPr kumimoji="0" lang="de-DE" sz="2000" b="0" i="0" u="none" strike="noStrike" kern="1200" cap="none" spc="-1" normalizeH="0" baseline="0" noProof="0" dirty="0">
                <a:ln>
                  <a:noFill/>
                </a:ln>
                <a:solidFill>
                  <a:srgbClr val="514843"/>
                </a:solidFill>
                <a:effectLst/>
                <a:uLnTx/>
                <a:uFillTx/>
                <a:latin typeface="Euphemia"/>
                <a:ea typeface="+mn-ea"/>
                <a:cs typeface="+mn-cs"/>
              </a:rPr>
              <a:t>However, rules of standing may get in the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way</a:t>
            </a:r>
            <a:endParaRPr kumimoji="0" lang="de-DE" sz="2000" b="0" i="0" u="none" strike="noStrike" kern="1200" cap="none" spc="-1" normalizeH="0" baseline="0" noProof="0" dirty="0">
              <a:ln>
                <a:noFill/>
              </a:ln>
              <a:solidFill>
                <a:srgbClr val="514843"/>
              </a:solidFill>
              <a:effectLst/>
              <a:uLnTx/>
              <a:uFillTx/>
              <a:latin typeface="Euphemia"/>
              <a:ea typeface="+mn-ea"/>
              <a:cs typeface="+mn-cs"/>
            </a:endParaRPr>
          </a:p>
          <a:p>
            <a:pPr marL="228600" marR="0" lvl="0" indent="-228240" algn="l" defTabSz="914400" rtl="0" eaLnBrk="1" fontAlgn="auto" latinLnBrk="0" hangingPunct="1">
              <a:lnSpc>
                <a:spcPct val="90000"/>
              </a:lnSpc>
              <a:spcBef>
                <a:spcPts val="1800"/>
              </a:spcBef>
              <a:spcAft>
                <a:spcPts val="0"/>
              </a:spcAft>
              <a:buClr>
                <a:srgbClr val="514843"/>
              </a:buClr>
              <a:buSzTx/>
              <a:buFont typeface="Wingdings" charset="2"/>
              <a:buChar char=""/>
              <a:tabLst/>
              <a:defRPr/>
            </a:pPr>
            <a:r>
              <a:rPr kumimoji="0" lang="de-DE" sz="2000" b="0" i="0" u="none" strike="noStrike" kern="1200" cap="none" spc="-1" normalizeH="0" baseline="0" noProof="0" dirty="0">
                <a:ln>
                  <a:noFill/>
                </a:ln>
                <a:solidFill>
                  <a:srgbClr val="514843"/>
                </a:solidFill>
                <a:effectLst/>
                <a:uLnTx/>
                <a:uFillTx/>
                <a:latin typeface="Euphemia"/>
                <a:ea typeface="+mn-ea"/>
                <a:cs typeface="+mn-cs"/>
              </a:rPr>
              <a:t>They often have more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motivation</a:t>
            </a:r>
            <a:r>
              <a:rPr kumimoji="0" lang="de-DE" sz="2000" b="0" i="0" u="none" strike="noStrike" kern="1200" cap="none" spc="-1" normalizeH="0" baseline="0" noProof="0" dirty="0">
                <a:ln>
                  <a:noFill/>
                </a:ln>
                <a:solidFill>
                  <a:srgbClr val="514843"/>
                </a:solidFill>
                <a:effectLst/>
                <a:uLnTx/>
                <a:uFillTx/>
                <a:latin typeface="Euphemia"/>
                <a:ea typeface="+mn-ea"/>
                <a:cs typeface="+mn-cs"/>
              </a:rPr>
              <a:t> to ac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than</a:t>
            </a:r>
            <a:r>
              <a:rPr kumimoji="0" lang="de-DE" sz="2000" b="0" i="0" u="none" strike="noStrike" kern="1200" cap="none" spc="-1" normalizeH="0" baseline="0" noProof="0" dirty="0">
                <a:ln>
                  <a:noFill/>
                </a:ln>
                <a:solidFill>
                  <a:srgbClr val="514843"/>
                </a:solidFill>
                <a:effectLst/>
                <a:uLnTx/>
                <a:uFillTx/>
                <a:latin typeface="Euphemia"/>
                <a:ea typeface="+mn-ea"/>
                <a:cs typeface="+mn-cs"/>
              </a:rPr>
              <a:t> individuals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c.f</a:t>
            </a:r>
            <a:r>
              <a:rPr kumimoji="0" lang="de-DE" sz="2000" b="0" i="0" u="none" strike="noStrike" kern="1200" cap="none" spc="-1" normalizeH="0" baseline="0" noProof="0" dirty="0">
                <a:ln>
                  <a:noFill/>
                </a:ln>
                <a:solidFill>
                  <a:srgbClr val="514843"/>
                </a:solidFill>
                <a:effectLst/>
                <a:uLnTx/>
                <a:uFillTx/>
                <a:latin typeface="Euphemia"/>
                <a:ea typeface="+mn-ea"/>
                <a:cs typeface="+mn-cs"/>
              </a:rPr>
              <a:t>. the privacy paradox). But should we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actually</a:t>
            </a:r>
            <a:r>
              <a:rPr kumimoji="0" lang="de-DE" sz="2000" b="0" i="0" u="none" strike="noStrike" kern="1200" cap="none" spc="-1" normalizeH="0" baseline="0" noProof="0" dirty="0">
                <a:ln>
                  <a:noFill/>
                </a:ln>
                <a:solidFill>
                  <a:srgbClr val="514843"/>
                </a:solidFill>
                <a:effectLst/>
                <a:uLnTx/>
                <a:uFillTx/>
                <a:latin typeface="Euphemia"/>
                <a:ea typeface="+mn-ea"/>
                <a:cs typeface="+mn-cs"/>
              </a:rPr>
              <a:t> be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enforcing</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things</a:t>
            </a:r>
            <a:r>
              <a:rPr kumimoji="0" lang="de-DE" sz="2000" b="0" i="0" u="none" strike="noStrike" kern="1200" cap="none" spc="-1" normalizeH="0" baseline="0" noProof="0" dirty="0">
                <a:ln>
                  <a:noFill/>
                </a:ln>
                <a:solidFill>
                  <a:srgbClr val="514843"/>
                </a:solidFill>
                <a:effectLst/>
                <a:uLnTx/>
                <a:uFillTx/>
                <a:latin typeface="Euphemia"/>
                <a:ea typeface="+mn-ea"/>
                <a:cs typeface="+mn-cs"/>
              </a:rPr>
              <a:t> if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none</a:t>
            </a:r>
            <a:r>
              <a:rPr kumimoji="0" lang="de-DE" sz="2000" b="0" i="0" u="none" strike="noStrike" kern="1200" cap="none" spc="-1" normalizeH="0" baseline="0" noProof="0" dirty="0">
                <a:ln>
                  <a:noFill/>
                </a:ln>
                <a:solidFill>
                  <a:srgbClr val="514843"/>
                </a:solidFill>
                <a:effectLst/>
                <a:uLnTx/>
                <a:uFillTx/>
                <a:latin typeface="Euphemia"/>
                <a:ea typeface="+mn-ea"/>
                <a:cs typeface="+mn-cs"/>
              </a:rPr>
              <a:t> of the affected parties care? What if they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mispreresent</a:t>
            </a:r>
            <a:r>
              <a:rPr kumimoji="0" lang="de-DE" sz="2000" b="0" i="0" u="none" strike="noStrike" kern="1200" cap="none" spc="-1" normalizeH="0" baseline="0" noProof="0" dirty="0">
                <a:ln>
                  <a:noFill/>
                </a:ln>
                <a:solidFill>
                  <a:srgbClr val="514843"/>
                </a:solidFill>
                <a:effectLst/>
                <a:uLnTx/>
                <a:uFillTx/>
                <a:latin typeface="Euphemia"/>
                <a:ea typeface="+mn-ea"/>
                <a:cs typeface="+mn-cs"/>
              </a:rPr>
              <a:t> the parties’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interests</a:t>
            </a:r>
            <a:r>
              <a:rPr kumimoji="0" lang="de-DE" sz="2000" b="0" i="0" u="none" strike="noStrike" kern="1200" cap="none" spc="-1" normalizeH="0" baseline="0" noProof="0" dirty="0">
                <a:ln>
                  <a:noFill/>
                </a:ln>
                <a:solidFill>
                  <a:srgbClr val="514843"/>
                </a:solidFill>
                <a:effectLst/>
                <a:uLnTx/>
                <a:uFillTx/>
                <a:latin typeface="Euphemia"/>
                <a:ea typeface="+mn-ea"/>
                <a:cs typeface="+mn-cs"/>
              </a:rPr>
              <a:t> or seek a solution that the parties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don’t</a:t>
            </a:r>
            <a:r>
              <a:rPr kumimoji="0" lang="de-DE" sz="2000" b="0" i="0" u="none" strike="noStrike" kern="1200" cap="none" spc="-1" normalizeH="0" baseline="0" noProof="0" dirty="0">
                <a:ln>
                  <a:noFill/>
                </a:ln>
                <a:solidFill>
                  <a:srgbClr val="514843"/>
                </a:solidFill>
                <a:effectLst/>
                <a:uLnTx/>
                <a:uFillTx/>
                <a:latin typeface="Euphemia"/>
                <a:ea typeface="+mn-ea"/>
                <a:cs typeface="+mn-cs"/>
              </a:rPr>
              <a:t> like?</a:t>
            </a:r>
          </a:p>
        </p:txBody>
      </p:sp>
      <p:sp>
        <p:nvSpPr>
          <p:cNvPr id="333" name="TextShape 3"/>
          <p:cNvSpPr txBox="1"/>
          <p:nvPr/>
        </p:nvSpPr>
        <p:spPr>
          <a:xfrm>
            <a:off x="2934360" y="6356520"/>
            <a:ext cx="6322680" cy="364680"/>
          </a:xfrm>
          <a:prstGeom prst="rect">
            <a:avLst/>
          </a:prstGeom>
          <a:noFill/>
          <a:ln>
            <a:noFill/>
          </a:ln>
        </p:spPr>
        <p:txBody>
          <a:bodyPr lIns="0" r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1" normalizeH="0" baseline="0" noProof="0">
              <a:ln>
                <a:noFill/>
              </a:ln>
              <a:solidFill>
                <a:prstClr val="black"/>
              </a:solidFill>
              <a:effectLst/>
              <a:uLnTx/>
              <a:uFillTx/>
              <a:latin typeface="Times New Roman"/>
              <a:ea typeface="+mn-ea"/>
              <a:cs typeface="+mn-cs"/>
            </a:endParaRPr>
          </a:p>
        </p:txBody>
      </p:sp>
    </p:spTree>
    <p:extLst>
      <p:ext uri="{BB962C8B-B14F-4D97-AF65-F5344CB8AC3E}">
        <p14:creationId xmlns:p14="http://schemas.microsoft.com/office/powerpoint/2010/main" val="588686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4" name="TextShape 1"/>
          <p:cNvSpPr txBox="1"/>
          <p:nvPr/>
        </p:nvSpPr>
        <p:spPr>
          <a:xfrm>
            <a:off x="1104840" y="76320"/>
            <a:ext cx="9980280" cy="1096560"/>
          </a:xfrm>
          <a:prstGeom prst="rect">
            <a:avLst/>
          </a:prstGeom>
          <a:noFill/>
          <a:ln>
            <a:noFill/>
          </a:ln>
        </p:spPr>
        <p:txBody>
          <a:bodyPr lIns="0" rIns="0" anchor="b">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de-DE" sz="2800" b="0" i="0" u="none" strike="noStrike" kern="1200" cap="none" spc="-1" normalizeH="0" baseline="0" noProof="0">
                <a:ln>
                  <a:noFill/>
                </a:ln>
                <a:solidFill>
                  <a:srgbClr val="514843"/>
                </a:solidFill>
                <a:effectLst/>
                <a:uLnTx/>
                <a:uFillTx/>
                <a:latin typeface="Plantagenet Cherokee"/>
                <a:ea typeface="+mn-ea"/>
                <a:cs typeface="+mn-cs"/>
              </a:rPr>
              <a:t>Class-action lawsuits?</a:t>
            </a:r>
            <a:endParaRPr kumimoji="0" lang="de-DE" sz="2800" b="0" i="0" u="none" strike="noStrike" kern="1200" cap="none" spc="-1" normalizeH="0" baseline="0" noProof="0">
              <a:ln>
                <a:noFill/>
              </a:ln>
              <a:solidFill>
                <a:srgbClr val="514843"/>
              </a:solidFill>
              <a:effectLst/>
              <a:uLnTx/>
              <a:uFillTx/>
              <a:latin typeface="Euphemia"/>
              <a:ea typeface="+mn-ea"/>
              <a:cs typeface="+mn-cs"/>
            </a:endParaRPr>
          </a:p>
        </p:txBody>
      </p:sp>
      <p:sp>
        <p:nvSpPr>
          <p:cNvPr id="335" name="TextShape 2"/>
          <p:cNvSpPr txBox="1"/>
          <p:nvPr/>
        </p:nvSpPr>
        <p:spPr>
          <a:xfrm>
            <a:off x="1104840" y="1600200"/>
            <a:ext cx="9981720" cy="4571640"/>
          </a:xfrm>
          <a:prstGeom prst="rect">
            <a:avLst/>
          </a:prstGeom>
          <a:noFill/>
          <a:ln>
            <a:noFill/>
          </a:ln>
        </p:spPr>
        <p:txBody>
          <a:bodyPr lIns="0" rIns="0">
            <a:noAutofit/>
          </a:bodyPr>
          <a:lstStyle/>
          <a:p>
            <a:pPr marL="228600" marR="0" lvl="0" indent="-228240" algn="l" defTabSz="914400" rtl="0" eaLnBrk="1" fontAlgn="auto" latinLnBrk="0" hangingPunct="1">
              <a:lnSpc>
                <a:spcPct val="90000"/>
              </a:lnSpc>
              <a:spcBef>
                <a:spcPts val="1800"/>
              </a:spcBef>
              <a:spcAft>
                <a:spcPts val="0"/>
              </a:spcAft>
              <a:buClr>
                <a:srgbClr val="514843"/>
              </a:buClr>
              <a:buSzTx/>
              <a:buFont typeface="Wingdings" charset="2"/>
              <a:buChar char=""/>
              <a:tabLst/>
              <a:defRPr/>
            </a:pPr>
            <a:r>
              <a:rPr kumimoji="0" lang="de-DE" sz="2000" b="0" i="0" u="none" strike="noStrike" kern="1200" cap="none" spc="-1" normalizeH="0" baseline="0" noProof="0" dirty="0">
                <a:ln>
                  <a:noFill/>
                </a:ln>
                <a:solidFill>
                  <a:srgbClr val="514843"/>
                </a:solidFill>
                <a:effectLst/>
                <a:uLnTx/>
                <a:uFillTx/>
                <a:latin typeface="Euphemia"/>
                <a:ea typeface="+mn-ea"/>
                <a:cs typeface="+mn-cs"/>
              </a:rPr>
              <a:t>Big in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America</a:t>
            </a:r>
            <a:endParaRPr kumimoji="0" lang="de-DE" sz="2000" b="0" i="0" u="none" strike="noStrike" kern="1200" cap="none" spc="-1" normalizeH="0" baseline="0" noProof="0" dirty="0">
              <a:ln>
                <a:noFill/>
              </a:ln>
              <a:solidFill>
                <a:srgbClr val="514843"/>
              </a:solidFill>
              <a:effectLst/>
              <a:uLnTx/>
              <a:uFillTx/>
              <a:latin typeface="Euphemia"/>
              <a:ea typeface="+mn-ea"/>
              <a:cs typeface="+mn-cs"/>
            </a:endParaRPr>
          </a:p>
          <a:p>
            <a:pPr marL="228600" marR="0" lvl="0" indent="-228240" algn="l" defTabSz="914400" rtl="0" eaLnBrk="1" fontAlgn="auto" latinLnBrk="0" hangingPunct="1">
              <a:lnSpc>
                <a:spcPct val="90000"/>
              </a:lnSpc>
              <a:spcBef>
                <a:spcPts val="1800"/>
              </a:spcBef>
              <a:spcAft>
                <a:spcPts val="0"/>
              </a:spcAft>
              <a:buClr>
                <a:srgbClr val="514843"/>
              </a:buClr>
              <a:buSzTx/>
              <a:buFont typeface="Wingdings" charset="2"/>
              <a:buChar char=""/>
              <a:tabLst/>
              <a:defRPr/>
            </a:pPr>
            <a:r>
              <a:rPr kumimoji="0" lang="de-DE" sz="2000" b="0" i="0" u="none" strike="noStrike" kern="1200" cap="none" spc="-1" normalizeH="0" baseline="0" noProof="0" dirty="0" err="1">
                <a:ln>
                  <a:noFill/>
                </a:ln>
                <a:solidFill>
                  <a:srgbClr val="514843"/>
                </a:solidFill>
                <a:effectLst/>
                <a:uLnTx/>
                <a:uFillTx/>
                <a:latin typeface="Euphemia"/>
                <a:ea typeface="+mn-ea"/>
                <a:cs typeface="+mn-cs"/>
              </a:rPr>
              <a:t>Allows</a:t>
            </a:r>
            <a:r>
              <a:rPr kumimoji="0" lang="de-DE" sz="2000" b="0" i="0" u="none" strike="noStrike" kern="1200" cap="none" spc="-1" normalizeH="0" baseline="0" noProof="0" dirty="0">
                <a:ln>
                  <a:noFill/>
                </a:ln>
                <a:solidFill>
                  <a:srgbClr val="514843"/>
                </a:solidFill>
                <a:effectLst/>
                <a:uLnTx/>
                <a:uFillTx/>
                <a:latin typeface="Euphemia"/>
                <a:ea typeface="+mn-ea"/>
                <a:cs typeface="+mn-cs"/>
              </a:rPr>
              <a:t> multiple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claimants</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to</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act</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together</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theoretically</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increasing</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their</a:t>
            </a:r>
            <a:r>
              <a:rPr kumimoji="0" lang="de-DE" sz="2000" b="0" i="0" u="none" strike="noStrike" kern="1200" cap="none" spc="-1" normalizeH="0" baseline="0" noProof="0" dirty="0">
                <a:ln>
                  <a:noFill/>
                </a:ln>
                <a:solidFill>
                  <a:srgbClr val="514843"/>
                </a:solidFill>
                <a:effectLst/>
                <a:uLnTx/>
                <a:uFillTx/>
                <a:latin typeface="Euphemia"/>
                <a:ea typeface="+mn-ea"/>
                <a:cs typeface="+mn-cs"/>
              </a:rPr>
              <a:t> power and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voice</a:t>
            </a:r>
            <a:endParaRPr kumimoji="0" lang="de-DE" sz="2000" b="0" i="0" u="none" strike="noStrike" kern="1200" cap="none" spc="-1" normalizeH="0" baseline="0" noProof="0" dirty="0">
              <a:ln>
                <a:noFill/>
              </a:ln>
              <a:solidFill>
                <a:srgbClr val="514843"/>
              </a:solidFill>
              <a:effectLst/>
              <a:uLnTx/>
              <a:uFillTx/>
              <a:latin typeface="Euphemia"/>
              <a:ea typeface="+mn-ea"/>
              <a:cs typeface="+mn-cs"/>
            </a:endParaRPr>
          </a:p>
          <a:p>
            <a:pPr marL="228600" marR="0" lvl="0" indent="-228240" algn="l" defTabSz="914400" rtl="0" eaLnBrk="1" fontAlgn="auto" latinLnBrk="0" hangingPunct="1">
              <a:lnSpc>
                <a:spcPct val="90000"/>
              </a:lnSpc>
              <a:spcBef>
                <a:spcPts val="1800"/>
              </a:spcBef>
              <a:spcAft>
                <a:spcPts val="0"/>
              </a:spcAft>
              <a:buClr>
                <a:srgbClr val="514843"/>
              </a:buClr>
              <a:buSzTx/>
              <a:buFont typeface="Wingdings" charset="2"/>
              <a:buChar char=""/>
              <a:tabLst/>
              <a:defRPr/>
            </a:pPr>
            <a:r>
              <a:rPr kumimoji="0" lang="de-DE" sz="2000" b="0" i="0" u="none" strike="noStrike" kern="1200" cap="none" spc="-1" normalizeH="0" baseline="0" noProof="0" dirty="0">
                <a:ln>
                  <a:noFill/>
                </a:ln>
                <a:solidFill>
                  <a:srgbClr val="514843"/>
                </a:solidFill>
                <a:effectLst/>
                <a:uLnTx/>
                <a:uFillTx/>
                <a:latin typeface="Euphemia"/>
                <a:ea typeface="+mn-ea"/>
                <a:cs typeface="+mn-cs"/>
              </a:rPr>
              <a:t>Much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more</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cost</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efficient</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than</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having</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thousands</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of</a:t>
            </a:r>
            <a:r>
              <a:rPr kumimoji="0" lang="de-DE" sz="2000" b="0" i="0" u="none" strike="noStrike" kern="1200" cap="none" spc="-1" normalizeH="0" baseline="0" noProof="0" dirty="0">
                <a:ln>
                  <a:noFill/>
                </a:ln>
                <a:solidFill>
                  <a:srgbClr val="514843"/>
                </a:solidFill>
                <a:effectLst/>
                <a:uLnTx/>
                <a:uFillTx/>
                <a:latin typeface="Euphemia"/>
                <a:ea typeface="+mn-ea"/>
                <a:cs typeface="+mn-cs"/>
              </a:rPr>
              <a:t> individual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claims</a:t>
            </a:r>
            <a:r>
              <a:rPr kumimoji="0" lang="de-DE" sz="2000" b="0" i="0" u="none" strike="noStrike" kern="1200" cap="none" spc="-1" normalizeH="0" baseline="0" noProof="0" dirty="0">
                <a:ln>
                  <a:noFill/>
                </a:ln>
                <a:solidFill>
                  <a:srgbClr val="514843"/>
                </a:solidFill>
                <a:effectLst/>
                <a:uLnTx/>
                <a:uFillTx/>
                <a:latin typeface="Euphemia"/>
                <a:ea typeface="+mn-ea"/>
                <a:cs typeface="+mn-cs"/>
              </a:rPr>
              <a:t> (an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important</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factor</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given</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the</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number</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of</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people</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affected</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by</a:t>
            </a:r>
            <a:r>
              <a:rPr kumimoji="0" lang="de-DE" sz="2000" b="0" i="0" u="none" strike="noStrike" kern="1200" cap="none" spc="-1" normalizeH="0" baseline="0" noProof="0" dirty="0">
                <a:ln>
                  <a:noFill/>
                </a:ln>
                <a:solidFill>
                  <a:srgbClr val="514843"/>
                </a:solidFill>
                <a:effectLst/>
                <a:uLnTx/>
                <a:uFillTx/>
                <a:latin typeface="Euphemia"/>
                <a:ea typeface="+mn-ea"/>
                <a:cs typeface="+mn-cs"/>
              </a:rPr>
              <a:t> a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violation</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from</a:t>
            </a:r>
            <a:r>
              <a:rPr kumimoji="0" lang="de-DE" sz="2000" b="0" i="0" u="none" strike="noStrike" kern="1200" cap="none" spc="-1" normalizeH="0" baseline="0" noProof="0" dirty="0">
                <a:ln>
                  <a:noFill/>
                </a:ln>
                <a:solidFill>
                  <a:srgbClr val="514843"/>
                </a:solidFill>
                <a:effectLst/>
                <a:uLnTx/>
                <a:uFillTx/>
                <a:latin typeface="Euphemia"/>
                <a:ea typeface="+mn-ea"/>
                <a:cs typeface="+mn-cs"/>
              </a:rPr>
              <a:t> a social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media</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company</a:t>
            </a:r>
            <a:r>
              <a:rPr kumimoji="0" lang="de-DE" sz="2000" b="0" i="0" u="none" strike="noStrike" kern="1200" cap="none" spc="-1" normalizeH="0" baseline="0" noProof="0" dirty="0">
                <a:ln>
                  <a:noFill/>
                </a:ln>
                <a:solidFill>
                  <a:srgbClr val="514843"/>
                </a:solidFill>
                <a:effectLst/>
                <a:uLnTx/>
                <a:uFillTx/>
                <a:latin typeface="Euphemia"/>
                <a:ea typeface="+mn-ea"/>
                <a:cs typeface="+mn-cs"/>
              </a:rPr>
              <a:t>)</a:t>
            </a:r>
          </a:p>
          <a:p>
            <a:pPr marL="228600" marR="0" lvl="0" indent="-228240" algn="l" defTabSz="914400" rtl="0" eaLnBrk="1" fontAlgn="auto" latinLnBrk="0" hangingPunct="1">
              <a:lnSpc>
                <a:spcPct val="90000"/>
              </a:lnSpc>
              <a:spcBef>
                <a:spcPts val="1800"/>
              </a:spcBef>
              <a:spcAft>
                <a:spcPts val="0"/>
              </a:spcAft>
              <a:buClr>
                <a:srgbClr val="514843"/>
              </a:buClr>
              <a:buSzTx/>
              <a:buFont typeface="Wingdings" charset="2"/>
              <a:buChar char=""/>
              <a:tabLst/>
              <a:defRPr/>
            </a:pPr>
            <a:r>
              <a:rPr kumimoji="0" lang="de-DE" sz="2000" b="0" i="0" u="none" strike="noStrike" kern="1200" cap="none" spc="-1" normalizeH="0" baseline="0" noProof="0" dirty="0">
                <a:ln>
                  <a:noFill/>
                </a:ln>
                <a:solidFill>
                  <a:srgbClr val="514843"/>
                </a:solidFill>
                <a:effectLst/>
                <a:uLnTx/>
                <a:uFillTx/>
                <a:latin typeface="Euphemia"/>
                <a:ea typeface="+mn-ea"/>
                <a:cs typeface="+mn-cs"/>
              </a:rPr>
              <a:t>Can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lead</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to</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exploitative</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or</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overly</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tactical</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litigation</a:t>
            </a:r>
            <a:r>
              <a:rPr kumimoji="0" lang="de-DE" sz="2000" b="0" i="0" u="none" strike="noStrike" kern="1200" cap="none" spc="-1" normalizeH="0" baseline="0" noProof="0" dirty="0">
                <a:ln>
                  <a:noFill/>
                </a:ln>
                <a:solidFill>
                  <a:srgbClr val="514843"/>
                </a:solidFill>
                <a:effectLst/>
                <a:uLnTx/>
                <a:uFillTx/>
                <a:latin typeface="Euphemia"/>
                <a:ea typeface="+mn-ea"/>
                <a:cs typeface="+mn-cs"/>
              </a:rPr>
              <a:t> (e.g.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messing</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about</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with</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classes</a:t>
            </a:r>
            <a:r>
              <a:rPr kumimoji="0" lang="de-DE" sz="2000" b="0" i="0" u="none" strike="noStrike" kern="1200" cap="none" spc="-1" normalizeH="0" baseline="0" noProof="0" dirty="0">
                <a:ln>
                  <a:noFill/>
                </a:ln>
                <a:solidFill>
                  <a:srgbClr val="514843"/>
                </a:solidFill>
                <a:effectLst/>
                <a:uLnTx/>
                <a:uFillTx/>
                <a:latin typeface="Euphemia"/>
                <a:ea typeface="+mn-ea"/>
                <a:cs typeface="+mn-cs"/>
              </a:rPr>
              <a:t>)</a:t>
            </a:r>
          </a:p>
          <a:p>
            <a:pPr marL="228600" marR="0" lvl="0" indent="-228240" algn="l" defTabSz="914400" rtl="0" eaLnBrk="1" fontAlgn="auto" latinLnBrk="0" hangingPunct="1">
              <a:lnSpc>
                <a:spcPct val="90000"/>
              </a:lnSpc>
              <a:spcBef>
                <a:spcPts val="1800"/>
              </a:spcBef>
              <a:spcAft>
                <a:spcPts val="0"/>
              </a:spcAft>
              <a:buClr>
                <a:srgbClr val="514843"/>
              </a:buClr>
              <a:buSzTx/>
              <a:buFont typeface="Wingdings" charset="2"/>
              <a:buChar char=""/>
              <a:tabLst/>
              <a:defRPr/>
            </a:pPr>
            <a:r>
              <a:rPr kumimoji="0" lang="de-DE" sz="2000" b="0" i="0" u="none" strike="noStrike" kern="1200" cap="none" spc="-1" normalizeH="0" baseline="0" noProof="0" dirty="0" err="1">
                <a:ln>
                  <a:noFill/>
                </a:ln>
                <a:solidFill>
                  <a:srgbClr val="514843"/>
                </a:solidFill>
                <a:effectLst/>
                <a:uLnTx/>
                <a:uFillTx/>
                <a:latin typeface="Euphemia"/>
                <a:ea typeface="+mn-ea"/>
                <a:cs typeface="+mn-cs"/>
              </a:rPr>
              <a:t>What</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about</a:t>
            </a:r>
            <a:r>
              <a:rPr kumimoji="0" lang="de-DE" sz="2000" b="0" i="0" u="none" strike="noStrike" kern="1200" cap="none" spc="-1" normalizeH="0" baseline="0" noProof="0" dirty="0">
                <a:ln>
                  <a:noFill/>
                </a:ln>
                <a:solidFill>
                  <a:srgbClr val="514843"/>
                </a:solidFill>
                <a:effectLst/>
                <a:uLnTx/>
                <a:uFillTx/>
                <a:latin typeface="Euphemia"/>
                <a:ea typeface="+mn-ea"/>
                <a:cs typeface="+mn-cs"/>
              </a:rPr>
              <a:t> potential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claimants</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who</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are</a:t>
            </a:r>
            <a:r>
              <a:rPr kumimoji="0" lang="de-DE" sz="2000" b="0" i="0" u="none" strike="noStrike" kern="1200" cap="none" spc="-1" normalizeH="0" baseline="0" noProof="0" dirty="0">
                <a:ln>
                  <a:noFill/>
                </a:ln>
                <a:solidFill>
                  <a:srgbClr val="514843"/>
                </a:solidFill>
                <a:effectLst/>
                <a:uLnTx/>
                <a:uFillTx/>
                <a:latin typeface="Euphemia"/>
                <a:ea typeface="+mn-ea"/>
                <a:cs typeface="+mn-cs"/>
              </a:rPr>
              <a:t> no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part</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of</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the</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suit</a:t>
            </a:r>
            <a:r>
              <a:rPr kumimoji="0" lang="de-DE" sz="2000" b="0" i="0" u="none" strike="noStrike" kern="1200" cap="none" spc="-1" normalizeH="0" baseline="0" noProof="0" dirty="0">
                <a:ln>
                  <a:noFill/>
                </a:ln>
                <a:solidFill>
                  <a:srgbClr val="514843"/>
                </a:solidFill>
                <a:effectLst/>
                <a:uLnTx/>
                <a:uFillTx/>
                <a:latin typeface="Euphemia"/>
                <a:ea typeface="+mn-ea"/>
                <a:cs typeface="+mn-cs"/>
              </a:rPr>
              <a:t>?</a:t>
            </a:r>
          </a:p>
          <a:p>
            <a:pPr marL="228600" marR="0" lvl="0" indent="-228240" algn="l" defTabSz="914400" rtl="0" eaLnBrk="1" fontAlgn="auto" latinLnBrk="0" hangingPunct="1">
              <a:lnSpc>
                <a:spcPct val="90000"/>
              </a:lnSpc>
              <a:spcBef>
                <a:spcPts val="1800"/>
              </a:spcBef>
              <a:spcAft>
                <a:spcPts val="0"/>
              </a:spcAft>
              <a:buClr>
                <a:srgbClr val="514843"/>
              </a:buClr>
              <a:buSzTx/>
              <a:buFont typeface="Wingdings" charset="2"/>
              <a:buChar char=""/>
              <a:tabLst/>
              <a:defRPr/>
            </a:pPr>
            <a:r>
              <a:rPr kumimoji="0" lang="de-DE" sz="2000" b="0" i="0" u="none" strike="noStrike" kern="1200" cap="none" spc="-1" normalizeH="0" baseline="0" noProof="0" dirty="0" err="1">
                <a:ln>
                  <a:noFill/>
                </a:ln>
                <a:solidFill>
                  <a:srgbClr val="514843"/>
                </a:solidFill>
                <a:effectLst/>
                <a:uLnTx/>
                <a:uFillTx/>
                <a:latin typeface="Euphemia"/>
                <a:ea typeface="+mn-ea"/>
                <a:cs typeface="+mn-cs"/>
              </a:rPr>
              <a:t>Causes</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as</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many</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practical</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difficulties</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as</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it</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solves</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with</a:t>
            </a:r>
            <a:r>
              <a:rPr kumimoji="0" lang="de-DE" sz="2000" b="0" i="0" u="none" strike="noStrike" kern="1200" cap="none" spc="-1" normalizeH="0" baseline="0" noProof="0" dirty="0">
                <a:ln>
                  <a:noFill/>
                </a:ln>
                <a:solidFill>
                  <a:srgbClr val="514843"/>
                </a:solidFill>
                <a:effectLst/>
                <a:uLnTx/>
                <a:uFillTx/>
                <a:latin typeface="Euphemia"/>
                <a:ea typeface="+mn-ea"/>
                <a:cs typeface="+mn-cs"/>
              </a:rPr>
              <a:t> international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classes</a:t>
            </a:r>
            <a:r>
              <a:rPr kumimoji="0" lang="de-DE" sz="2000" b="0" i="0" u="none" strike="noStrike" kern="1200" cap="none" spc="-1" normalizeH="0" baseline="0" noProof="0" dirty="0">
                <a:ln>
                  <a:noFill/>
                </a:ln>
                <a:solidFill>
                  <a:srgbClr val="514843"/>
                </a:solidFill>
                <a:effectLst/>
                <a:uLnTx/>
                <a:uFillTx/>
                <a:latin typeface="Euphemia"/>
                <a:ea typeface="+mn-ea"/>
                <a:cs typeface="+mn-cs"/>
              </a:rPr>
              <a:t> (e.g.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means</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there</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is</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only</a:t>
            </a:r>
            <a:r>
              <a:rPr kumimoji="0" lang="de-DE" sz="2000" b="0" i="0" u="none" strike="noStrike" kern="1200" cap="none" spc="-1" normalizeH="0" baseline="0" noProof="0" dirty="0">
                <a:ln>
                  <a:noFill/>
                </a:ln>
                <a:solidFill>
                  <a:srgbClr val="514843"/>
                </a:solidFill>
                <a:effectLst/>
                <a:uLnTx/>
                <a:uFillTx/>
                <a:latin typeface="Euphemia"/>
                <a:ea typeface="+mn-ea"/>
                <a:cs typeface="+mn-cs"/>
              </a:rPr>
              <a:t> a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hearing</a:t>
            </a:r>
            <a:r>
              <a:rPr kumimoji="0" lang="de-DE" sz="2000" b="0" i="0" u="none" strike="noStrike" kern="1200" cap="none" spc="-1" normalizeH="0" baseline="0" noProof="0" dirty="0">
                <a:ln>
                  <a:noFill/>
                </a:ln>
                <a:solidFill>
                  <a:srgbClr val="514843"/>
                </a:solidFill>
                <a:effectLst/>
                <a:uLnTx/>
                <a:uFillTx/>
                <a:latin typeface="Euphemia"/>
                <a:ea typeface="+mn-ea"/>
                <a:cs typeface="+mn-cs"/>
              </a:rPr>
              <a:t> in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one</a:t>
            </a:r>
            <a:r>
              <a:rPr kumimoji="0" lang="de-DE" sz="2000" b="0" i="0" u="none" strike="noStrike" kern="1200" cap="none" spc="-1" normalizeH="0" baseline="0" noProof="0" dirty="0">
                <a:ln>
                  <a:noFill/>
                </a:ln>
                <a:solidFill>
                  <a:srgbClr val="514843"/>
                </a:solidFill>
                <a:effectLst/>
                <a:uLnTx/>
                <a:uFillTx/>
                <a:latin typeface="Euphemia"/>
                <a:ea typeface="+mn-ea"/>
                <a:cs typeface="+mn-cs"/>
              </a:rPr>
              <a: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country</a:t>
            </a:r>
            <a:r>
              <a:rPr kumimoji="0" lang="de-DE" sz="2000" b="0" i="0" u="none" strike="noStrike" kern="1200" cap="none" spc="-1" normalizeH="0" baseline="0" noProof="0" dirty="0">
                <a:ln>
                  <a:noFill/>
                </a:ln>
                <a:solidFill>
                  <a:srgbClr val="514843"/>
                </a:solidFill>
                <a:effectLst/>
                <a:uLnTx/>
                <a:uFillTx/>
                <a:latin typeface="Euphemia"/>
                <a:ea typeface="+mn-ea"/>
                <a:cs typeface="+mn-cs"/>
              </a:rPr>
              <a:t>, but </a:t>
            </a:r>
            <a:r>
              <a:rPr kumimoji="0" lang="de-DE" sz="2000" b="0" i="0" u="none" strike="noStrike" kern="1200" cap="none" spc="-1" normalizeH="0" baseline="0" noProof="0" dirty="0" err="1">
                <a:ln>
                  <a:noFill/>
                </a:ln>
                <a:solidFill>
                  <a:srgbClr val="514843"/>
                </a:solidFill>
                <a:effectLst/>
                <a:uLnTx/>
                <a:uFillTx/>
                <a:latin typeface="Euphemia"/>
                <a:ea typeface="+mn-ea"/>
                <a:cs typeface="+mn-cs"/>
              </a:rPr>
              <a:t>whose</a:t>
            </a:r>
            <a:r>
              <a:rPr kumimoji="0" lang="de-DE" sz="2000" b="0" i="0" u="none" strike="noStrike" kern="1200" cap="none" spc="-1" normalizeH="0" baseline="0" noProof="0" dirty="0">
                <a:ln>
                  <a:noFill/>
                </a:ln>
                <a:solidFill>
                  <a:srgbClr val="514843"/>
                </a:solidFill>
                <a:effectLst/>
                <a:uLnTx/>
                <a:uFillTx/>
                <a:latin typeface="Euphemia"/>
                <a:ea typeface="+mn-ea"/>
                <a:cs typeface="+mn-cs"/>
              </a:rPr>
              <a:t>?)</a:t>
            </a:r>
          </a:p>
        </p:txBody>
      </p:sp>
      <p:sp>
        <p:nvSpPr>
          <p:cNvPr id="336" name="TextShape 3"/>
          <p:cNvSpPr txBox="1"/>
          <p:nvPr/>
        </p:nvSpPr>
        <p:spPr>
          <a:xfrm>
            <a:off x="2934360" y="6356520"/>
            <a:ext cx="6322680" cy="364680"/>
          </a:xfrm>
          <a:prstGeom prst="rect">
            <a:avLst/>
          </a:prstGeom>
          <a:noFill/>
          <a:ln>
            <a:noFill/>
          </a:ln>
        </p:spPr>
        <p:txBody>
          <a:bodyPr lIns="0" r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1" normalizeH="0" baseline="0" noProof="0">
              <a:ln>
                <a:noFill/>
              </a:ln>
              <a:solidFill>
                <a:prstClr val="black"/>
              </a:solidFill>
              <a:effectLst/>
              <a:uLnTx/>
              <a:uFillTx/>
              <a:latin typeface="Times New Roman"/>
              <a:ea typeface="+mn-ea"/>
              <a:cs typeface="+mn-cs"/>
            </a:endParaRPr>
          </a:p>
        </p:txBody>
      </p:sp>
    </p:spTree>
    <p:extLst>
      <p:ext uri="{BB962C8B-B14F-4D97-AF65-F5344CB8AC3E}">
        <p14:creationId xmlns:p14="http://schemas.microsoft.com/office/powerpoint/2010/main" val="1340839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p15="http://schemas.microsoft.com/office/powerpoint/2012/main">
      <p:transition spd="med">
        <p:fade/>
      </p:transition>
    </mc:Fallback>
  </mc:AlternateContent>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118360" y="407186"/>
            <a:ext cx="9091184" cy="844491"/>
          </a:xfrm>
        </p:spPr>
        <p:txBody>
          <a:bodyPr rtlCol="0">
            <a:normAutofit/>
          </a:bodyPr>
          <a:lstStyle/>
          <a:p>
            <a:pPr>
              <a:spcBef>
                <a:spcPts val="0"/>
              </a:spcBef>
              <a:defRPr/>
            </a:pPr>
            <a:r>
              <a:rPr lang="fr-CA" sz="2800" spc="-1" dirty="0" err="1">
                <a:solidFill>
                  <a:srgbClr val="514843"/>
                </a:solidFill>
                <a:latin typeface="Plantagenet Cherokee"/>
                <a:ea typeface="+mn-ea"/>
                <a:cs typeface="+mn-cs"/>
              </a:rPr>
              <a:t>Using</a:t>
            </a:r>
            <a:r>
              <a:rPr lang="fr-CA" sz="2800" spc="-1" dirty="0">
                <a:solidFill>
                  <a:srgbClr val="514843"/>
                </a:solidFill>
                <a:latin typeface="Plantagenet Cherokee"/>
                <a:ea typeface="+mn-ea"/>
                <a:cs typeface="+mn-cs"/>
              </a:rPr>
              <a:t> </a:t>
            </a:r>
            <a:r>
              <a:rPr lang="fr-CA" sz="2800" spc="-1" dirty="0" err="1">
                <a:solidFill>
                  <a:srgbClr val="514843"/>
                </a:solidFill>
                <a:latin typeface="Plantagenet Cherokee"/>
                <a:ea typeface="+mn-ea"/>
                <a:cs typeface="+mn-cs"/>
              </a:rPr>
              <a:t>third</a:t>
            </a:r>
            <a:r>
              <a:rPr lang="fr-CA" sz="2800" spc="-1" dirty="0">
                <a:solidFill>
                  <a:srgbClr val="514843"/>
                </a:solidFill>
                <a:latin typeface="Plantagenet Cherokee"/>
                <a:ea typeface="+mn-ea"/>
                <a:cs typeface="+mn-cs"/>
              </a:rPr>
              <a:t> parties to enforce </a:t>
            </a:r>
            <a:r>
              <a:rPr lang="fr-CA" sz="2800" spc="-1" dirty="0" err="1">
                <a:solidFill>
                  <a:srgbClr val="514843"/>
                </a:solidFill>
                <a:latin typeface="Plantagenet Cherokee"/>
                <a:ea typeface="+mn-ea"/>
                <a:cs typeface="+mn-cs"/>
              </a:rPr>
              <a:t>rights</a:t>
            </a:r>
            <a:endParaRPr lang="fr-CA" sz="2800" spc="-1" dirty="0">
              <a:solidFill>
                <a:srgbClr val="514843"/>
              </a:solidFill>
              <a:latin typeface="Plantagenet Cherokee"/>
              <a:ea typeface="+mn-ea"/>
              <a:cs typeface="+mn-cs"/>
            </a:endParaRPr>
          </a:p>
        </p:txBody>
      </p:sp>
      <p:sp>
        <p:nvSpPr>
          <p:cNvPr id="6" name="TextBox 5"/>
          <p:cNvSpPr txBox="1"/>
          <p:nvPr/>
        </p:nvSpPr>
        <p:spPr>
          <a:xfrm>
            <a:off x="5663952" y="6093296"/>
            <a:ext cx="5004048" cy="338554"/>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Arial" charset="0"/>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800" b="0" i="0" u="none" strike="noStrike" kern="1200" cap="none" spc="0" normalizeH="0" baseline="0" noProof="0" dirty="0">
              <a:ln>
                <a:noFill/>
              </a:ln>
              <a:solidFill>
                <a:prstClr val="black"/>
              </a:solidFill>
              <a:effectLst/>
              <a:uLnTx/>
              <a:uFillTx/>
              <a:latin typeface="Arial" charset="0"/>
              <a:ea typeface="+mn-ea"/>
              <a:cs typeface="+mn-cs"/>
            </a:endParaRPr>
          </a:p>
        </p:txBody>
      </p:sp>
      <p:graphicFrame>
        <p:nvGraphicFramePr>
          <p:cNvPr id="4" name="Content Placeholder 3">
            <a:extLst>
              <a:ext uri="{FF2B5EF4-FFF2-40B4-BE49-F238E27FC236}">
                <a16:creationId xmlns:a16="http://schemas.microsoft.com/office/drawing/2014/main" id="{963765FD-E07D-4D1B-B513-8C841C58B737}"/>
              </a:ext>
            </a:extLst>
          </p:cNvPr>
          <p:cNvGraphicFramePr>
            <a:graphicFrameLocks noGrp="1"/>
          </p:cNvGraphicFramePr>
          <p:nvPr>
            <p:ph idx="1"/>
          </p:nvPr>
        </p:nvGraphicFramePr>
        <p:xfrm>
          <a:off x="1109272" y="1774209"/>
          <a:ext cx="9091184" cy="451064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8225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 name="TextShape 1"/>
          <p:cNvSpPr txBox="1"/>
          <p:nvPr/>
        </p:nvSpPr>
        <p:spPr>
          <a:xfrm>
            <a:off x="1104840" y="35377"/>
            <a:ext cx="9980280" cy="1096560"/>
          </a:xfrm>
          <a:prstGeom prst="rect">
            <a:avLst/>
          </a:prstGeom>
          <a:noFill/>
          <a:ln>
            <a:noFill/>
          </a:ln>
        </p:spPr>
        <p:txBody>
          <a:bodyPr lIns="0" rIns="0" anchor="b">
            <a:no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FI" sz="2800" b="0" i="0" u="none" strike="noStrike" kern="1200" cap="none" spc="-1" normalizeH="0" baseline="0" noProof="0" dirty="0">
                <a:ln>
                  <a:noFill/>
                </a:ln>
                <a:solidFill>
                  <a:srgbClr val="514843"/>
                </a:solidFill>
                <a:effectLst/>
                <a:uLnTx/>
                <a:uFillTx/>
                <a:latin typeface="Plantagenet Cherokee"/>
                <a:ea typeface="+mn-ea"/>
                <a:cs typeface="+mn-cs"/>
              </a:rPr>
              <a:t>Key aspects you should understand after this lecture</a:t>
            </a:r>
            <a:r>
              <a:rPr kumimoji="0" lang="de-DE" sz="2800" b="0" i="0" u="none" strike="noStrike" kern="1200" cap="none" spc="-1" normalizeH="0" baseline="0" noProof="0" dirty="0">
                <a:ln>
                  <a:noFill/>
                </a:ln>
                <a:solidFill>
                  <a:srgbClr val="514843"/>
                </a:solidFill>
                <a:effectLst/>
                <a:uLnTx/>
                <a:uFillTx/>
                <a:latin typeface="Plantagenet Cherokee"/>
                <a:ea typeface="+mn-ea"/>
                <a:cs typeface="+mn-cs"/>
              </a:rPr>
              <a:t> </a:t>
            </a:r>
            <a:endParaRPr kumimoji="0" lang="de-DE" sz="2800" b="0" i="0" u="none" strike="noStrike" kern="1200" cap="none" spc="-1" normalizeH="0" baseline="0" noProof="0" dirty="0">
              <a:ln>
                <a:noFill/>
              </a:ln>
              <a:solidFill>
                <a:srgbClr val="514843"/>
              </a:solidFill>
              <a:effectLst/>
              <a:uLnTx/>
              <a:uFillTx/>
              <a:latin typeface="Euphemia"/>
              <a:ea typeface="+mn-ea"/>
              <a:cs typeface="+mn-cs"/>
            </a:endParaRPr>
          </a:p>
        </p:txBody>
      </p:sp>
      <p:sp>
        <p:nvSpPr>
          <p:cNvPr id="246" name="TextShape 2"/>
          <p:cNvSpPr txBox="1"/>
          <p:nvPr/>
        </p:nvSpPr>
        <p:spPr>
          <a:xfrm>
            <a:off x="1104840" y="1600200"/>
            <a:ext cx="9981720" cy="4571640"/>
          </a:xfrm>
          <a:prstGeom prst="rect">
            <a:avLst/>
          </a:prstGeom>
          <a:noFill/>
          <a:ln>
            <a:noFill/>
          </a:ln>
        </p:spPr>
        <p:txBody>
          <a:bodyPr lIns="0" rIns="0">
            <a:noAutofit/>
          </a:bodyPr>
          <a:lstStyle/>
          <a:p>
            <a:pPr marL="343080" marR="0" lvl="0" indent="-342720" algn="l" defTabSz="914400" rtl="0" eaLnBrk="1" fontAlgn="auto" latinLnBrk="0" hangingPunct="1">
              <a:lnSpc>
                <a:spcPct val="105000"/>
              </a:lnSpc>
              <a:spcBef>
                <a:spcPts val="1800"/>
              </a:spcBef>
              <a:spcAft>
                <a:spcPts val="0"/>
              </a:spcAft>
              <a:buClr>
                <a:srgbClr val="514843"/>
              </a:buClr>
              <a:buSzTx/>
              <a:buFont typeface="Symbol"/>
              <a:buChar char=""/>
              <a:tabLst/>
              <a:defRPr/>
            </a:pPr>
            <a:r>
              <a:rPr kumimoji="0" lang="en-FI" sz="2400" b="0" i="0" u="none" strike="noStrike" kern="1200" cap="none" spc="-1" normalizeH="0" baseline="0" noProof="0" dirty="0">
                <a:ln>
                  <a:noFill/>
                </a:ln>
                <a:solidFill>
                  <a:srgbClr val="514843"/>
                </a:solidFill>
                <a:effectLst/>
                <a:uLnTx/>
                <a:uFillTx/>
                <a:latin typeface="Times New Roman"/>
                <a:ea typeface="Georgia"/>
                <a:cs typeface="+mn-cs"/>
              </a:rPr>
              <a:t>W</a:t>
            </a:r>
            <a:r>
              <a:rPr kumimoji="0" lang="en-FI" sz="2400" b="0" i="0" u="none" strike="noStrike" kern="1200" cap="none" spc="-1" normalizeH="0" baseline="0" noProof="0" dirty="0" err="1">
                <a:ln>
                  <a:noFill/>
                </a:ln>
                <a:solidFill>
                  <a:srgbClr val="514843"/>
                </a:solidFill>
                <a:effectLst/>
                <a:uLnTx/>
                <a:uFillTx/>
                <a:latin typeface="Times New Roman"/>
                <a:ea typeface="Georgia"/>
                <a:cs typeface="+mn-cs"/>
              </a:rPr>
              <a:t>hy</a:t>
            </a:r>
            <a:r>
              <a:rPr kumimoji="0" lang="en-FI" sz="2400" b="0" i="0" u="none" strike="noStrike" kern="1200" cap="none" spc="-1" normalizeH="0" baseline="0" noProof="0" dirty="0">
                <a:ln>
                  <a:noFill/>
                </a:ln>
                <a:solidFill>
                  <a:srgbClr val="514843"/>
                </a:solidFill>
                <a:effectLst/>
                <a:uLnTx/>
                <a:uFillTx/>
                <a:latin typeface="Times New Roman"/>
                <a:ea typeface="Georgia"/>
                <a:cs typeface="+mn-cs"/>
              </a:rPr>
              <a:t> enforcement is essential? (+ 4 modalities from Lessig)</a:t>
            </a:r>
          </a:p>
          <a:p>
            <a:pPr marL="343080" marR="0" lvl="0" indent="-342720" algn="l" defTabSz="914400" rtl="0" eaLnBrk="1" fontAlgn="auto" latinLnBrk="0" hangingPunct="1">
              <a:lnSpc>
                <a:spcPct val="105000"/>
              </a:lnSpc>
              <a:spcBef>
                <a:spcPts val="1800"/>
              </a:spcBef>
              <a:spcAft>
                <a:spcPts val="0"/>
              </a:spcAft>
              <a:buClr>
                <a:srgbClr val="514843"/>
              </a:buClr>
              <a:buSzTx/>
              <a:buFont typeface="Symbol"/>
              <a:buChar char=""/>
              <a:tabLst/>
              <a:defRPr/>
            </a:pPr>
            <a:r>
              <a:rPr kumimoji="0" lang="en-FI" sz="2400" b="0" i="0" u="none" strike="noStrike" kern="1200" cap="none" spc="-1" normalizeH="0" baseline="0" noProof="0" dirty="0">
                <a:ln>
                  <a:noFill/>
                </a:ln>
                <a:solidFill>
                  <a:srgbClr val="514843"/>
                </a:solidFill>
                <a:effectLst/>
                <a:uLnTx/>
                <a:uFillTx/>
                <a:latin typeface="Times New Roman"/>
                <a:ea typeface="Georgia"/>
                <a:cs typeface="+mn-cs"/>
              </a:rPr>
              <a:t>Is it different with information law?</a:t>
            </a:r>
          </a:p>
          <a:p>
            <a:pPr marL="343080" marR="0" lvl="0" indent="-342720" algn="l" defTabSz="914400" rtl="0" eaLnBrk="1" fontAlgn="auto" latinLnBrk="0" hangingPunct="1">
              <a:lnSpc>
                <a:spcPct val="105000"/>
              </a:lnSpc>
              <a:spcBef>
                <a:spcPts val="1800"/>
              </a:spcBef>
              <a:spcAft>
                <a:spcPts val="0"/>
              </a:spcAft>
              <a:buClr>
                <a:srgbClr val="514843"/>
              </a:buClr>
              <a:buSzTx/>
              <a:buFont typeface="Symbol"/>
              <a:buChar char=""/>
              <a:tabLst/>
              <a:defRPr/>
            </a:pPr>
            <a:r>
              <a:rPr kumimoji="0" lang="en-FI" sz="2400" b="0" i="0" u="none" strike="noStrike" kern="1200" cap="none" spc="-1" normalizeH="0" baseline="0" noProof="0" dirty="0">
                <a:ln>
                  <a:noFill/>
                </a:ln>
                <a:solidFill>
                  <a:srgbClr val="514843"/>
                </a:solidFill>
                <a:effectLst/>
                <a:uLnTx/>
                <a:uFillTx/>
                <a:latin typeface="Times New Roman"/>
                <a:ea typeface="Georgia"/>
                <a:cs typeface="+mn-cs"/>
              </a:rPr>
              <a:t>Classical enforcement  - be able to name some cases; </a:t>
            </a:r>
            <a:r>
              <a:rPr kumimoji="0" lang="en-FI" sz="2400" b="0" i="0" u="none" strike="noStrike" kern="1200" cap="none" spc="-1" normalizeH="0" baseline="0" noProof="0" dirty="0" err="1">
                <a:ln>
                  <a:noFill/>
                </a:ln>
                <a:solidFill>
                  <a:srgbClr val="514843"/>
                </a:solidFill>
                <a:effectLst/>
                <a:uLnTx/>
                <a:uFillTx/>
                <a:latin typeface="Times New Roman"/>
                <a:ea typeface="Georgia"/>
                <a:cs typeface="+mn-cs"/>
              </a:rPr>
              <a:t>critizise</a:t>
            </a:r>
            <a:r>
              <a:rPr kumimoji="0" lang="en-FI" sz="2400" b="0" i="0" u="none" strike="noStrike" kern="1200" cap="none" spc="-1" normalizeH="0" baseline="0" noProof="0" dirty="0">
                <a:ln>
                  <a:noFill/>
                </a:ln>
                <a:solidFill>
                  <a:srgbClr val="514843"/>
                </a:solidFill>
                <a:effectLst/>
                <a:uLnTx/>
                <a:uFillTx/>
                <a:latin typeface="Times New Roman"/>
                <a:ea typeface="Georgia"/>
                <a:cs typeface="+mn-cs"/>
              </a:rPr>
              <a:t> effectiveness </a:t>
            </a:r>
          </a:p>
          <a:p>
            <a:pPr marL="343080" marR="0" lvl="0" indent="-342720" algn="l" defTabSz="914400" rtl="0" eaLnBrk="1" fontAlgn="auto" latinLnBrk="0" hangingPunct="1">
              <a:lnSpc>
                <a:spcPct val="105000"/>
              </a:lnSpc>
              <a:spcBef>
                <a:spcPts val="1800"/>
              </a:spcBef>
              <a:spcAft>
                <a:spcPts val="0"/>
              </a:spcAft>
              <a:buClr>
                <a:srgbClr val="514843"/>
              </a:buClr>
              <a:buSzTx/>
              <a:buFont typeface="Symbol"/>
              <a:buChar char=""/>
              <a:tabLst/>
              <a:defRPr/>
            </a:pPr>
            <a:r>
              <a:rPr kumimoji="0" lang="en-FI" sz="2400" b="0" i="0" u="none" strike="noStrike" kern="1200" cap="none" spc="-1" normalizeH="0" baseline="0" noProof="0" dirty="0">
                <a:ln>
                  <a:noFill/>
                </a:ln>
                <a:solidFill>
                  <a:srgbClr val="514843"/>
                </a:solidFill>
                <a:effectLst/>
                <a:uLnTx/>
                <a:uFillTx/>
                <a:latin typeface="Times New Roman"/>
                <a:ea typeface="Georgia"/>
                <a:cs typeface="+mn-cs"/>
              </a:rPr>
              <a:t>Alternative ways of enforcement (covering also activists), discuss pro/con</a:t>
            </a:r>
          </a:p>
          <a:p>
            <a:pPr marL="457560" marR="0" lvl="1" indent="0" algn="l" defTabSz="914400" rtl="0" eaLnBrk="1" fontAlgn="auto" latinLnBrk="0" hangingPunct="1">
              <a:lnSpc>
                <a:spcPct val="105000"/>
              </a:lnSpc>
              <a:spcBef>
                <a:spcPts val="1800"/>
              </a:spcBef>
              <a:spcAft>
                <a:spcPts val="0"/>
              </a:spcAft>
              <a:buClr>
                <a:srgbClr val="514843"/>
              </a:buClr>
              <a:buSzTx/>
              <a:buFontTx/>
              <a:buNone/>
              <a:tabLst/>
              <a:defRPr/>
            </a:pPr>
            <a:endParaRPr kumimoji="0" lang="en-FI" sz="2400" b="0" i="0" u="none" strike="noStrike" kern="1200" cap="none" spc="-1" normalizeH="0" baseline="0" noProof="0" dirty="0">
              <a:ln>
                <a:noFill/>
              </a:ln>
              <a:solidFill>
                <a:srgbClr val="514843"/>
              </a:solidFill>
              <a:effectLst/>
              <a:uLnTx/>
              <a:uFillTx/>
              <a:latin typeface="Times New Roman"/>
              <a:ea typeface="Georgia"/>
              <a:cs typeface="+mn-cs"/>
            </a:endParaRPr>
          </a:p>
          <a:p>
            <a:pPr marL="343080" marR="0" lvl="0" indent="-342720" algn="l" defTabSz="914400" rtl="0" eaLnBrk="1" fontAlgn="auto" latinLnBrk="0" hangingPunct="1">
              <a:lnSpc>
                <a:spcPct val="105000"/>
              </a:lnSpc>
              <a:spcBef>
                <a:spcPts val="1800"/>
              </a:spcBef>
              <a:spcAft>
                <a:spcPts val="0"/>
              </a:spcAft>
              <a:buClr>
                <a:srgbClr val="514843"/>
              </a:buClr>
              <a:buSzTx/>
              <a:buFont typeface="Symbol"/>
              <a:buChar char=""/>
              <a:tabLst/>
              <a:defRPr/>
            </a:pPr>
            <a:endParaRPr kumimoji="0" lang="de-DE" sz="2400" b="0" i="0" u="none" strike="noStrike" kern="1200" cap="none" spc="-1" normalizeH="0" baseline="0" noProof="0" dirty="0">
              <a:ln>
                <a:noFill/>
              </a:ln>
              <a:solidFill>
                <a:srgbClr val="514843"/>
              </a:solidFill>
              <a:effectLst/>
              <a:uLnTx/>
              <a:uFillTx/>
              <a:latin typeface="Euphemia"/>
              <a:ea typeface="+mn-ea"/>
              <a:cs typeface="+mn-cs"/>
            </a:endParaRPr>
          </a:p>
          <a:p>
            <a:pPr marL="0" marR="0" lvl="0" indent="0" algn="l" defTabSz="914400" rtl="0" eaLnBrk="1" fontAlgn="auto" latinLnBrk="0" hangingPunct="1">
              <a:lnSpc>
                <a:spcPct val="105000"/>
              </a:lnSpc>
              <a:spcBef>
                <a:spcPts val="1800"/>
              </a:spcBef>
              <a:spcAft>
                <a:spcPts val="0"/>
              </a:spcAft>
              <a:buClrTx/>
              <a:buSzTx/>
              <a:buFontTx/>
              <a:buNone/>
              <a:tabLst/>
              <a:defRPr/>
            </a:pPr>
            <a:endParaRPr kumimoji="0" lang="de-DE" sz="2400" b="0" i="0" u="none" strike="noStrike" kern="1200" cap="none" spc="-1" normalizeH="0" baseline="0" noProof="0" dirty="0">
              <a:ln>
                <a:noFill/>
              </a:ln>
              <a:solidFill>
                <a:srgbClr val="514843"/>
              </a:solidFill>
              <a:effectLst/>
              <a:uLnTx/>
              <a:uFillTx/>
              <a:latin typeface="Euphemia"/>
              <a:ea typeface="+mn-ea"/>
              <a:cs typeface="+mn-cs"/>
            </a:endParaRPr>
          </a:p>
        </p:txBody>
      </p:sp>
      <p:sp>
        <p:nvSpPr>
          <p:cNvPr id="247" name="TextShape 3"/>
          <p:cNvSpPr txBox="1"/>
          <p:nvPr/>
        </p:nvSpPr>
        <p:spPr>
          <a:xfrm>
            <a:off x="2934360" y="6356520"/>
            <a:ext cx="6322680" cy="364680"/>
          </a:xfrm>
          <a:prstGeom prst="rect">
            <a:avLst/>
          </a:prstGeom>
          <a:noFill/>
          <a:ln>
            <a:noFill/>
          </a:ln>
        </p:spPr>
        <p:txBody>
          <a:bodyPr lIns="0" rIns="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1" normalizeH="0" baseline="0" noProof="0">
              <a:ln>
                <a:noFill/>
              </a:ln>
              <a:solidFill>
                <a:prstClr val="black"/>
              </a:solidFill>
              <a:effectLst/>
              <a:uLnTx/>
              <a:uFillTx/>
              <a:latin typeface="Times New Roman"/>
              <a:ea typeface="+mn-ea"/>
              <a:cs typeface="+mn-cs"/>
            </a:endParaRPr>
          </a:p>
        </p:txBody>
      </p:sp>
    </p:spTree>
    <p:extLst>
      <p:ext uri="{BB962C8B-B14F-4D97-AF65-F5344CB8AC3E}">
        <p14:creationId xmlns:p14="http://schemas.microsoft.com/office/powerpoint/2010/main" val="2339179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p:cTn id="2" dur="indefinite" nodeType="mainSeq"/>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61252B-C795-4859-A47A-8FC1D1D0B2F0}"/>
              </a:ext>
            </a:extLst>
          </p:cNvPr>
          <p:cNvSpPr>
            <a:spLocks noGrp="1"/>
          </p:cNvSpPr>
          <p:nvPr>
            <p:ph type="title"/>
          </p:nvPr>
        </p:nvSpPr>
        <p:spPr/>
        <p:txBody>
          <a:bodyPr/>
          <a:lstStyle/>
          <a:p>
            <a:r>
              <a:rPr lang="en-FI" dirty="0">
                <a:latin typeface="Plantagenet Cherokee" panose="02020602070100000000" pitchFamily="18" charset="0"/>
              </a:rPr>
              <a:t>Alternative Ways of Enforcement</a:t>
            </a:r>
            <a:endParaRPr lang="de-DE" dirty="0">
              <a:latin typeface="Plantagenet Cherokee" panose="02020602070100000000" pitchFamily="18" charset="0"/>
            </a:endParaRPr>
          </a:p>
        </p:txBody>
      </p:sp>
      <p:sp>
        <p:nvSpPr>
          <p:cNvPr id="5" name="Text Placeholder 4">
            <a:extLst>
              <a:ext uri="{FF2B5EF4-FFF2-40B4-BE49-F238E27FC236}">
                <a16:creationId xmlns:a16="http://schemas.microsoft.com/office/drawing/2014/main" id="{D6BD19B1-4A52-4718-A7C5-373CFA2F0F8A}"/>
              </a:ext>
            </a:extLst>
          </p:cNvPr>
          <p:cNvSpPr>
            <a:spLocks noGrp="1"/>
          </p:cNvSpPr>
          <p:nvPr>
            <p:ph type="body" idx="1"/>
          </p:nvPr>
        </p:nvSpPr>
        <p:spPr/>
        <p:txBody>
          <a:bodyPr/>
          <a:lstStyle/>
          <a:p>
            <a:endParaRPr lang="de-DE"/>
          </a:p>
        </p:txBody>
      </p:sp>
      <p:sp>
        <p:nvSpPr>
          <p:cNvPr id="4" name="Footer Placeholder 3">
            <a:extLst>
              <a:ext uri="{FF2B5EF4-FFF2-40B4-BE49-F238E27FC236}">
                <a16:creationId xmlns:a16="http://schemas.microsoft.com/office/drawing/2014/main" id="{CA8664E8-ACBD-43FD-A399-21D9FEDF0465}"/>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794494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rtlCol="0">
            <a:normAutofit/>
          </a:bodyPr>
          <a:lstStyle/>
          <a:p>
            <a:pPr>
              <a:spcBef>
                <a:spcPts val="0"/>
              </a:spcBef>
              <a:defRPr/>
            </a:pPr>
            <a:r>
              <a:rPr lang="fr-CA" sz="2800" spc="-1" dirty="0" err="1">
                <a:solidFill>
                  <a:srgbClr val="514843"/>
                </a:solidFill>
                <a:latin typeface="Plantagenet Cherokee"/>
                <a:ea typeface="+mn-ea"/>
                <a:cs typeface="+mn-cs"/>
              </a:rPr>
              <a:t>Overview</a:t>
            </a:r>
            <a:r>
              <a:rPr lang="en-FI" sz="2800" spc="-1" dirty="0">
                <a:solidFill>
                  <a:srgbClr val="514843"/>
                </a:solidFill>
                <a:latin typeface="Plantagenet Cherokee"/>
                <a:ea typeface="+mn-ea"/>
                <a:cs typeface="+mn-cs"/>
              </a:rPr>
              <a:t>: </a:t>
            </a:r>
            <a:r>
              <a:rPr lang="fr-CA" sz="2800" spc="-1" dirty="0">
                <a:solidFill>
                  <a:srgbClr val="514843"/>
                </a:solidFill>
                <a:latin typeface="Plantagenet Cherokee"/>
                <a:ea typeface="+mn-ea"/>
                <a:cs typeface="+mn-cs"/>
              </a:rPr>
              <a:t>Alternative </a:t>
            </a:r>
            <a:r>
              <a:rPr lang="fr-CA" sz="2800" spc="-1" dirty="0" err="1">
                <a:solidFill>
                  <a:srgbClr val="514843"/>
                </a:solidFill>
                <a:latin typeface="Plantagenet Cherokee"/>
                <a:ea typeface="+mn-ea"/>
                <a:cs typeface="+mn-cs"/>
              </a:rPr>
              <a:t>ways</a:t>
            </a:r>
            <a:r>
              <a:rPr lang="fr-CA" sz="2800" spc="-1" dirty="0">
                <a:solidFill>
                  <a:srgbClr val="514843"/>
                </a:solidFill>
                <a:latin typeface="Plantagenet Cherokee"/>
                <a:ea typeface="+mn-ea"/>
                <a:cs typeface="+mn-cs"/>
              </a:rPr>
              <a:t> of </a:t>
            </a:r>
            <a:r>
              <a:rPr lang="fr-CA" sz="2800" spc="-1" dirty="0" err="1">
                <a:solidFill>
                  <a:srgbClr val="514843"/>
                </a:solidFill>
                <a:latin typeface="Plantagenet Cherokee"/>
                <a:ea typeface="+mn-ea"/>
                <a:cs typeface="+mn-cs"/>
              </a:rPr>
              <a:t>enforcement</a:t>
            </a:r>
            <a:endParaRPr lang="fr-CA" sz="2800" spc="-1" dirty="0">
              <a:solidFill>
                <a:srgbClr val="514843"/>
              </a:solidFill>
              <a:latin typeface="Plantagenet Cherokee"/>
              <a:ea typeface="+mn-ea"/>
              <a:cs typeface="+mn-cs"/>
            </a:endParaRPr>
          </a:p>
        </p:txBody>
      </p:sp>
      <p:graphicFrame>
        <p:nvGraphicFramePr>
          <p:cNvPr id="4" name="Content Placeholder 3"/>
          <p:cNvGraphicFramePr>
            <a:graphicFrameLocks noGrp="1"/>
          </p:cNvGraphicFramePr>
          <p:nvPr>
            <p:ph idx="1"/>
          </p:nvPr>
        </p:nvGraphicFramePr>
        <p:xfrm>
          <a:off x="1104840" y="1484784"/>
          <a:ext cx="9980280" cy="5257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94813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7E350E-DA96-47DB-B00F-59EBBB29A498}"/>
              </a:ext>
            </a:extLst>
          </p:cNvPr>
          <p:cNvSpPr>
            <a:spLocks noGrp="1"/>
          </p:cNvSpPr>
          <p:nvPr>
            <p:ph type="ctrTitle"/>
          </p:nvPr>
        </p:nvSpPr>
        <p:spPr/>
        <p:txBody>
          <a:bodyPr/>
          <a:lstStyle/>
          <a:p>
            <a:r>
              <a:rPr lang="en-FI" dirty="0"/>
              <a:t>Privacy by Design</a:t>
            </a:r>
            <a:endParaRPr lang="de-DE" dirty="0"/>
          </a:p>
        </p:txBody>
      </p:sp>
      <p:sp>
        <p:nvSpPr>
          <p:cNvPr id="6" name="Subtitle 5">
            <a:extLst>
              <a:ext uri="{FF2B5EF4-FFF2-40B4-BE49-F238E27FC236}">
                <a16:creationId xmlns:a16="http://schemas.microsoft.com/office/drawing/2014/main" id="{3A43B07A-E1F9-4B25-8841-054227026A15}"/>
              </a:ext>
            </a:extLst>
          </p:cNvPr>
          <p:cNvSpPr>
            <a:spLocks noGrp="1"/>
          </p:cNvSpPr>
          <p:nvPr>
            <p:ph type="subTitle" idx="1"/>
          </p:nvPr>
        </p:nvSpPr>
        <p:spPr/>
        <p:txBody>
          <a:bodyPr/>
          <a:lstStyle/>
          <a:p>
            <a:endParaRPr lang="fi-FI"/>
          </a:p>
        </p:txBody>
      </p:sp>
    </p:spTree>
    <p:extLst>
      <p:ext uri="{BB962C8B-B14F-4D97-AF65-F5344CB8AC3E}">
        <p14:creationId xmlns:p14="http://schemas.microsoft.com/office/powerpoint/2010/main" val="4247023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rtlCol="0">
            <a:normAutofit/>
          </a:bodyPr>
          <a:lstStyle/>
          <a:p>
            <a:pPr>
              <a:spcBef>
                <a:spcPts val="0"/>
              </a:spcBef>
              <a:defRPr/>
            </a:pPr>
            <a:r>
              <a:rPr lang="fr-CA" sz="2800" spc="-1" dirty="0" err="1">
                <a:solidFill>
                  <a:srgbClr val="514843"/>
                </a:solidFill>
                <a:latin typeface="Plantagenet Cherokee"/>
                <a:ea typeface="+mn-ea"/>
                <a:cs typeface="+mn-cs"/>
              </a:rPr>
              <a:t>Privacy</a:t>
            </a:r>
            <a:r>
              <a:rPr lang="fr-CA" sz="2800" spc="-1" dirty="0">
                <a:solidFill>
                  <a:srgbClr val="514843"/>
                </a:solidFill>
                <a:latin typeface="Plantagenet Cherokee"/>
                <a:ea typeface="+mn-ea"/>
                <a:cs typeface="+mn-cs"/>
              </a:rPr>
              <a:t> by Design (</a:t>
            </a:r>
            <a:r>
              <a:rPr lang="fr-CA" sz="2800" spc="-1" dirty="0" err="1">
                <a:solidFill>
                  <a:srgbClr val="514843"/>
                </a:solidFill>
                <a:latin typeface="Plantagenet Cherokee"/>
                <a:ea typeface="+mn-ea"/>
                <a:cs typeface="+mn-cs"/>
              </a:rPr>
              <a:t>PbD</a:t>
            </a:r>
            <a:r>
              <a:rPr lang="fr-CA" sz="2800" spc="-1" dirty="0">
                <a:solidFill>
                  <a:srgbClr val="514843"/>
                </a:solidFill>
                <a:latin typeface="Plantagenet Cherokee"/>
                <a:ea typeface="+mn-ea"/>
                <a:cs typeface="+mn-cs"/>
              </a:rPr>
              <a:t>)</a:t>
            </a:r>
          </a:p>
        </p:txBody>
      </p:sp>
      <p:sp>
        <p:nvSpPr>
          <p:cNvPr id="3" name="Content Placeholder 2"/>
          <p:cNvSpPr>
            <a:spLocks noGrp="1"/>
          </p:cNvSpPr>
          <p:nvPr>
            <p:ph idx="1"/>
          </p:nvPr>
        </p:nvSpPr>
        <p:spPr>
          <a:xfrm>
            <a:off x="1104840" y="1679622"/>
            <a:ext cx="8229600" cy="4525963"/>
          </a:xfrm>
        </p:spPr>
        <p:txBody>
          <a:bodyPr/>
          <a:lstStyle/>
          <a:p>
            <a:pPr marL="457200" lvl="1" indent="-457200"/>
            <a:r>
              <a:rPr lang="fi-FI" dirty="0">
                <a:latin typeface="Euphemia" panose="020B0503040102020104" pitchFamily="34" charset="0"/>
              </a:rPr>
              <a:t>Promoted by </a:t>
            </a:r>
            <a:r>
              <a:rPr lang="fi-FI" dirty="0">
                <a:latin typeface="Euphemia" panose="020B0503040102020104" pitchFamily="34" charset="0"/>
                <a:hlinkClick r:id="rId3"/>
              </a:rPr>
              <a:t>Ann Cavoukian</a:t>
            </a:r>
            <a:r>
              <a:rPr lang="fi-FI" dirty="0">
                <a:latin typeface="Euphemia" panose="020B0503040102020104" pitchFamily="34" charset="0"/>
              </a:rPr>
              <a:t> e.g. 7 principles</a:t>
            </a:r>
          </a:p>
          <a:p>
            <a:pPr marL="457200" lvl="1" indent="-457200"/>
            <a:r>
              <a:rPr lang="en-FI" dirty="0">
                <a:latin typeface="Euphemia" panose="020B0503040102020104" pitchFamily="34" charset="0"/>
              </a:rPr>
              <a:t>“Take care of privacy early in the process”</a:t>
            </a:r>
          </a:p>
          <a:p>
            <a:pPr marL="457200" lvl="1" indent="-457200"/>
            <a:r>
              <a:rPr lang="fi-FI" dirty="0" err="1">
                <a:latin typeface="Euphemia" panose="020B0503040102020104" pitchFamily="34" charset="0"/>
              </a:rPr>
              <a:t>Common</a:t>
            </a:r>
            <a:r>
              <a:rPr lang="fi-FI" dirty="0">
                <a:latin typeface="Euphemia" panose="020B0503040102020104" pitchFamily="34" charset="0"/>
              </a:rPr>
              <a:t> sense</a:t>
            </a:r>
          </a:p>
          <a:p>
            <a:pPr marL="457200" lvl="1" indent="-457200"/>
            <a:r>
              <a:rPr lang="fi-FI" dirty="0" err="1">
                <a:latin typeface="Euphemia" panose="020B0503040102020104" pitchFamily="34" charset="0"/>
              </a:rPr>
              <a:t>Sometimes</a:t>
            </a:r>
            <a:r>
              <a:rPr lang="fi-FI" dirty="0">
                <a:latin typeface="Euphemia" panose="020B0503040102020104" pitchFamily="34" charset="0"/>
              </a:rPr>
              <a:t> seen as the term emcompassing the rest</a:t>
            </a:r>
          </a:p>
          <a:p>
            <a:pPr marL="457200" lvl="1" indent="-457200"/>
            <a:r>
              <a:rPr lang="fi-FI" dirty="0">
                <a:latin typeface="Euphemia" panose="020B0503040102020104" pitchFamily="34" charset="0"/>
              </a:rPr>
              <a:t>Most interesting question is actually how you design processes to implement privacy (”privacy engineering”)</a:t>
            </a:r>
          </a:p>
          <a:p>
            <a:pPr marL="857250" lvl="2" indent="-457200"/>
            <a:r>
              <a:rPr lang="fi-FI" dirty="0">
                <a:latin typeface="Euphemia" panose="020B0503040102020104" pitchFamily="34" charset="0"/>
              </a:rPr>
              <a:t>Might be hooked to security engineering</a:t>
            </a:r>
          </a:p>
          <a:p>
            <a:pPr marL="857250" lvl="2" indent="-457200"/>
            <a:r>
              <a:rPr lang="fi-FI" dirty="0">
                <a:latin typeface="Euphemia" panose="020B0503040102020104" pitchFamily="34" charset="0"/>
              </a:rPr>
              <a:t>Might save costs</a:t>
            </a:r>
          </a:p>
        </p:txBody>
      </p:sp>
      <p:sp>
        <p:nvSpPr>
          <p:cNvPr id="4" name="TextBox 3">
            <a:extLst>
              <a:ext uri="{FF2B5EF4-FFF2-40B4-BE49-F238E27FC236}">
                <a16:creationId xmlns:a16="http://schemas.microsoft.com/office/drawing/2014/main" id="{A1867017-CF76-4469-B3BF-ABE99281D5AB}"/>
              </a:ext>
            </a:extLst>
          </p:cNvPr>
          <p:cNvSpPr txBox="1"/>
          <p:nvPr/>
        </p:nvSpPr>
        <p:spPr>
          <a:xfrm>
            <a:off x="1104840" y="5078787"/>
            <a:ext cx="9980280" cy="64633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square" rtlCol="0">
            <a:spAutoFit/>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kumimoji="0" lang="fi-FI" sz="1800" b="0" i="0" u="none" strike="noStrike" kern="1200" cap="none" spc="0" normalizeH="0" baseline="0" noProof="0" dirty="0">
                <a:ln>
                  <a:noFill/>
                </a:ln>
                <a:solidFill>
                  <a:prstClr val="white"/>
                </a:solidFill>
                <a:effectLst/>
                <a:uLnTx/>
                <a:uFillTx/>
                <a:latin typeface="Arial"/>
                <a:ea typeface="+mn-ea"/>
                <a:cs typeface="+mn-cs"/>
              </a:rPr>
              <a:t>If </a:t>
            </a:r>
            <a:r>
              <a:rPr kumimoji="0" lang="fi-FI" sz="1800" b="0" i="0" u="none" strike="noStrike" kern="1200" cap="none" spc="0" normalizeH="0" baseline="0" noProof="0" dirty="0" err="1">
                <a:ln>
                  <a:noFill/>
                </a:ln>
                <a:solidFill>
                  <a:prstClr val="white"/>
                </a:solidFill>
                <a:effectLst/>
                <a:uLnTx/>
                <a:uFillTx/>
                <a:latin typeface="Arial"/>
                <a:ea typeface="+mn-ea"/>
                <a:cs typeface="+mn-cs"/>
              </a:rPr>
              <a:t>you</a:t>
            </a:r>
            <a:r>
              <a:rPr kumimoji="0" lang="fi-FI" sz="1800" b="0" i="0" u="none" strike="noStrike" kern="1200" cap="none" spc="0" normalizeH="0" baseline="0" noProof="0" dirty="0">
                <a:ln>
                  <a:noFill/>
                </a:ln>
                <a:solidFill>
                  <a:prstClr val="white"/>
                </a:solidFill>
                <a:effectLst/>
                <a:uLnTx/>
                <a:uFillTx/>
                <a:latin typeface="Arial"/>
                <a:ea typeface="+mn-ea"/>
                <a:cs typeface="+mn-cs"/>
              </a:rPr>
              <a:t> </a:t>
            </a:r>
            <a:r>
              <a:rPr kumimoji="0" lang="fi-FI" sz="1800" b="0" i="0" u="none" strike="noStrike" kern="1200" cap="none" spc="0" normalizeH="0" baseline="0" noProof="0" dirty="0" err="1">
                <a:ln>
                  <a:noFill/>
                </a:ln>
                <a:solidFill>
                  <a:prstClr val="white"/>
                </a:solidFill>
                <a:effectLst/>
                <a:uLnTx/>
                <a:uFillTx/>
                <a:latin typeface="Arial"/>
                <a:ea typeface="+mn-ea"/>
                <a:cs typeface="+mn-cs"/>
              </a:rPr>
              <a:t>want</a:t>
            </a:r>
            <a:r>
              <a:rPr kumimoji="0" lang="fi-FI" sz="1800" b="0" i="0" u="none" strike="noStrike" kern="1200" cap="none" spc="0" normalizeH="0" baseline="0" noProof="0" dirty="0">
                <a:ln>
                  <a:noFill/>
                </a:ln>
                <a:solidFill>
                  <a:prstClr val="white"/>
                </a:solidFill>
                <a:effectLst/>
                <a:uLnTx/>
                <a:uFillTx/>
                <a:latin typeface="Arial"/>
                <a:ea typeface="+mn-ea"/>
                <a:cs typeface="+mn-cs"/>
              </a:rPr>
              <a:t> to </a:t>
            </a:r>
            <a:r>
              <a:rPr kumimoji="0" lang="fi-FI" sz="1800" b="0" i="0" u="none" strike="noStrike" kern="1200" cap="none" spc="0" normalizeH="0" baseline="0" noProof="0" dirty="0" err="1">
                <a:ln>
                  <a:noFill/>
                </a:ln>
                <a:solidFill>
                  <a:prstClr val="white"/>
                </a:solidFill>
                <a:effectLst/>
                <a:uLnTx/>
                <a:uFillTx/>
                <a:latin typeface="Arial"/>
                <a:ea typeface="+mn-ea"/>
                <a:cs typeface="+mn-cs"/>
              </a:rPr>
              <a:t>know</a:t>
            </a:r>
            <a:r>
              <a:rPr kumimoji="0" lang="fi-FI" sz="1800" b="0" i="0" u="none" strike="noStrike" kern="1200" cap="none" spc="0" normalizeH="0" baseline="0" noProof="0" dirty="0">
                <a:ln>
                  <a:noFill/>
                </a:ln>
                <a:solidFill>
                  <a:prstClr val="white"/>
                </a:solidFill>
                <a:effectLst/>
                <a:uLnTx/>
                <a:uFillTx/>
                <a:latin typeface="Arial"/>
                <a:ea typeface="+mn-ea"/>
                <a:cs typeface="+mn-cs"/>
              </a:rPr>
              <a:t> </a:t>
            </a:r>
            <a:r>
              <a:rPr kumimoji="0" lang="fi-FI" sz="1800" b="0" i="0" u="none" strike="noStrike" kern="1200" cap="none" spc="0" normalizeH="0" baseline="0" noProof="0" dirty="0" err="1">
                <a:ln>
                  <a:noFill/>
                </a:ln>
                <a:solidFill>
                  <a:prstClr val="white"/>
                </a:solidFill>
                <a:effectLst/>
                <a:uLnTx/>
                <a:uFillTx/>
                <a:latin typeface="Arial"/>
                <a:ea typeface="+mn-ea"/>
                <a:cs typeface="+mn-cs"/>
              </a:rPr>
              <a:t>more</a:t>
            </a:r>
            <a:r>
              <a:rPr kumimoji="0" lang="fi-FI" sz="1800" b="0" i="0" u="none" strike="noStrike" kern="1200" cap="none" spc="0" normalizeH="0" baseline="0" noProof="0" dirty="0">
                <a:ln>
                  <a:noFill/>
                </a:ln>
                <a:solidFill>
                  <a:prstClr val="white"/>
                </a:solidFill>
                <a:effectLst/>
                <a:uLnTx/>
                <a:uFillTx/>
                <a:latin typeface="Arial"/>
                <a:ea typeface="+mn-ea"/>
                <a:cs typeface="+mn-cs"/>
              </a:rPr>
              <a:t>:</a:t>
            </a:r>
          </a:p>
          <a:p>
            <a:pPr marL="0" marR="0" lvl="1" indent="0" algn="l" defTabSz="914400" rtl="0" eaLnBrk="1" fontAlgn="auto" latinLnBrk="0" hangingPunct="1">
              <a:lnSpc>
                <a:spcPct val="100000"/>
              </a:lnSpc>
              <a:spcBef>
                <a:spcPts val="0"/>
              </a:spcBef>
              <a:spcAft>
                <a:spcPts val="0"/>
              </a:spcAft>
              <a:buClrTx/>
              <a:buSzTx/>
              <a:buFontTx/>
              <a:buNone/>
              <a:tabLst/>
              <a:defRPr/>
            </a:pPr>
            <a:r>
              <a:rPr kumimoji="0" lang="fi-FI" sz="1800" b="0" i="0" u="none" strike="noStrike" kern="1200" cap="none" spc="0" normalizeH="0" baseline="0" noProof="0" dirty="0">
                <a:ln>
                  <a:noFill/>
                </a:ln>
                <a:solidFill>
                  <a:prstClr val="white"/>
                </a:solidFill>
                <a:effectLst/>
                <a:uLnTx/>
                <a:uFillTx/>
                <a:latin typeface="Arial"/>
                <a:ea typeface="+mn-ea"/>
                <a:cs typeface="+mn-cs"/>
              </a:rPr>
              <a:t>Peter </a:t>
            </a:r>
            <a:r>
              <a:rPr kumimoji="0" lang="fi-FI" sz="1800" b="0" i="0" u="none" strike="noStrike" kern="1200" cap="none" spc="0" normalizeH="0" baseline="0" noProof="0" dirty="0" err="1">
                <a:ln>
                  <a:noFill/>
                </a:ln>
                <a:solidFill>
                  <a:prstClr val="white"/>
                </a:solidFill>
                <a:effectLst/>
                <a:uLnTx/>
                <a:uFillTx/>
                <a:latin typeface="Arial"/>
                <a:ea typeface="+mn-ea"/>
                <a:cs typeface="+mn-cs"/>
              </a:rPr>
              <a:t>Hustinx</a:t>
            </a:r>
            <a:r>
              <a:rPr kumimoji="0" lang="fi-FI" sz="1800" b="0" i="0" u="none" strike="noStrike" kern="1200" cap="none" spc="0" normalizeH="0" baseline="0" noProof="0" dirty="0">
                <a:ln>
                  <a:noFill/>
                </a:ln>
                <a:solidFill>
                  <a:prstClr val="white"/>
                </a:solidFill>
                <a:effectLst/>
                <a:uLnTx/>
                <a:uFillTx/>
                <a:latin typeface="Arial"/>
                <a:ea typeface="+mn-ea"/>
                <a:cs typeface="+mn-cs"/>
              </a:rPr>
              <a:t>: </a:t>
            </a:r>
            <a:r>
              <a:rPr kumimoji="0" lang="fi-FI" sz="1800" b="0" i="0" u="none" strike="noStrike" kern="1200" cap="none" spc="0" normalizeH="0" baseline="0" noProof="0" dirty="0">
                <a:ln>
                  <a:noFill/>
                </a:ln>
                <a:solidFill>
                  <a:prstClr val="white"/>
                </a:solidFill>
                <a:effectLst/>
                <a:uLnTx/>
                <a:uFillTx/>
                <a:latin typeface="Arial"/>
                <a:ea typeface="+mn-ea"/>
                <a:cs typeface="+mn-cs"/>
                <a:hlinkClick r:id="rId4"/>
              </a:rPr>
              <a:t>https://link.springer.com/article/10.1007/s12394-010-0061-z</a:t>
            </a:r>
            <a:endParaRPr kumimoji="0" lang="fi-FI" sz="1800" b="0" i="0" u="none" strike="noStrike" kern="1200" cap="none" spc="0" normalizeH="0" baseline="0" noProof="0" dirty="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0863094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rtlCol="0">
            <a:normAutofit/>
          </a:bodyPr>
          <a:lstStyle/>
          <a:p>
            <a:pPr>
              <a:defRPr/>
            </a:pPr>
            <a:r>
              <a:rPr lang="fr-CA" sz="2800" spc="-1" dirty="0" err="1">
                <a:solidFill>
                  <a:srgbClr val="514843"/>
                </a:solidFill>
                <a:latin typeface="Plantagenet Cherokee"/>
                <a:ea typeface="+mn-ea"/>
                <a:cs typeface="+mn-cs"/>
              </a:rPr>
              <a:t>Privacy</a:t>
            </a:r>
            <a:r>
              <a:rPr lang="fr-CA" dirty="0">
                <a:solidFill>
                  <a:schemeClr val="tx1">
                    <a:lumMod val="75000"/>
                    <a:lumOff val="25000"/>
                  </a:schemeClr>
                </a:solidFill>
              </a:rPr>
              <a:t> by Design (</a:t>
            </a:r>
            <a:r>
              <a:rPr lang="fr-CA" dirty="0" err="1">
                <a:solidFill>
                  <a:schemeClr val="tx1">
                    <a:lumMod val="75000"/>
                    <a:lumOff val="25000"/>
                  </a:schemeClr>
                </a:solidFill>
              </a:rPr>
              <a:t>PbD</a:t>
            </a:r>
            <a:r>
              <a:rPr lang="fr-CA" dirty="0">
                <a:solidFill>
                  <a:schemeClr val="tx1">
                    <a:lumMod val="75000"/>
                    <a:lumOff val="25000"/>
                  </a:schemeClr>
                </a:solidFill>
              </a:rPr>
              <a:t>)</a:t>
            </a:r>
          </a:p>
        </p:txBody>
      </p:sp>
      <p:sp>
        <p:nvSpPr>
          <p:cNvPr id="6" name="Content Placeholder 5">
            <a:extLst>
              <a:ext uri="{FF2B5EF4-FFF2-40B4-BE49-F238E27FC236}">
                <a16:creationId xmlns:a16="http://schemas.microsoft.com/office/drawing/2014/main" id="{C719193C-1B48-433E-9BDC-800B02D34310}"/>
              </a:ext>
            </a:extLst>
          </p:cNvPr>
          <p:cNvSpPr>
            <a:spLocks noGrp="1"/>
          </p:cNvSpPr>
          <p:nvPr>
            <p:ph idx="1"/>
          </p:nvPr>
        </p:nvSpPr>
        <p:spPr/>
        <p:txBody>
          <a:bodyPr/>
          <a:lstStyle/>
          <a:p>
            <a:endParaRPr lang="en-FI"/>
          </a:p>
        </p:txBody>
      </p:sp>
      <p:pic>
        <p:nvPicPr>
          <p:cNvPr id="7" name="Picture 6">
            <a:extLst>
              <a:ext uri="{FF2B5EF4-FFF2-40B4-BE49-F238E27FC236}">
                <a16:creationId xmlns:a16="http://schemas.microsoft.com/office/drawing/2014/main" id="{F20A8224-6FCF-4E6F-9129-8E45E2D15BC9}"/>
              </a:ext>
            </a:extLst>
          </p:cNvPr>
          <p:cNvPicPr>
            <a:picLocks noChangeAspect="1"/>
          </p:cNvPicPr>
          <p:nvPr/>
        </p:nvPicPr>
        <p:blipFill rotWithShape="1">
          <a:blip r:embed="rId3"/>
          <a:srcRect t="7099" r="2525"/>
          <a:stretch/>
        </p:blipFill>
        <p:spPr>
          <a:xfrm>
            <a:off x="0" y="156949"/>
            <a:ext cx="12023677" cy="6875421"/>
          </a:xfrm>
          <a:prstGeom prst="rect">
            <a:avLst/>
          </a:prstGeom>
        </p:spPr>
      </p:pic>
    </p:spTree>
    <p:extLst>
      <p:ext uri="{BB962C8B-B14F-4D97-AF65-F5344CB8AC3E}">
        <p14:creationId xmlns:p14="http://schemas.microsoft.com/office/powerpoint/2010/main" val="2596847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rtlCol="0">
            <a:normAutofit/>
          </a:bodyPr>
          <a:lstStyle/>
          <a:p>
            <a:pPr>
              <a:spcBef>
                <a:spcPts val="0"/>
              </a:spcBef>
              <a:defRPr/>
            </a:pPr>
            <a:r>
              <a:rPr lang="fr-CA" sz="2800" spc="-1" dirty="0" err="1">
                <a:solidFill>
                  <a:srgbClr val="514843"/>
                </a:solidFill>
                <a:latin typeface="Plantagenet Cherokee"/>
                <a:ea typeface="+mn-ea"/>
                <a:cs typeface="+mn-cs"/>
              </a:rPr>
              <a:t>Privacy</a:t>
            </a:r>
            <a:r>
              <a:rPr lang="fr-CA" sz="2800" spc="-1" dirty="0">
                <a:solidFill>
                  <a:srgbClr val="514843"/>
                </a:solidFill>
                <a:latin typeface="Plantagenet Cherokee"/>
                <a:ea typeface="+mn-ea"/>
                <a:cs typeface="+mn-cs"/>
              </a:rPr>
              <a:t> by Default</a:t>
            </a:r>
          </a:p>
        </p:txBody>
      </p:sp>
      <p:sp>
        <p:nvSpPr>
          <p:cNvPr id="3" name="Content Placeholder 2"/>
          <p:cNvSpPr>
            <a:spLocks noGrp="1"/>
          </p:cNvSpPr>
          <p:nvPr>
            <p:ph idx="1"/>
          </p:nvPr>
        </p:nvSpPr>
        <p:spPr>
          <a:xfrm>
            <a:off x="1104840" y="1600201"/>
            <a:ext cx="9980280" cy="4525963"/>
          </a:xfrm>
        </p:spPr>
        <p:txBody>
          <a:bodyPr/>
          <a:lstStyle/>
          <a:p>
            <a:r>
              <a:rPr lang="fi-FI" dirty="0">
                <a:latin typeface="Euphemia" panose="020B0503040102020104" pitchFamily="34" charset="0"/>
              </a:rPr>
              <a:t>Sometimes seen as a subcategory of PbD</a:t>
            </a:r>
          </a:p>
          <a:p>
            <a:r>
              <a:rPr lang="fi-FI" dirty="0">
                <a:latin typeface="Euphemia" panose="020B0503040102020104" pitchFamily="34" charset="0"/>
              </a:rPr>
              <a:t>Examples</a:t>
            </a:r>
          </a:p>
          <a:p>
            <a:pPr lvl="1"/>
            <a:r>
              <a:rPr lang="fi-FI" dirty="0">
                <a:latin typeface="Euphemia" panose="020B0503040102020104" pitchFamily="34" charset="0"/>
              </a:rPr>
              <a:t>Does a Socialnetwork share everything – or only parts by Default?</a:t>
            </a:r>
          </a:p>
          <a:p>
            <a:pPr lvl="1"/>
            <a:r>
              <a:rPr lang="fi-FI" dirty="0">
                <a:latin typeface="Euphemia" panose="020B0503040102020104" pitchFamily="34" charset="0"/>
              </a:rPr>
              <a:t>What are the default settings in your browser?</a:t>
            </a:r>
          </a:p>
          <a:p>
            <a:pPr lvl="1"/>
            <a:r>
              <a:rPr lang="fi-FI" dirty="0">
                <a:latin typeface="Euphemia" panose="020B0503040102020104" pitchFamily="34" charset="0"/>
              </a:rPr>
              <a:t>Does your phone have geo-tagging for pictures on by default</a:t>
            </a:r>
          </a:p>
          <a:p>
            <a:r>
              <a:rPr lang="fi-FI" dirty="0">
                <a:latin typeface="Euphemia" panose="020B0503040102020104" pitchFamily="34" charset="0"/>
              </a:rPr>
              <a:t>Psychology (”nudge”)</a:t>
            </a:r>
          </a:p>
          <a:p>
            <a:endParaRPr lang="fi-FI" dirty="0"/>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00257" y="0"/>
            <a:ext cx="2329847" cy="29996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68302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D7E350E-DA96-47DB-B00F-59EBBB29A498}"/>
              </a:ext>
            </a:extLst>
          </p:cNvPr>
          <p:cNvSpPr>
            <a:spLocks noGrp="1"/>
          </p:cNvSpPr>
          <p:nvPr>
            <p:ph type="ctrTitle"/>
          </p:nvPr>
        </p:nvSpPr>
        <p:spPr>
          <a:xfrm>
            <a:off x="1104900" y="2292094"/>
            <a:ext cx="5734050" cy="2219691"/>
          </a:xfrm>
        </p:spPr>
        <p:txBody>
          <a:bodyPr anchor="ctr">
            <a:normAutofit/>
          </a:bodyPr>
          <a:lstStyle/>
          <a:p>
            <a:r>
              <a:rPr lang="en-FI" dirty="0"/>
              <a:t>ACCOUNTABILITY</a:t>
            </a:r>
            <a:endParaRPr lang="de-DE" dirty="0"/>
          </a:p>
        </p:txBody>
      </p:sp>
      <p:sp>
        <p:nvSpPr>
          <p:cNvPr id="20" name="Subtitle 2">
            <a:extLst>
              <a:ext uri="{FF2B5EF4-FFF2-40B4-BE49-F238E27FC236}">
                <a16:creationId xmlns:a16="http://schemas.microsoft.com/office/drawing/2014/main" id="{EB2532EF-15A1-4545-863A-C62262060525}"/>
              </a:ext>
            </a:extLst>
          </p:cNvPr>
          <p:cNvSpPr>
            <a:spLocks noGrp="1"/>
          </p:cNvSpPr>
          <p:nvPr>
            <p:ph type="subTitle" idx="1"/>
          </p:nvPr>
        </p:nvSpPr>
        <p:spPr>
          <a:xfrm>
            <a:off x="1104900" y="4511784"/>
            <a:ext cx="5734050" cy="955565"/>
          </a:xfrm>
        </p:spPr>
        <p:txBody>
          <a:bodyPr/>
          <a:lstStyle/>
          <a:p>
            <a:endParaRPr lang="en-US"/>
          </a:p>
        </p:txBody>
      </p:sp>
      <p:pic>
        <p:nvPicPr>
          <p:cNvPr id="13" name="Picture 12">
            <a:extLst>
              <a:ext uri="{FF2B5EF4-FFF2-40B4-BE49-F238E27FC236}">
                <a16:creationId xmlns:a16="http://schemas.microsoft.com/office/drawing/2014/main" id="{074C512C-2F34-4ABA-8FF3-6940460523BE}"/>
              </a:ext>
            </a:extLst>
          </p:cNvPr>
          <p:cNvPicPr>
            <a:picLocks noChangeAspect="1"/>
          </p:cNvPicPr>
          <p:nvPr/>
        </p:nvPicPr>
        <p:blipFill>
          <a:blip r:embed="rId3"/>
          <a:stretch>
            <a:fillRect/>
          </a:stretch>
        </p:blipFill>
        <p:spPr>
          <a:xfrm>
            <a:off x="6981063" y="1584616"/>
            <a:ext cx="5210937" cy="3660683"/>
          </a:xfrm>
          <a:prstGeom prst="rect">
            <a:avLst/>
          </a:prstGeom>
          <a:noFill/>
        </p:spPr>
      </p:pic>
    </p:spTree>
    <p:extLst>
      <p:ext uri="{BB962C8B-B14F-4D97-AF65-F5344CB8AC3E}">
        <p14:creationId xmlns:p14="http://schemas.microsoft.com/office/powerpoint/2010/main" val="3084779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1"/>
          </p:nvPr>
        </p:nvGraphicFramePr>
        <p:xfrm>
          <a:off x="1981200" y="1773239"/>
          <a:ext cx="8229600" cy="45354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xtBox 1">
            <a:extLst>
              <a:ext uri="{FF2B5EF4-FFF2-40B4-BE49-F238E27FC236}">
                <a16:creationId xmlns:a16="http://schemas.microsoft.com/office/drawing/2014/main" id="{CB9D35CF-FD39-44D7-9473-5ACC701DEC1E}"/>
              </a:ext>
            </a:extLst>
          </p:cNvPr>
          <p:cNvSpPr txBox="1"/>
          <p:nvPr/>
        </p:nvSpPr>
        <p:spPr>
          <a:xfrm>
            <a:off x="2207568" y="476673"/>
            <a:ext cx="8003232" cy="490134"/>
          </a:xfrm>
          <a:prstGeom prst="rect">
            <a:avLst/>
          </a:prstGeom>
          <a:noFill/>
        </p:spPr>
        <p:txBody>
          <a:bodyPr wrap="square"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de-DE" sz="2800" b="0" i="0" u="none" strike="noStrike" kern="1200" cap="none" spc="-1" normalizeH="0" baseline="0" noProof="0" dirty="0">
                <a:ln>
                  <a:noFill/>
                </a:ln>
                <a:solidFill>
                  <a:srgbClr val="514843"/>
                </a:solidFill>
                <a:effectLst/>
                <a:uLnTx/>
                <a:uFillTx/>
                <a:latin typeface="Plantagenet Cherokee"/>
                <a:ea typeface="+mn-ea"/>
                <a:cs typeface="+mn-cs"/>
              </a:rPr>
              <a:t>2 </a:t>
            </a:r>
            <a:r>
              <a:rPr kumimoji="0" lang="de-DE" sz="2800" b="0" i="0" u="none" strike="noStrike" kern="1200" cap="none" spc="-1" normalizeH="0" baseline="0" noProof="0" dirty="0" err="1">
                <a:ln>
                  <a:noFill/>
                </a:ln>
                <a:solidFill>
                  <a:srgbClr val="514843"/>
                </a:solidFill>
                <a:effectLst/>
                <a:uLnTx/>
                <a:uFillTx/>
                <a:latin typeface="Plantagenet Cherokee"/>
                <a:ea typeface="+mn-ea"/>
                <a:cs typeface="+mn-cs"/>
              </a:rPr>
              <a:t>principles</a:t>
            </a:r>
            <a:r>
              <a:rPr kumimoji="0" lang="de-DE" sz="2800" b="0" i="0" u="none" strike="noStrike" kern="1200" cap="none" spc="-1" normalizeH="0" baseline="0" noProof="0" dirty="0">
                <a:ln>
                  <a:noFill/>
                </a:ln>
                <a:solidFill>
                  <a:srgbClr val="514843"/>
                </a:solidFill>
                <a:effectLst/>
                <a:uLnTx/>
                <a:uFillTx/>
                <a:latin typeface="Plantagenet Cherokee"/>
                <a:ea typeface="+mn-ea"/>
                <a:cs typeface="+mn-cs"/>
              </a:rPr>
              <a:t> help to address </a:t>
            </a:r>
            <a:r>
              <a:rPr kumimoji="0" lang="de-DE" sz="2800" b="0" i="0" u="none" strike="noStrike" kern="1200" cap="none" spc="-1" normalizeH="0" baseline="0" noProof="0" dirty="0" err="1">
                <a:ln>
                  <a:noFill/>
                </a:ln>
                <a:solidFill>
                  <a:srgbClr val="514843"/>
                </a:solidFill>
                <a:effectLst/>
                <a:uLnTx/>
                <a:uFillTx/>
                <a:latin typeface="Plantagenet Cherokee"/>
                <a:ea typeface="+mn-ea"/>
                <a:cs typeface="+mn-cs"/>
              </a:rPr>
              <a:t>several</a:t>
            </a:r>
            <a:r>
              <a:rPr kumimoji="0" lang="de-DE" sz="2800" b="0" i="0" u="none" strike="noStrike" kern="1200" cap="none" spc="-1" normalizeH="0" baseline="0" noProof="0" dirty="0">
                <a:ln>
                  <a:noFill/>
                </a:ln>
                <a:solidFill>
                  <a:srgbClr val="514843"/>
                </a:solidFill>
                <a:effectLst/>
                <a:uLnTx/>
                <a:uFillTx/>
                <a:latin typeface="Plantagenet Cherokee"/>
                <a:ea typeface="+mn-ea"/>
                <a:cs typeface="+mn-cs"/>
              </a:rPr>
              <a:t> problems</a:t>
            </a:r>
            <a:endParaRPr kumimoji="0" lang="en-FI" sz="2800" b="0" i="0" u="none" strike="noStrike" kern="1200" cap="none" spc="-1" normalizeH="0" baseline="0" noProof="0" dirty="0">
              <a:ln>
                <a:noFill/>
              </a:ln>
              <a:solidFill>
                <a:srgbClr val="514843"/>
              </a:solidFill>
              <a:effectLst/>
              <a:uLnTx/>
              <a:uFillTx/>
              <a:latin typeface="Plantagenet Cherokee"/>
              <a:ea typeface="+mn-ea"/>
              <a:cs typeface="+mn-cs"/>
            </a:endParaRPr>
          </a:p>
        </p:txBody>
      </p:sp>
    </p:spTree>
    <p:extLst>
      <p:ext uri="{BB962C8B-B14F-4D97-AF65-F5344CB8AC3E}">
        <p14:creationId xmlns:p14="http://schemas.microsoft.com/office/powerpoint/2010/main" val="3947846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rtlCol="0">
            <a:normAutofit/>
          </a:bodyPr>
          <a:lstStyle/>
          <a:p>
            <a:pPr>
              <a:spcBef>
                <a:spcPts val="0"/>
              </a:spcBef>
              <a:defRPr/>
            </a:pPr>
            <a:r>
              <a:rPr lang="fr-CA" sz="2800" spc="-1" dirty="0">
                <a:solidFill>
                  <a:srgbClr val="514843"/>
                </a:solidFill>
                <a:latin typeface="Plantagenet Cherokee"/>
                <a:ea typeface="+mn-ea"/>
                <a:cs typeface="+mn-cs"/>
              </a:rPr>
              <a:t>Alternative </a:t>
            </a:r>
            <a:r>
              <a:rPr lang="fr-CA" sz="2800" spc="-1" dirty="0" err="1">
                <a:solidFill>
                  <a:srgbClr val="514843"/>
                </a:solidFill>
                <a:latin typeface="Plantagenet Cherokee"/>
                <a:ea typeface="+mn-ea"/>
                <a:cs typeface="+mn-cs"/>
              </a:rPr>
              <a:t>ways</a:t>
            </a:r>
            <a:r>
              <a:rPr lang="fr-CA" sz="2800" spc="-1" dirty="0">
                <a:solidFill>
                  <a:srgbClr val="514843"/>
                </a:solidFill>
                <a:latin typeface="Plantagenet Cherokee"/>
                <a:ea typeface="+mn-ea"/>
                <a:cs typeface="+mn-cs"/>
              </a:rPr>
              <a:t> of </a:t>
            </a:r>
            <a:r>
              <a:rPr lang="fr-CA" sz="2800" spc="-1" dirty="0" err="1">
                <a:solidFill>
                  <a:srgbClr val="514843"/>
                </a:solidFill>
                <a:latin typeface="Plantagenet Cherokee"/>
                <a:ea typeface="+mn-ea"/>
                <a:cs typeface="+mn-cs"/>
              </a:rPr>
              <a:t>enforcement</a:t>
            </a:r>
            <a:r>
              <a:rPr lang="fr-CA" sz="2800" spc="-1" dirty="0">
                <a:solidFill>
                  <a:srgbClr val="514843"/>
                </a:solidFill>
                <a:latin typeface="Plantagenet Cherokee"/>
                <a:ea typeface="+mn-ea"/>
                <a:cs typeface="+mn-cs"/>
              </a:rPr>
              <a:t> </a:t>
            </a:r>
            <a:r>
              <a:rPr lang="fr-CA" sz="2800" spc="-1" dirty="0" err="1">
                <a:solidFill>
                  <a:srgbClr val="514843"/>
                </a:solidFill>
                <a:latin typeface="Plantagenet Cherokee"/>
                <a:ea typeface="+mn-ea"/>
                <a:cs typeface="+mn-cs"/>
              </a:rPr>
              <a:t>Terms</a:t>
            </a:r>
            <a:r>
              <a:rPr lang="fr-CA" sz="2800" spc="-1" dirty="0">
                <a:solidFill>
                  <a:srgbClr val="514843"/>
                </a:solidFill>
                <a:latin typeface="Plantagenet Cherokee"/>
                <a:ea typeface="+mn-ea"/>
                <a:cs typeface="+mn-cs"/>
              </a:rPr>
              <a:t> (1)</a:t>
            </a:r>
          </a:p>
        </p:txBody>
      </p:sp>
      <p:graphicFrame>
        <p:nvGraphicFramePr>
          <p:cNvPr id="5" name="Content Placeholder 4"/>
          <p:cNvGraphicFramePr>
            <a:graphicFrameLocks noGrp="1"/>
          </p:cNvGraphicFramePr>
          <p:nvPr>
            <p:ph idx="1"/>
          </p:nvPr>
        </p:nvGraphicFramePr>
        <p:xfrm>
          <a:off x="1104840" y="1600201"/>
          <a:ext cx="9105960"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78504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rtlCol="0">
            <a:normAutofit/>
          </a:bodyPr>
          <a:lstStyle/>
          <a:p>
            <a:pPr>
              <a:defRPr/>
            </a:pPr>
            <a:r>
              <a:rPr lang="fr-CA" sz="2800" spc="-1" dirty="0" err="1">
                <a:solidFill>
                  <a:srgbClr val="514843"/>
                </a:solidFill>
                <a:latin typeface="Plantagenet Cherokee"/>
                <a:ea typeface="+mn-ea"/>
                <a:cs typeface="+mn-cs"/>
              </a:rPr>
              <a:t>Accountability</a:t>
            </a:r>
            <a:endParaRPr lang="fr-CA" sz="2800" spc="-1" dirty="0">
              <a:solidFill>
                <a:srgbClr val="514843"/>
              </a:solidFill>
              <a:latin typeface="Plantagenet Cherokee"/>
              <a:ea typeface="+mn-ea"/>
              <a:cs typeface="+mn-cs"/>
            </a:endParaRPr>
          </a:p>
        </p:txBody>
      </p:sp>
      <p:sp>
        <p:nvSpPr>
          <p:cNvPr id="3" name="Content Placeholder 2"/>
          <p:cNvSpPr>
            <a:spLocks noGrp="1"/>
          </p:cNvSpPr>
          <p:nvPr>
            <p:ph idx="1"/>
          </p:nvPr>
        </p:nvSpPr>
        <p:spPr>
          <a:xfrm>
            <a:off x="1104840" y="1412777"/>
            <a:ext cx="9116304" cy="4525963"/>
          </a:xfrm>
        </p:spPr>
        <p:txBody>
          <a:bodyPr/>
          <a:lstStyle/>
          <a:p>
            <a:pPr marL="0" indent="0">
              <a:buNone/>
            </a:pPr>
            <a:r>
              <a:rPr lang="fi-FI" sz="2400" dirty="0">
                <a:latin typeface="Plantagenet Cherokee" panose="02020602070100000000" pitchFamily="18" charset="0"/>
              </a:rPr>
              <a:t>What is typically part of a privacy program </a:t>
            </a:r>
            <a:r>
              <a:rPr lang="fi-FI" sz="2400" dirty="0" err="1">
                <a:latin typeface="Plantagenet Cherokee" panose="02020602070100000000" pitchFamily="18" charset="0"/>
              </a:rPr>
              <a:t>fostering</a:t>
            </a:r>
            <a:r>
              <a:rPr lang="fi-FI" sz="2400" dirty="0">
                <a:latin typeface="Plantagenet Cherokee" panose="02020602070100000000" pitchFamily="18" charset="0"/>
              </a:rPr>
              <a:t> </a:t>
            </a:r>
            <a:r>
              <a:rPr lang="fi-FI" sz="2400" dirty="0" err="1">
                <a:latin typeface="Plantagenet Cherokee" panose="02020602070100000000" pitchFamily="18" charset="0"/>
              </a:rPr>
              <a:t>accountability</a:t>
            </a:r>
            <a:r>
              <a:rPr lang="fi-FI" sz="2400" dirty="0">
                <a:latin typeface="Plantagenet Cherokee" panose="02020602070100000000" pitchFamily="18" charset="0"/>
              </a:rPr>
              <a:t>?</a:t>
            </a:r>
          </a:p>
          <a:p>
            <a:r>
              <a:rPr lang="fi-FI" sz="2400" dirty="0">
                <a:latin typeface="Plantagenet Cherokee" panose="02020602070100000000" pitchFamily="18" charset="0"/>
              </a:rPr>
              <a:t>Executive oversight</a:t>
            </a:r>
          </a:p>
          <a:p>
            <a:r>
              <a:rPr lang="fi-FI" sz="2400" dirty="0">
                <a:latin typeface="Plantagenet Cherokee" panose="02020602070100000000" pitchFamily="18" charset="0"/>
              </a:rPr>
              <a:t>Defining roles and responsibilities + staffing</a:t>
            </a:r>
          </a:p>
          <a:p>
            <a:r>
              <a:rPr lang="fi-FI" sz="2400" dirty="0">
                <a:latin typeface="Plantagenet Cherokee" panose="02020602070100000000" pitchFamily="18" charset="0"/>
              </a:rPr>
              <a:t>Implementation of controls </a:t>
            </a:r>
          </a:p>
          <a:p>
            <a:r>
              <a:rPr lang="fi-FI" sz="2400" dirty="0">
                <a:latin typeface="Plantagenet Cherokee" panose="02020602070100000000" pitchFamily="18" charset="0"/>
              </a:rPr>
              <a:t>Training and awareness program</a:t>
            </a:r>
          </a:p>
          <a:p>
            <a:r>
              <a:rPr lang="fi-FI" sz="2400" dirty="0">
                <a:latin typeface="Plantagenet Cherokee" panose="02020602070100000000" pitchFamily="18" charset="0"/>
              </a:rPr>
              <a:t>Assessment part </a:t>
            </a:r>
          </a:p>
          <a:p>
            <a:r>
              <a:rPr lang="fi-FI" sz="2400" dirty="0">
                <a:latin typeface="Plantagenet Cherokee" panose="02020602070100000000" pitchFamily="18" charset="0"/>
              </a:rPr>
              <a:t>Redress (people know where to go)</a:t>
            </a:r>
          </a:p>
          <a:p>
            <a:r>
              <a:rPr lang="fi-FI" sz="2400" dirty="0">
                <a:latin typeface="Plantagenet Cherokee" panose="02020602070100000000" pitchFamily="18" charset="0"/>
              </a:rPr>
              <a:t>Defined processes  </a:t>
            </a:r>
          </a:p>
          <a:p>
            <a:endParaRPr lang="fi-FI" dirty="0"/>
          </a:p>
        </p:txBody>
      </p:sp>
    </p:spTree>
    <p:extLst>
      <p:ext uri="{BB962C8B-B14F-4D97-AF65-F5344CB8AC3E}">
        <p14:creationId xmlns:p14="http://schemas.microsoft.com/office/powerpoint/2010/main" val="1758521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415A65-1116-4E1A-BBED-A05988161B93}"/>
              </a:ext>
            </a:extLst>
          </p:cNvPr>
          <p:cNvSpPr>
            <a:spLocks noGrp="1"/>
          </p:cNvSpPr>
          <p:nvPr>
            <p:ph type="ctrTitle"/>
          </p:nvPr>
        </p:nvSpPr>
        <p:spPr/>
        <p:txBody>
          <a:bodyPr>
            <a:normAutofit/>
          </a:bodyPr>
          <a:lstStyle/>
          <a:p>
            <a:r>
              <a:rPr lang="de-DE" dirty="0" err="1"/>
              <a:t>repetition</a:t>
            </a:r>
            <a:endParaRPr lang="de-DE" dirty="0"/>
          </a:p>
        </p:txBody>
      </p:sp>
      <p:sp>
        <p:nvSpPr>
          <p:cNvPr id="5" name="Subtitle 4">
            <a:extLst>
              <a:ext uri="{FF2B5EF4-FFF2-40B4-BE49-F238E27FC236}">
                <a16:creationId xmlns:a16="http://schemas.microsoft.com/office/drawing/2014/main" id="{9B64AFF7-D9E0-4B40-AB9B-56F43D6A4EB9}"/>
              </a:ext>
            </a:extLst>
          </p:cNvPr>
          <p:cNvSpPr>
            <a:spLocks noGrp="1"/>
          </p:cNvSpPr>
          <p:nvPr>
            <p:ph type="subTitle" idx="1"/>
          </p:nvPr>
        </p:nvSpPr>
        <p:spPr/>
        <p:txBody>
          <a:bodyPr/>
          <a:lstStyle/>
          <a:p>
            <a:endParaRPr lang="fi-FI"/>
          </a:p>
        </p:txBody>
      </p:sp>
      <p:sp>
        <p:nvSpPr>
          <p:cNvPr id="4" name="Footer Placeholder 3">
            <a:extLst>
              <a:ext uri="{FF2B5EF4-FFF2-40B4-BE49-F238E27FC236}">
                <a16:creationId xmlns:a16="http://schemas.microsoft.com/office/drawing/2014/main" id="{DC576A0E-B185-4FC6-8724-24E6CD89AAB9}"/>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514843">
                  <a:lumMod val="20000"/>
                  <a:lumOff val="80000"/>
                </a:srgbClr>
              </a:solidFill>
              <a:effectLst/>
              <a:uLnTx/>
              <a:uFillTx/>
              <a:latin typeface="Euphemia"/>
              <a:ea typeface="+mn-ea"/>
              <a:cs typeface="+mn-cs"/>
            </a:endParaRPr>
          </a:p>
        </p:txBody>
      </p:sp>
    </p:spTree>
    <p:extLst>
      <p:ext uri="{BB962C8B-B14F-4D97-AF65-F5344CB8AC3E}">
        <p14:creationId xmlns:p14="http://schemas.microsoft.com/office/powerpoint/2010/main" val="254677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rtlCol="0">
            <a:normAutofit/>
          </a:bodyPr>
          <a:lstStyle/>
          <a:p>
            <a:pPr>
              <a:spcBef>
                <a:spcPts val="0"/>
              </a:spcBef>
              <a:defRPr/>
            </a:pPr>
            <a:r>
              <a:rPr lang="fr-CA" sz="2800" spc="-1" dirty="0" err="1">
                <a:solidFill>
                  <a:srgbClr val="514843"/>
                </a:solidFill>
                <a:latin typeface="Plantagenet Cherokee"/>
                <a:ea typeface="+mn-ea"/>
                <a:cs typeface="+mn-cs"/>
              </a:rPr>
              <a:t>Examples</a:t>
            </a:r>
            <a:r>
              <a:rPr lang="fr-CA" sz="2800" spc="-1" dirty="0">
                <a:solidFill>
                  <a:srgbClr val="514843"/>
                </a:solidFill>
                <a:latin typeface="Plantagenet Cherokee"/>
                <a:ea typeface="+mn-ea"/>
                <a:cs typeface="+mn-cs"/>
              </a:rPr>
              <a:t> for </a:t>
            </a:r>
            <a:r>
              <a:rPr lang="fr-CA" sz="2800" spc="-1" dirty="0" err="1">
                <a:solidFill>
                  <a:srgbClr val="514843"/>
                </a:solidFill>
                <a:latin typeface="Plantagenet Cherokee"/>
                <a:ea typeface="+mn-ea"/>
                <a:cs typeface="+mn-cs"/>
              </a:rPr>
              <a:t>risk</a:t>
            </a:r>
            <a:r>
              <a:rPr lang="fr-CA" sz="2800" spc="-1" dirty="0">
                <a:solidFill>
                  <a:srgbClr val="514843"/>
                </a:solidFill>
                <a:latin typeface="Plantagenet Cherokee"/>
                <a:ea typeface="+mn-ea"/>
                <a:cs typeface="+mn-cs"/>
              </a:rPr>
              <a:t> </a:t>
            </a:r>
            <a:r>
              <a:rPr lang="fr-CA" sz="2800" spc="-1" dirty="0" err="1">
                <a:solidFill>
                  <a:srgbClr val="514843"/>
                </a:solidFill>
                <a:latin typeface="Plantagenet Cherokee"/>
                <a:ea typeface="+mn-ea"/>
                <a:cs typeface="+mn-cs"/>
              </a:rPr>
              <a:t>based</a:t>
            </a:r>
            <a:r>
              <a:rPr lang="fr-CA" sz="2800" spc="-1" dirty="0">
                <a:solidFill>
                  <a:srgbClr val="514843"/>
                </a:solidFill>
                <a:latin typeface="Plantagenet Cherokee"/>
                <a:ea typeface="+mn-ea"/>
                <a:cs typeface="+mn-cs"/>
              </a:rPr>
              <a:t> </a:t>
            </a:r>
            <a:r>
              <a:rPr lang="fr-CA" sz="2800" spc="-1" dirty="0" err="1">
                <a:solidFill>
                  <a:srgbClr val="514843"/>
                </a:solidFill>
                <a:latin typeface="Plantagenet Cherokee"/>
                <a:ea typeface="+mn-ea"/>
                <a:cs typeface="+mn-cs"/>
              </a:rPr>
              <a:t>approach</a:t>
            </a:r>
            <a:r>
              <a:rPr lang="fr-CA" sz="2800" spc="-1" dirty="0">
                <a:solidFill>
                  <a:srgbClr val="514843"/>
                </a:solidFill>
                <a:latin typeface="Plantagenet Cherokee"/>
                <a:ea typeface="+mn-ea"/>
                <a:cs typeface="+mn-cs"/>
              </a:rPr>
              <a:t> </a:t>
            </a:r>
            <a:r>
              <a:rPr lang="fr-CA" sz="2800" spc="-1" dirty="0" err="1">
                <a:solidFill>
                  <a:srgbClr val="514843"/>
                </a:solidFill>
                <a:latin typeface="Plantagenet Cherokee"/>
                <a:ea typeface="+mn-ea"/>
                <a:cs typeface="+mn-cs"/>
              </a:rPr>
              <a:t>under</a:t>
            </a:r>
            <a:r>
              <a:rPr lang="fr-CA" sz="2800" spc="-1" dirty="0">
                <a:solidFill>
                  <a:srgbClr val="514843"/>
                </a:solidFill>
                <a:latin typeface="Plantagenet Cherokee"/>
                <a:ea typeface="+mn-ea"/>
                <a:cs typeface="+mn-cs"/>
              </a:rPr>
              <a:t> the GDPR</a:t>
            </a:r>
          </a:p>
        </p:txBody>
      </p:sp>
      <p:sp>
        <p:nvSpPr>
          <p:cNvPr id="3" name="Content Placeholder 2"/>
          <p:cNvSpPr>
            <a:spLocks noGrp="1"/>
          </p:cNvSpPr>
          <p:nvPr>
            <p:ph idx="1"/>
          </p:nvPr>
        </p:nvSpPr>
        <p:spPr/>
        <p:txBody>
          <a:bodyPr>
            <a:normAutofit lnSpcReduction="10000"/>
          </a:bodyPr>
          <a:lstStyle/>
          <a:p>
            <a:r>
              <a:rPr lang="en-GB" sz="3000" dirty="0"/>
              <a:t>Recital 74: "appropriate and effective measure"</a:t>
            </a:r>
          </a:p>
          <a:p>
            <a:r>
              <a:rPr lang="en-GB" sz="3000" dirty="0"/>
              <a:t>Article 24, 32: Technical and organisational  measures relative to the risk</a:t>
            </a:r>
          </a:p>
          <a:p>
            <a:r>
              <a:rPr lang="en-GB" sz="3000" dirty="0"/>
              <a:t>Article 25: Data protection by Design and by default according to the risks involved</a:t>
            </a:r>
          </a:p>
          <a:p>
            <a:r>
              <a:rPr lang="en-GB" sz="3000" dirty="0"/>
              <a:t>Article 33, 34: Notifications  in data breach situations relevant to the risk</a:t>
            </a:r>
          </a:p>
          <a:p>
            <a:r>
              <a:rPr lang="en-GB" sz="3000" dirty="0"/>
              <a:t>Article 35: DPIA</a:t>
            </a:r>
          </a:p>
          <a:p>
            <a:r>
              <a:rPr lang="en-GB" sz="3000" dirty="0"/>
              <a:t>Article 39(2): Task of the DPO</a:t>
            </a:r>
          </a:p>
        </p:txBody>
      </p:sp>
    </p:spTree>
    <p:extLst>
      <p:ext uri="{BB962C8B-B14F-4D97-AF65-F5344CB8AC3E}">
        <p14:creationId xmlns:p14="http://schemas.microsoft.com/office/powerpoint/2010/main" val="2067544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p:cNvSpPr>
            <a:spLocks noGrp="1"/>
          </p:cNvSpPr>
          <p:nvPr>
            <p:ph type="title"/>
          </p:nvPr>
        </p:nvSpPr>
        <p:spPr/>
        <p:txBody>
          <a:bodyPr rtlCol="0">
            <a:normAutofit/>
          </a:bodyPr>
          <a:lstStyle/>
          <a:p>
            <a:pPr>
              <a:defRPr/>
            </a:pPr>
            <a:r>
              <a:rPr lang="fr-CA" sz="3100" spc="-1" dirty="0">
                <a:solidFill>
                  <a:srgbClr val="514843"/>
                </a:solidFill>
                <a:latin typeface="Plantagenet Cherokee"/>
                <a:ea typeface="+mn-ea"/>
                <a:cs typeface="+mn-cs"/>
              </a:rPr>
              <a:t>DEBATE</a:t>
            </a:r>
            <a:r>
              <a:rPr lang="fr-CA" dirty="0">
                <a:solidFill>
                  <a:schemeClr val="tx1">
                    <a:lumMod val="75000"/>
                    <a:lumOff val="25000"/>
                  </a:schemeClr>
                </a:solidFill>
              </a:rPr>
              <a:t> (2min per speaker, 3 rounds)</a:t>
            </a:r>
            <a:br>
              <a:rPr lang="fr-CA" dirty="0">
                <a:solidFill>
                  <a:schemeClr val="tx1">
                    <a:lumMod val="75000"/>
                    <a:lumOff val="25000"/>
                  </a:schemeClr>
                </a:solidFill>
              </a:rPr>
            </a:br>
            <a:endParaRPr lang="fr-CA" dirty="0">
              <a:solidFill>
                <a:schemeClr val="tx1">
                  <a:lumMod val="75000"/>
                  <a:lumOff val="25000"/>
                </a:schemeClr>
              </a:solidFill>
            </a:endParaRPr>
          </a:p>
        </p:txBody>
      </p:sp>
      <p:sp>
        <p:nvSpPr>
          <p:cNvPr id="3" name="Content Placeholder 2"/>
          <p:cNvSpPr>
            <a:spLocks noGrp="1"/>
          </p:cNvSpPr>
          <p:nvPr>
            <p:ph idx="1"/>
          </p:nvPr>
        </p:nvSpPr>
        <p:spPr>
          <a:xfrm>
            <a:off x="1981200" y="1600200"/>
            <a:ext cx="8686800" cy="5429200"/>
          </a:xfrm>
        </p:spPr>
        <p:txBody>
          <a:bodyPr/>
          <a:lstStyle/>
          <a:p>
            <a:pPr marL="0" indent="0">
              <a:buNone/>
            </a:pPr>
            <a:r>
              <a:rPr lang="de-DE" dirty="0"/>
              <a:t>Class </a:t>
            </a:r>
            <a:r>
              <a:rPr lang="de-DE" dirty="0" err="1"/>
              <a:t>is</a:t>
            </a:r>
            <a:r>
              <a:rPr lang="de-DE" dirty="0"/>
              <a:t> </a:t>
            </a:r>
            <a:r>
              <a:rPr lang="de-DE" dirty="0" err="1"/>
              <a:t>split</a:t>
            </a:r>
            <a:r>
              <a:rPr lang="de-DE" dirty="0"/>
              <a:t> </a:t>
            </a:r>
            <a:r>
              <a:rPr lang="de-DE" dirty="0" err="1"/>
              <a:t>into</a:t>
            </a:r>
            <a:r>
              <a:rPr lang="de-DE" dirty="0"/>
              <a:t> </a:t>
            </a:r>
            <a:r>
              <a:rPr lang="de-DE" dirty="0" err="1"/>
              <a:t>two</a:t>
            </a:r>
            <a:r>
              <a:rPr lang="de-DE" dirty="0"/>
              <a:t> </a:t>
            </a:r>
            <a:r>
              <a:rPr lang="de-DE" dirty="0" err="1"/>
              <a:t>groups</a:t>
            </a:r>
            <a:r>
              <a:rPr lang="de-DE" dirty="0"/>
              <a:t>:</a:t>
            </a:r>
          </a:p>
          <a:p>
            <a:pPr marL="0" indent="0">
              <a:buNone/>
            </a:pPr>
            <a:r>
              <a:rPr lang="de-DE" dirty="0"/>
              <a:t>I) SME </a:t>
            </a:r>
            <a:r>
              <a:rPr lang="de-DE" dirty="0" err="1"/>
              <a:t>organization</a:t>
            </a:r>
            <a:r>
              <a:rPr lang="de-DE" dirty="0"/>
              <a:t> “</a:t>
            </a:r>
            <a:r>
              <a:rPr lang="de-DE" dirty="0" err="1"/>
              <a:t>the</a:t>
            </a:r>
            <a:r>
              <a:rPr lang="de-DE" dirty="0"/>
              <a:t> </a:t>
            </a:r>
            <a:r>
              <a:rPr lang="de-DE" dirty="0" err="1"/>
              <a:t>middle</a:t>
            </a:r>
            <a:r>
              <a:rPr lang="de-DE" dirty="0"/>
              <a:t> </a:t>
            </a:r>
            <a:r>
              <a:rPr lang="de-DE" dirty="0" err="1"/>
              <a:t>is</a:t>
            </a:r>
            <a:r>
              <a:rPr lang="de-DE" dirty="0"/>
              <a:t> </a:t>
            </a:r>
            <a:r>
              <a:rPr lang="de-DE" dirty="0" err="1"/>
              <a:t>where</a:t>
            </a:r>
            <a:r>
              <a:rPr lang="de-DE" dirty="0"/>
              <a:t> </a:t>
            </a:r>
            <a:r>
              <a:rPr lang="de-DE" dirty="0" err="1"/>
              <a:t>it</a:t>
            </a:r>
            <a:r>
              <a:rPr lang="de-DE" dirty="0"/>
              <a:t> </a:t>
            </a:r>
            <a:r>
              <a:rPr lang="de-DE" dirty="0" err="1"/>
              <a:t>is</a:t>
            </a:r>
            <a:r>
              <a:rPr lang="de-DE" dirty="0"/>
              <a:t>“ (“</a:t>
            </a:r>
            <a:r>
              <a:rPr lang="de-DE" dirty="0" err="1"/>
              <a:t>Miwii</a:t>
            </a:r>
            <a:r>
              <a:rPr lang="de-DE" dirty="0"/>
              <a:t>“) </a:t>
            </a:r>
            <a:r>
              <a:rPr lang="de-DE" dirty="0" err="1"/>
              <a:t>believes</a:t>
            </a:r>
            <a:r>
              <a:rPr lang="de-DE" dirty="0"/>
              <a:t> </a:t>
            </a:r>
            <a:r>
              <a:rPr lang="de-DE" dirty="0" err="1"/>
              <a:t>that</a:t>
            </a:r>
            <a:r>
              <a:rPr lang="de-DE" dirty="0"/>
              <a:t> </a:t>
            </a:r>
            <a:r>
              <a:rPr lang="de-DE" dirty="0" err="1"/>
              <a:t>the</a:t>
            </a:r>
            <a:r>
              <a:rPr lang="de-DE" dirty="0"/>
              <a:t> </a:t>
            </a:r>
            <a:r>
              <a:rPr lang="de-DE" dirty="0" err="1"/>
              <a:t>whole</a:t>
            </a:r>
            <a:r>
              <a:rPr lang="de-DE" dirty="0"/>
              <a:t> </a:t>
            </a:r>
            <a:r>
              <a:rPr lang="de-DE" dirty="0" err="1"/>
              <a:t>enforcement</a:t>
            </a:r>
            <a:r>
              <a:rPr lang="de-DE" dirty="0"/>
              <a:t> </a:t>
            </a:r>
            <a:r>
              <a:rPr lang="de-DE" dirty="0" err="1"/>
              <a:t>under</a:t>
            </a:r>
            <a:r>
              <a:rPr lang="de-DE" dirty="0"/>
              <a:t> </a:t>
            </a:r>
            <a:r>
              <a:rPr lang="de-DE" dirty="0" err="1"/>
              <a:t>the</a:t>
            </a:r>
            <a:r>
              <a:rPr lang="de-DE" dirty="0"/>
              <a:t> GDPR </a:t>
            </a:r>
            <a:r>
              <a:rPr lang="de-DE" dirty="0" err="1"/>
              <a:t>has</a:t>
            </a:r>
            <a:r>
              <a:rPr lang="de-DE" dirty="0"/>
              <a:t> </a:t>
            </a:r>
            <a:r>
              <a:rPr lang="de-DE" dirty="0" err="1"/>
              <a:t>got</a:t>
            </a:r>
            <a:r>
              <a:rPr lang="de-DE" dirty="0"/>
              <a:t> out </a:t>
            </a:r>
            <a:r>
              <a:rPr lang="de-DE" dirty="0" err="1"/>
              <a:t>of</a:t>
            </a:r>
            <a:r>
              <a:rPr lang="de-DE" dirty="0"/>
              <a:t> </a:t>
            </a:r>
            <a:r>
              <a:rPr lang="de-DE" dirty="0" err="1"/>
              <a:t>hands</a:t>
            </a:r>
            <a:r>
              <a:rPr lang="de-DE" dirty="0"/>
              <a:t>. </a:t>
            </a:r>
          </a:p>
          <a:p>
            <a:pPr marL="0" indent="0">
              <a:buNone/>
            </a:pPr>
            <a:r>
              <a:rPr lang="de-DE" dirty="0"/>
              <a:t>II) </a:t>
            </a:r>
            <a:r>
              <a:rPr lang="de-DE" dirty="0" err="1"/>
              <a:t>Consumers</a:t>
            </a:r>
            <a:r>
              <a:rPr lang="de-DE" dirty="0"/>
              <a:t> </a:t>
            </a:r>
            <a:r>
              <a:rPr lang="de-DE" dirty="0" err="1"/>
              <a:t>for</a:t>
            </a:r>
            <a:r>
              <a:rPr lang="de-DE" dirty="0"/>
              <a:t> </a:t>
            </a:r>
            <a:r>
              <a:rPr lang="de-DE" dirty="0" err="1"/>
              <a:t>data</a:t>
            </a:r>
            <a:r>
              <a:rPr lang="de-DE" dirty="0"/>
              <a:t> </a:t>
            </a:r>
            <a:r>
              <a:rPr lang="de-DE" dirty="0" err="1"/>
              <a:t>governance</a:t>
            </a:r>
            <a:r>
              <a:rPr lang="de-DE" dirty="0"/>
              <a:t> (“</a:t>
            </a:r>
            <a:r>
              <a:rPr lang="de-DE" dirty="0" err="1"/>
              <a:t>Codaco</a:t>
            </a:r>
            <a:r>
              <a:rPr lang="de-DE" dirty="0"/>
              <a:t>“) </a:t>
            </a:r>
            <a:r>
              <a:rPr lang="de-DE" dirty="0" err="1"/>
              <a:t>believes</a:t>
            </a:r>
            <a:r>
              <a:rPr lang="de-DE" dirty="0"/>
              <a:t> </a:t>
            </a:r>
            <a:r>
              <a:rPr lang="de-DE" dirty="0" err="1"/>
              <a:t>that</a:t>
            </a:r>
            <a:r>
              <a:rPr lang="de-DE" dirty="0"/>
              <a:t> high </a:t>
            </a:r>
            <a:r>
              <a:rPr lang="de-DE" dirty="0" err="1"/>
              <a:t>fines</a:t>
            </a:r>
            <a:r>
              <a:rPr lang="de-DE" dirty="0"/>
              <a:t> </a:t>
            </a:r>
            <a:r>
              <a:rPr lang="de-DE" dirty="0" err="1"/>
              <a:t>are</a:t>
            </a:r>
            <a:r>
              <a:rPr lang="de-DE" dirty="0"/>
              <a:t> </a:t>
            </a:r>
            <a:r>
              <a:rPr lang="de-DE" dirty="0" err="1"/>
              <a:t>the</a:t>
            </a:r>
            <a:r>
              <a:rPr lang="de-DE" dirty="0"/>
              <a:t> </a:t>
            </a:r>
            <a:r>
              <a:rPr lang="de-DE" dirty="0" err="1"/>
              <a:t>only</a:t>
            </a:r>
            <a:r>
              <a:rPr lang="de-DE" dirty="0"/>
              <a:t> </a:t>
            </a:r>
            <a:r>
              <a:rPr lang="de-DE" dirty="0" err="1"/>
              <a:t>way</a:t>
            </a:r>
            <a:r>
              <a:rPr lang="de-DE" dirty="0"/>
              <a:t> </a:t>
            </a:r>
            <a:r>
              <a:rPr lang="de-DE" dirty="0" err="1"/>
              <a:t>forward</a:t>
            </a:r>
            <a:r>
              <a:rPr lang="de-DE" dirty="0"/>
              <a:t>.</a:t>
            </a:r>
          </a:p>
          <a:p>
            <a:pPr marL="0" indent="0">
              <a:buNone/>
            </a:pPr>
            <a:endParaRPr lang="de-DE" dirty="0"/>
          </a:p>
          <a:p>
            <a:pPr marL="0" indent="0">
              <a:buNone/>
            </a:pPr>
            <a:r>
              <a:rPr lang="fi-FI" sz="2400" dirty="0"/>
              <a:t> </a:t>
            </a:r>
            <a:endParaRPr lang="de-DE" dirty="0"/>
          </a:p>
        </p:txBody>
      </p:sp>
    </p:spTree>
    <p:extLst>
      <p:ext uri="{BB962C8B-B14F-4D97-AF65-F5344CB8AC3E}">
        <p14:creationId xmlns:p14="http://schemas.microsoft.com/office/powerpoint/2010/main" val="1112663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82044F-E8ED-4356-B5F9-EFDE5161E719}"/>
              </a:ext>
            </a:extLst>
          </p:cNvPr>
          <p:cNvSpPr>
            <a:spLocks noGrp="1"/>
          </p:cNvSpPr>
          <p:nvPr>
            <p:ph type="ctrTitle"/>
          </p:nvPr>
        </p:nvSpPr>
        <p:spPr/>
        <p:txBody>
          <a:bodyPr/>
          <a:lstStyle/>
          <a:p>
            <a:r>
              <a:rPr lang="en-FI" dirty="0">
                <a:latin typeface="Plantagenet Cherokee" panose="02020602070100000000" pitchFamily="18" charset="0"/>
              </a:rPr>
              <a:t>H</a:t>
            </a:r>
            <a:r>
              <a:rPr lang="de-DE" dirty="0">
                <a:latin typeface="Plantagenet Cherokee" panose="02020602070100000000" pitchFamily="18" charset="0"/>
              </a:rPr>
              <a:t>o</a:t>
            </a:r>
            <a:r>
              <a:rPr lang="en-FI" dirty="0">
                <a:latin typeface="Plantagenet Cherokee" panose="02020602070100000000" pitchFamily="18" charset="0"/>
              </a:rPr>
              <a:t>w to implement?</a:t>
            </a:r>
            <a:endParaRPr lang="de-DE" dirty="0">
              <a:latin typeface="Plantagenet Cherokee" panose="02020602070100000000" pitchFamily="18" charset="0"/>
            </a:endParaRPr>
          </a:p>
        </p:txBody>
      </p:sp>
      <p:sp>
        <p:nvSpPr>
          <p:cNvPr id="3" name="Subtitle 2">
            <a:extLst>
              <a:ext uri="{FF2B5EF4-FFF2-40B4-BE49-F238E27FC236}">
                <a16:creationId xmlns:a16="http://schemas.microsoft.com/office/drawing/2014/main" id="{52C728BD-95E4-412E-85DB-C0D05B7E4E30}"/>
              </a:ext>
            </a:extLst>
          </p:cNvPr>
          <p:cNvSpPr>
            <a:spLocks noGrp="1"/>
          </p:cNvSpPr>
          <p:nvPr>
            <p:ph type="subTitle" idx="1"/>
          </p:nvPr>
        </p:nvSpPr>
        <p:spPr/>
        <p:txBody>
          <a:bodyPr/>
          <a:lstStyle/>
          <a:p>
            <a:endParaRPr lang="de-DE"/>
          </a:p>
        </p:txBody>
      </p:sp>
      <p:pic>
        <p:nvPicPr>
          <p:cNvPr id="6" name="Picture Placeholder 5">
            <a:extLst>
              <a:ext uri="{FF2B5EF4-FFF2-40B4-BE49-F238E27FC236}">
                <a16:creationId xmlns:a16="http://schemas.microsoft.com/office/drawing/2014/main" id="{FC290B39-C619-4078-ABB2-02DDAA63E4B7}"/>
              </a:ext>
            </a:extLst>
          </p:cNvPr>
          <p:cNvPicPr>
            <a:picLocks noGrp="1" noChangeAspect="1"/>
          </p:cNvPicPr>
          <p:nvPr>
            <p:ph type="pic" sz="quarter" idx="13"/>
          </p:nvPr>
        </p:nvPicPr>
        <p:blipFill rotWithShape="1">
          <a:blip r:embed="rId3"/>
          <a:srcRect l="591" r="591"/>
          <a:stretch/>
        </p:blipFill>
        <p:spPr/>
      </p:pic>
    </p:spTree>
    <p:extLst>
      <p:ext uri="{BB962C8B-B14F-4D97-AF65-F5344CB8AC3E}">
        <p14:creationId xmlns:p14="http://schemas.microsoft.com/office/powerpoint/2010/main" val="3363171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ounded Rectangle 45"/>
          <p:cNvSpPr/>
          <p:nvPr/>
        </p:nvSpPr>
        <p:spPr bwMode="auto">
          <a:xfrm>
            <a:off x="7856833" y="4959025"/>
            <a:ext cx="2712633" cy="1716425"/>
          </a:xfrm>
          <a:prstGeom prst="roundRect">
            <a:avLst/>
          </a:prstGeom>
          <a:solidFill>
            <a:schemeClr val="bg2">
              <a:lumMod val="20000"/>
              <a:lumOff val="80000"/>
            </a:schemeClr>
          </a:solidFill>
          <a:ln w="31750" cap="flat" cmpd="sng" algn="ctr">
            <a:noFill/>
            <a:prstDash val="solid"/>
            <a:round/>
            <a:headEnd type="none" w="med" len="med"/>
            <a:tailEnd type="none" w="med" len="med"/>
          </a:ln>
          <a:effectLst/>
        </p:spPr>
        <p:txBody>
          <a:bodyPr vert="horz" wrap="square" lIns="56667" tIns="28333" rIns="56667" bIns="28333" numCol="1" rtlCol="0" anchor="t" anchorCtr="0" compatLnSpc="1">
            <a:prstTxWarp prst="textNoShape">
              <a:avLst/>
            </a:prstTxWarp>
          </a:bodyPr>
          <a:lstStyle/>
          <a:p>
            <a:pPr marL="283334" marR="0" lvl="0" indent="-283334" algn="l" defTabSz="914400" rtl="0" eaLnBrk="1" fontAlgn="auto" latinLnBrk="0" hangingPunct="1">
              <a:lnSpc>
                <a:spcPct val="100000"/>
              </a:lnSpc>
              <a:spcBef>
                <a:spcPts val="0"/>
              </a:spcBef>
              <a:spcAft>
                <a:spcPts val="0"/>
              </a:spcAft>
              <a:buClr>
                <a:srgbClr val="00B0F0"/>
              </a:buClr>
              <a:buSzTx/>
              <a:buFont typeface="Arial" panose="020B0604020202020204" pitchFamily="34" charset="0"/>
              <a:buChar char="•"/>
              <a:tabLst/>
              <a:defRPr/>
            </a:pPr>
            <a:endParaRPr kumimoji="0" lang="en-US" sz="1200" b="0" i="0" u="none" strike="noStrike" kern="1200" cap="none" spc="0" normalizeH="0" baseline="0" noProof="0" dirty="0">
              <a:ln>
                <a:noFill/>
              </a:ln>
              <a:solidFill>
                <a:srgbClr val="343D41"/>
              </a:solidFill>
              <a:effectLst/>
              <a:uLnTx/>
              <a:uFillTx/>
              <a:latin typeface="Georgia" pitchFamily="18" charset="0"/>
              <a:ea typeface="+mn-ea"/>
              <a:cs typeface="+mn-cs"/>
            </a:endParaRPr>
          </a:p>
          <a:p>
            <a:pPr marL="283334" marR="0" lvl="0" indent="-283334" algn="l" defTabSz="914400" rtl="0" eaLnBrk="1" fontAlgn="auto" latinLnBrk="0" hangingPunct="1">
              <a:lnSpc>
                <a:spcPct val="100000"/>
              </a:lnSpc>
              <a:spcBef>
                <a:spcPts val="0"/>
              </a:spcBef>
              <a:spcAft>
                <a:spcPts val="0"/>
              </a:spcAft>
              <a:buClr>
                <a:srgbClr val="00B0F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343D41"/>
                </a:solidFill>
                <a:effectLst/>
                <a:uLnTx/>
                <a:uFillTx/>
                <a:latin typeface="Georgia" pitchFamily="18" charset="0"/>
                <a:ea typeface="+mn-ea"/>
                <a:cs typeface="+mn-cs"/>
              </a:rPr>
              <a:t>Incident Management </a:t>
            </a:r>
          </a:p>
          <a:p>
            <a:pPr marL="283334" marR="0" lvl="0" indent="-283334" algn="l" defTabSz="914400" rtl="0" eaLnBrk="1" fontAlgn="auto" latinLnBrk="0" hangingPunct="1">
              <a:lnSpc>
                <a:spcPct val="100000"/>
              </a:lnSpc>
              <a:spcBef>
                <a:spcPts val="0"/>
              </a:spcBef>
              <a:spcAft>
                <a:spcPts val="0"/>
              </a:spcAft>
              <a:buClr>
                <a:srgbClr val="00B0F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343D41"/>
                </a:solidFill>
                <a:effectLst/>
                <a:uLnTx/>
                <a:uFillTx/>
                <a:latin typeface="Georgia" pitchFamily="18" charset="0"/>
                <a:ea typeface="+mn-ea"/>
                <a:cs typeface="+mn-cs"/>
              </a:rPr>
              <a:t>Subcontractor Management</a:t>
            </a:r>
          </a:p>
          <a:p>
            <a:pPr marL="283334" marR="0" lvl="0" indent="-283334" algn="l" defTabSz="914400" rtl="0" eaLnBrk="1" fontAlgn="auto" latinLnBrk="0" hangingPunct="1">
              <a:lnSpc>
                <a:spcPct val="100000"/>
              </a:lnSpc>
              <a:spcBef>
                <a:spcPts val="0"/>
              </a:spcBef>
              <a:spcAft>
                <a:spcPts val="0"/>
              </a:spcAft>
              <a:buClr>
                <a:srgbClr val="00B0F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343D41"/>
                </a:solidFill>
                <a:effectLst/>
                <a:uLnTx/>
                <a:uFillTx/>
                <a:latin typeface="Georgia" pitchFamily="18" charset="0"/>
                <a:ea typeface="+mn-ea"/>
                <a:cs typeface="+mn-cs"/>
              </a:rPr>
              <a:t>International Data Transfers </a:t>
            </a:r>
          </a:p>
          <a:p>
            <a:pPr marL="283334" marR="0" lvl="0" indent="-283334" algn="l" defTabSz="914400" rtl="0" eaLnBrk="1" fontAlgn="auto" latinLnBrk="0" hangingPunct="1">
              <a:lnSpc>
                <a:spcPct val="100000"/>
              </a:lnSpc>
              <a:spcBef>
                <a:spcPts val="0"/>
              </a:spcBef>
              <a:spcAft>
                <a:spcPts val="0"/>
              </a:spcAft>
              <a:buClr>
                <a:srgbClr val="00B0F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343D41"/>
                </a:solidFill>
                <a:effectLst/>
                <a:uLnTx/>
                <a:uFillTx/>
                <a:latin typeface="Georgia" pitchFamily="18" charset="0"/>
                <a:ea typeface="+mn-ea"/>
                <a:cs typeface="+mn-cs"/>
              </a:rPr>
              <a:t>Law Enforcement Access</a:t>
            </a:r>
          </a:p>
          <a:p>
            <a:pPr marL="283334" marR="0" lvl="0" indent="-283334" algn="l" defTabSz="914400" rtl="0" eaLnBrk="1" fontAlgn="auto" latinLnBrk="0" hangingPunct="1">
              <a:lnSpc>
                <a:spcPct val="100000"/>
              </a:lnSpc>
              <a:spcBef>
                <a:spcPts val="0"/>
              </a:spcBef>
              <a:spcAft>
                <a:spcPts val="0"/>
              </a:spcAft>
              <a:buClr>
                <a:srgbClr val="00B0F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343D41"/>
                </a:solidFill>
                <a:effectLst/>
                <a:uLnTx/>
                <a:uFillTx/>
                <a:latin typeface="Georgia" pitchFamily="18" charset="0"/>
                <a:ea typeface="+mn-ea"/>
                <a:cs typeface="+mn-cs"/>
              </a:rPr>
              <a:t>Data Subject Access &amp; Complaint Management</a:t>
            </a:r>
          </a:p>
          <a:p>
            <a:pPr marL="283334" marR="0" lvl="0" indent="-283334" algn="l" defTabSz="914400" rtl="0" eaLnBrk="1" fontAlgn="auto" latinLnBrk="0" hangingPunct="1">
              <a:lnSpc>
                <a:spcPct val="100000"/>
              </a:lnSpc>
              <a:spcBef>
                <a:spcPts val="0"/>
              </a:spcBef>
              <a:spcAft>
                <a:spcPts val="0"/>
              </a:spcAft>
              <a:buClr>
                <a:srgbClr val="00B0F0"/>
              </a:buClr>
              <a:buSzTx/>
              <a:buFont typeface="Arial" panose="020B0604020202020204" pitchFamily="34" charset="0"/>
              <a:buChar char="•"/>
              <a:tabLst/>
              <a:defRPr/>
            </a:pPr>
            <a:endParaRPr kumimoji="0" lang="en-US" sz="1200" b="0" i="0" u="none" strike="noStrike" kern="1200" cap="none" spc="0" normalizeH="0" baseline="0" noProof="0" dirty="0">
              <a:ln>
                <a:noFill/>
              </a:ln>
              <a:solidFill>
                <a:srgbClr val="343D41"/>
              </a:solidFill>
              <a:effectLst/>
              <a:uLnTx/>
              <a:uFillTx/>
              <a:latin typeface="Georgia" pitchFamily="18" charset="0"/>
              <a:ea typeface="+mn-ea"/>
              <a:cs typeface="+mn-cs"/>
            </a:endParaRPr>
          </a:p>
        </p:txBody>
      </p:sp>
      <p:sp>
        <p:nvSpPr>
          <p:cNvPr id="51" name="Arc 50"/>
          <p:cNvSpPr/>
          <p:nvPr/>
        </p:nvSpPr>
        <p:spPr bwMode="auto">
          <a:xfrm rot="5400000">
            <a:off x="3616406" y="1507629"/>
            <a:ext cx="4855081" cy="4683970"/>
          </a:xfrm>
          <a:prstGeom prst="arc">
            <a:avLst/>
          </a:prstGeom>
          <a:solidFill>
            <a:schemeClr val="tx1">
              <a:lumMod val="20000"/>
              <a:lumOff val="80000"/>
            </a:schemeClr>
          </a:solidFill>
          <a:ln w="9525" cap="flat" cmpd="sng" algn="ctr">
            <a:noFill/>
            <a:prstDash val="solid"/>
            <a:round/>
            <a:headEnd type="none" w="med" len="med"/>
            <a:tailEnd type="none" w="med" len="med"/>
          </a:ln>
          <a:effectLst/>
        </p:spPr>
        <p:txBody>
          <a:bodyPr vert="horz" wrap="square" lIns="56667" tIns="28333" rIns="56667" bIns="28333" numCol="1" rtlCol="0" anchor="t" anchorCtr="0" compatLnSpc="1">
            <a:prstTxWarp prst="textNoShape">
              <a:avLst/>
            </a:prstTxWarp>
          </a:bodyPr>
          <a:lstStyle/>
          <a:p>
            <a:pPr marL="0" marR="0" lvl="0" indent="0" algn="l" defTabSz="56666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883AC"/>
              </a:solidFill>
              <a:effectLst/>
              <a:uLnTx/>
              <a:uFillTx/>
              <a:latin typeface="Georgia" pitchFamily="18" charset="0"/>
              <a:ea typeface="+mn-ea"/>
              <a:cs typeface="+mn-cs"/>
            </a:endParaRPr>
          </a:p>
        </p:txBody>
      </p:sp>
      <p:sp>
        <p:nvSpPr>
          <p:cNvPr id="9" name="Rounded Rectangle 8"/>
          <p:cNvSpPr/>
          <p:nvPr/>
        </p:nvSpPr>
        <p:spPr bwMode="auto">
          <a:xfrm>
            <a:off x="1690896" y="4861337"/>
            <a:ext cx="2981527" cy="1716425"/>
          </a:xfrm>
          <a:prstGeom prst="roundRect">
            <a:avLst/>
          </a:prstGeom>
          <a:solidFill>
            <a:schemeClr val="bg2">
              <a:lumMod val="20000"/>
              <a:lumOff val="80000"/>
            </a:schemeClr>
          </a:solidFill>
          <a:ln w="31750" cap="flat" cmpd="sng" algn="ctr">
            <a:noFill/>
            <a:prstDash val="solid"/>
            <a:round/>
            <a:headEnd type="none" w="med" len="med"/>
            <a:tailEnd type="none" w="med" len="med"/>
          </a:ln>
          <a:effectLst/>
        </p:spPr>
        <p:txBody>
          <a:bodyPr vert="horz" wrap="square" lIns="56667" tIns="28333" rIns="56667" bIns="28333" numCol="1" rtlCol="0" anchor="t" anchorCtr="0" compatLnSpc="1">
            <a:prstTxWarp prst="textNoShape">
              <a:avLst/>
            </a:prstTxWarp>
          </a:bodyPr>
          <a:lstStyle/>
          <a:p>
            <a:pPr marL="283334" marR="0" lvl="0" indent="-283334" algn="l" defTabSz="914400" rtl="0" eaLnBrk="1" fontAlgn="auto" latinLnBrk="0" hangingPunct="1">
              <a:lnSpc>
                <a:spcPct val="100000"/>
              </a:lnSpc>
              <a:spcBef>
                <a:spcPts val="0"/>
              </a:spcBef>
              <a:spcAft>
                <a:spcPts val="0"/>
              </a:spcAft>
              <a:buClr>
                <a:srgbClr val="00B0F0"/>
              </a:buClr>
              <a:buSzTx/>
              <a:buFont typeface="Arial" panose="020B0604020202020204" pitchFamily="34" charset="0"/>
              <a:buChar char="•"/>
              <a:tabLst/>
              <a:defRPr/>
            </a:pPr>
            <a:endParaRPr kumimoji="0" lang="en-GB" sz="1200" b="0" i="0" u="none" strike="noStrike" kern="1200" cap="none" spc="0" normalizeH="0" baseline="0" noProof="0" dirty="0">
              <a:ln>
                <a:noFill/>
              </a:ln>
              <a:solidFill>
                <a:srgbClr val="343D41"/>
              </a:solidFill>
              <a:effectLst/>
              <a:uLnTx/>
              <a:uFillTx/>
              <a:latin typeface="Georgia" pitchFamily="18" charset="0"/>
              <a:ea typeface="+mn-ea"/>
              <a:cs typeface="+mn-cs"/>
            </a:endParaRPr>
          </a:p>
          <a:p>
            <a:pPr marL="283334" marR="0" lvl="0" indent="-283334" algn="l" defTabSz="914400" rtl="0" eaLnBrk="1" fontAlgn="auto" latinLnBrk="0" hangingPunct="1">
              <a:lnSpc>
                <a:spcPct val="100000"/>
              </a:lnSpc>
              <a:spcBef>
                <a:spcPts val="0"/>
              </a:spcBef>
              <a:spcAft>
                <a:spcPts val="0"/>
              </a:spcAft>
              <a:buClr>
                <a:srgbClr val="00B0F0"/>
              </a:buClr>
              <a:buSzTx/>
              <a:buFont typeface="Arial" panose="020B0604020202020204" pitchFamily="34" charset="0"/>
              <a:buChar char="•"/>
              <a:tabLst/>
              <a:defRPr/>
            </a:pPr>
            <a:endParaRPr kumimoji="0" lang="en-GB" sz="1200" b="0" i="0" u="none" strike="noStrike" kern="1200" cap="none" spc="0" normalizeH="0" baseline="0" noProof="0" dirty="0">
              <a:ln>
                <a:noFill/>
              </a:ln>
              <a:solidFill>
                <a:srgbClr val="343D41"/>
              </a:solidFill>
              <a:effectLst/>
              <a:uLnTx/>
              <a:uFillTx/>
              <a:latin typeface="Georgia" pitchFamily="18" charset="0"/>
              <a:ea typeface="+mn-ea"/>
              <a:cs typeface="+mn-cs"/>
            </a:endParaRPr>
          </a:p>
          <a:p>
            <a:pPr marL="283334" marR="0" lvl="0" indent="-283334" algn="l" defTabSz="914400" rtl="0" eaLnBrk="1" fontAlgn="auto" latinLnBrk="0" hangingPunct="1">
              <a:lnSpc>
                <a:spcPct val="100000"/>
              </a:lnSpc>
              <a:spcBef>
                <a:spcPts val="0"/>
              </a:spcBef>
              <a:spcAft>
                <a:spcPts val="0"/>
              </a:spcAft>
              <a:buClr>
                <a:srgbClr val="00B0F0"/>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343D41"/>
                </a:solidFill>
                <a:effectLst/>
                <a:uLnTx/>
                <a:uFillTx/>
                <a:latin typeface="Georgia" pitchFamily="18" charset="0"/>
                <a:ea typeface="+mn-ea"/>
                <a:cs typeface="+mn-cs"/>
              </a:rPr>
              <a:t>Internal Policies (high level)</a:t>
            </a:r>
          </a:p>
          <a:p>
            <a:pPr marL="283334" marR="0" lvl="0" indent="-283334" algn="l" defTabSz="914400" rtl="0" eaLnBrk="1" fontAlgn="auto" latinLnBrk="0" hangingPunct="1">
              <a:lnSpc>
                <a:spcPct val="100000"/>
              </a:lnSpc>
              <a:spcBef>
                <a:spcPts val="0"/>
              </a:spcBef>
              <a:spcAft>
                <a:spcPts val="0"/>
              </a:spcAft>
              <a:buClr>
                <a:srgbClr val="00B0F0"/>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343D41"/>
                </a:solidFill>
                <a:effectLst/>
                <a:uLnTx/>
                <a:uFillTx/>
                <a:latin typeface="Georgia" pitchFamily="18" charset="0"/>
                <a:ea typeface="+mn-ea"/>
                <a:cs typeface="+mn-cs"/>
              </a:rPr>
              <a:t>Guidelines &amp; Instructions</a:t>
            </a:r>
          </a:p>
          <a:p>
            <a:pPr marL="283334" marR="0" lvl="0" indent="-283334" algn="l" defTabSz="914400" rtl="0" eaLnBrk="1" fontAlgn="auto" latinLnBrk="0" hangingPunct="1">
              <a:lnSpc>
                <a:spcPct val="100000"/>
              </a:lnSpc>
              <a:spcBef>
                <a:spcPts val="0"/>
              </a:spcBef>
              <a:spcAft>
                <a:spcPts val="0"/>
              </a:spcAft>
              <a:buClr>
                <a:srgbClr val="00B0F0"/>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343D41"/>
                </a:solidFill>
                <a:effectLst/>
                <a:uLnTx/>
                <a:uFillTx/>
                <a:latin typeface="Georgia" pitchFamily="18" charset="0"/>
                <a:ea typeface="+mn-ea"/>
                <a:cs typeface="+mn-cs"/>
              </a:rPr>
              <a:t>Privacy Requirements</a:t>
            </a:r>
          </a:p>
          <a:p>
            <a:pPr marL="283334" marR="0" lvl="0" indent="-283334" algn="l" defTabSz="914400" rtl="0" eaLnBrk="1" fontAlgn="auto" latinLnBrk="0" hangingPunct="1">
              <a:lnSpc>
                <a:spcPct val="100000"/>
              </a:lnSpc>
              <a:spcBef>
                <a:spcPts val="0"/>
              </a:spcBef>
              <a:spcAft>
                <a:spcPts val="0"/>
              </a:spcAft>
              <a:buClr>
                <a:srgbClr val="00B0F0"/>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343D41"/>
                </a:solidFill>
                <a:effectLst/>
                <a:uLnTx/>
                <a:uFillTx/>
                <a:latin typeface="Georgia" pitchFamily="18" charset="0"/>
                <a:ea typeface="+mn-ea"/>
                <a:cs typeface="+mn-cs"/>
              </a:rPr>
              <a:t>Training and Awareness</a:t>
            </a:r>
          </a:p>
        </p:txBody>
      </p:sp>
      <p:sp>
        <p:nvSpPr>
          <p:cNvPr id="50" name="Arc 49"/>
          <p:cNvSpPr/>
          <p:nvPr/>
        </p:nvSpPr>
        <p:spPr bwMode="auto">
          <a:xfrm rot="10800000">
            <a:off x="3712391" y="1406194"/>
            <a:ext cx="4533597" cy="4886024"/>
          </a:xfrm>
          <a:prstGeom prst="arc">
            <a:avLst/>
          </a:prstGeom>
          <a:solidFill>
            <a:schemeClr val="tx1">
              <a:lumMod val="20000"/>
              <a:lumOff val="80000"/>
            </a:schemeClr>
          </a:solidFill>
          <a:ln w="9525" cap="flat" cmpd="sng" algn="ctr">
            <a:noFill/>
            <a:prstDash val="solid"/>
            <a:round/>
            <a:headEnd type="none" w="med" len="med"/>
            <a:tailEnd type="none" w="med" len="med"/>
          </a:ln>
          <a:effectLst/>
        </p:spPr>
        <p:txBody>
          <a:bodyPr vert="horz" wrap="square" lIns="56667" tIns="28333" rIns="56667" bIns="28333" numCol="1" rtlCol="0" anchor="t" anchorCtr="0" compatLnSpc="1">
            <a:prstTxWarp prst="textNoShape">
              <a:avLst/>
            </a:prstTxWarp>
          </a:bodyPr>
          <a:lstStyle/>
          <a:p>
            <a:pPr marL="0" marR="0" lvl="0" indent="0" algn="l" defTabSz="56666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883AC"/>
              </a:solidFill>
              <a:effectLst/>
              <a:uLnTx/>
              <a:uFillTx/>
              <a:latin typeface="Georgia" pitchFamily="18" charset="0"/>
              <a:ea typeface="+mn-ea"/>
              <a:cs typeface="+mn-cs"/>
            </a:endParaRPr>
          </a:p>
        </p:txBody>
      </p:sp>
      <p:sp>
        <p:nvSpPr>
          <p:cNvPr id="44" name="Rounded Rectangle 43"/>
          <p:cNvSpPr/>
          <p:nvPr/>
        </p:nvSpPr>
        <p:spPr bwMode="auto">
          <a:xfrm>
            <a:off x="1654877" y="1028322"/>
            <a:ext cx="2981527" cy="1716425"/>
          </a:xfrm>
          <a:prstGeom prst="roundRect">
            <a:avLst/>
          </a:prstGeom>
          <a:solidFill>
            <a:schemeClr val="bg2">
              <a:lumMod val="20000"/>
              <a:lumOff val="80000"/>
            </a:schemeClr>
          </a:solidFill>
          <a:ln w="31750" cap="flat" cmpd="sng" algn="ctr">
            <a:noFill/>
            <a:prstDash val="solid"/>
            <a:round/>
            <a:headEnd type="none" w="med" len="med"/>
            <a:tailEnd type="none" w="med" len="med"/>
          </a:ln>
          <a:effectLst/>
        </p:spPr>
        <p:txBody>
          <a:bodyPr vert="horz" wrap="square" lIns="56667" tIns="28333" rIns="56667" bIns="28333" numCol="1" rtlCol="0" anchor="t" anchorCtr="0" compatLnSpc="1">
            <a:prstTxWarp prst="textNoShape">
              <a:avLst/>
            </a:prstTxWarp>
          </a:bodyPr>
          <a:lstStyle/>
          <a:p>
            <a:pPr marL="283334" marR="0" lvl="0" indent="-283334"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srgbClr val="343D41"/>
              </a:solidFill>
              <a:effectLst/>
              <a:uLnTx/>
              <a:uFillTx/>
              <a:latin typeface="Georgia" pitchFamily="18" charset="0"/>
              <a:ea typeface="+mn-ea"/>
              <a:cs typeface="+mn-cs"/>
            </a:endParaRPr>
          </a:p>
          <a:p>
            <a:pPr marL="283334" marR="0" lvl="0" indent="-283334" algn="l" defTabSz="914400" rtl="0" eaLnBrk="1" fontAlgn="auto" latinLnBrk="0" hangingPunct="1">
              <a:lnSpc>
                <a:spcPct val="100000"/>
              </a:lnSpc>
              <a:spcBef>
                <a:spcPts val="0"/>
              </a:spcBef>
              <a:spcAft>
                <a:spcPts val="0"/>
              </a:spcAft>
              <a:buClr>
                <a:srgbClr val="00B0F0"/>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343D41"/>
                </a:solidFill>
                <a:effectLst/>
                <a:uLnTx/>
                <a:uFillTx/>
                <a:latin typeface="Georgia" pitchFamily="18" charset="0"/>
                <a:ea typeface="+mn-ea"/>
                <a:cs typeface="+mn-cs"/>
              </a:rPr>
              <a:t>Privacy policy</a:t>
            </a:r>
          </a:p>
          <a:p>
            <a:pPr marL="283334" marR="0" lvl="0" indent="-283334" algn="l" defTabSz="914400" rtl="0" eaLnBrk="1" fontAlgn="auto" latinLnBrk="0" hangingPunct="1">
              <a:lnSpc>
                <a:spcPct val="100000"/>
              </a:lnSpc>
              <a:spcBef>
                <a:spcPts val="0"/>
              </a:spcBef>
              <a:spcAft>
                <a:spcPts val="0"/>
              </a:spcAft>
              <a:buClr>
                <a:srgbClr val="00B0F0"/>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343D41"/>
                </a:solidFill>
                <a:effectLst/>
                <a:uLnTx/>
                <a:uFillTx/>
                <a:latin typeface="Georgia" pitchFamily="18" charset="0"/>
                <a:ea typeface="+mn-ea"/>
                <a:cs typeface="+mn-cs"/>
              </a:rPr>
              <a:t>Specific  notifications  (e.g. description of files)</a:t>
            </a:r>
          </a:p>
          <a:p>
            <a:pPr marL="283334" marR="0" lvl="0" indent="-283334" algn="l" defTabSz="914400" rtl="0" eaLnBrk="1" fontAlgn="auto" latinLnBrk="0" hangingPunct="1">
              <a:lnSpc>
                <a:spcPct val="100000"/>
              </a:lnSpc>
              <a:spcBef>
                <a:spcPts val="0"/>
              </a:spcBef>
              <a:spcAft>
                <a:spcPts val="0"/>
              </a:spcAft>
              <a:buClr>
                <a:srgbClr val="00B0F0"/>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343D41"/>
                </a:solidFill>
                <a:effectLst/>
                <a:uLnTx/>
                <a:uFillTx/>
                <a:latin typeface="Georgia" pitchFamily="18" charset="0"/>
                <a:ea typeface="+mn-ea"/>
                <a:cs typeface="+mn-cs"/>
              </a:rPr>
              <a:t>Notifications to authorities </a:t>
            </a:r>
          </a:p>
        </p:txBody>
      </p:sp>
      <p:sp>
        <p:nvSpPr>
          <p:cNvPr id="48" name="Arc 47"/>
          <p:cNvSpPr/>
          <p:nvPr/>
        </p:nvSpPr>
        <p:spPr bwMode="auto">
          <a:xfrm rot="16200000">
            <a:off x="3464269" y="1510552"/>
            <a:ext cx="5036143" cy="4527181"/>
          </a:xfrm>
          <a:prstGeom prst="arc">
            <a:avLst/>
          </a:prstGeom>
          <a:solidFill>
            <a:schemeClr val="tx1">
              <a:lumMod val="20000"/>
              <a:lumOff val="80000"/>
            </a:schemeClr>
          </a:solidFill>
          <a:ln w="9525" cap="flat" cmpd="sng" algn="ctr">
            <a:noFill/>
            <a:prstDash val="solid"/>
            <a:round/>
            <a:headEnd type="none" w="med" len="med"/>
            <a:tailEnd type="none" w="med" len="med"/>
          </a:ln>
          <a:effectLst/>
        </p:spPr>
        <p:txBody>
          <a:bodyPr vert="horz" wrap="square" lIns="56667" tIns="28333" rIns="56667" bIns="28333" numCol="1" rtlCol="0" anchor="t" anchorCtr="0" compatLnSpc="1">
            <a:prstTxWarp prst="textNoShape">
              <a:avLst/>
            </a:prstTxWarp>
          </a:bodyPr>
          <a:lstStyle/>
          <a:p>
            <a:pPr marL="0" marR="0" lvl="0" indent="0" algn="l" defTabSz="56666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883AC"/>
              </a:solidFill>
              <a:effectLst/>
              <a:uLnTx/>
              <a:uFillTx/>
              <a:latin typeface="Georgia" pitchFamily="18" charset="0"/>
              <a:ea typeface="+mn-ea"/>
              <a:cs typeface="+mn-cs"/>
            </a:endParaRPr>
          </a:p>
        </p:txBody>
      </p:sp>
      <p:sp>
        <p:nvSpPr>
          <p:cNvPr id="45" name="Rounded Rectangle 44"/>
          <p:cNvSpPr/>
          <p:nvPr/>
        </p:nvSpPr>
        <p:spPr bwMode="auto">
          <a:xfrm>
            <a:off x="7780639" y="1016758"/>
            <a:ext cx="2789552" cy="1716425"/>
          </a:xfrm>
          <a:prstGeom prst="roundRect">
            <a:avLst/>
          </a:prstGeom>
          <a:solidFill>
            <a:schemeClr val="bg2">
              <a:lumMod val="20000"/>
              <a:lumOff val="80000"/>
            </a:schemeClr>
          </a:solidFill>
          <a:ln w="31750" cap="flat" cmpd="sng" algn="ctr">
            <a:noFill/>
            <a:prstDash val="solid"/>
            <a:round/>
            <a:headEnd type="none" w="med" len="med"/>
            <a:tailEnd type="none" w="med" len="med"/>
          </a:ln>
          <a:effectLst/>
        </p:spPr>
        <p:txBody>
          <a:bodyPr vert="horz" wrap="square" lIns="56667" tIns="28333" rIns="56667" bIns="28333" numCol="1" rtlCol="0" anchor="t" anchorCtr="0" compatLnSpc="1">
            <a:prstTxWarp prst="textNoShape">
              <a:avLst/>
            </a:prstTxWarp>
          </a:bodyPr>
          <a:lstStyle/>
          <a:p>
            <a:pPr marL="0" marR="0" lvl="0" indent="0" algn="l" defTabSz="56666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883AC"/>
              </a:solidFill>
              <a:effectLst/>
              <a:uLnTx/>
              <a:uFillTx/>
              <a:latin typeface="Georgia" pitchFamily="18" charset="0"/>
              <a:ea typeface="+mn-ea"/>
              <a:cs typeface="+mn-cs"/>
            </a:endParaRPr>
          </a:p>
        </p:txBody>
      </p:sp>
      <p:sp>
        <p:nvSpPr>
          <p:cNvPr id="12" name="Arc 11"/>
          <p:cNvSpPr/>
          <p:nvPr/>
        </p:nvSpPr>
        <p:spPr bwMode="auto">
          <a:xfrm>
            <a:off x="3656093" y="1256486"/>
            <a:ext cx="4730273" cy="5020671"/>
          </a:xfrm>
          <a:prstGeom prst="arc">
            <a:avLst>
              <a:gd name="adj1" fmla="val 16224191"/>
              <a:gd name="adj2" fmla="val 21583953"/>
            </a:avLst>
          </a:prstGeom>
          <a:solidFill>
            <a:schemeClr val="tx1">
              <a:lumMod val="20000"/>
              <a:lumOff val="80000"/>
            </a:schemeClr>
          </a:solidFill>
          <a:ln w="9525" cap="flat" cmpd="sng" algn="ctr">
            <a:noFill/>
            <a:prstDash val="solid"/>
            <a:round/>
            <a:headEnd type="none" w="med" len="med"/>
            <a:tailEnd type="none" w="med" len="med"/>
          </a:ln>
          <a:effectLst/>
        </p:spPr>
        <p:txBody>
          <a:bodyPr vert="horz" wrap="square" lIns="56667" tIns="28333" rIns="56667" bIns="28333" numCol="1" rtlCol="0" anchor="t" anchorCtr="0" compatLnSpc="1">
            <a:prstTxWarp prst="textNoShape">
              <a:avLst/>
            </a:prstTxWarp>
          </a:bodyPr>
          <a:lstStyle/>
          <a:p>
            <a:pPr marL="0" marR="0" lvl="0" indent="0" algn="l" defTabSz="56666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8883AC"/>
              </a:solidFill>
              <a:effectLst/>
              <a:uLnTx/>
              <a:uFillTx/>
              <a:latin typeface="Georgia" pitchFamily="18" charset="0"/>
              <a:ea typeface="+mn-ea"/>
              <a:cs typeface="+mn-cs"/>
            </a:endParaRPr>
          </a:p>
        </p:txBody>
      </p:sp>
      <p:sp>
        <p:nvSpPr>
          <p:cNvPr id="6" name="Rectangle 5"/>
          <p:cNvSpPr/>
          <p:nvPr/>
        </p:nvSpPr>
        <p:spPr bwMode="auto">
          <a:xfrm>
            <a:off x="1582723" y="192201"/>
            <a:ext cx="9144000" cy="842869"/>
          </a:xfrm>
          <a:prstGeom prst="rect">
            <a:avLst/>
          </a:prstGeom>
          <a:solidFill>
            <a:schemeClr val="bg2"/>
          </a:solidFill>
          <a:ln w="9525" cap="flat" cmpd="sng" algn="ctr">
            <a:solidFill>
              <a:schemeClr val="tx1"/>
            </a:solidFill>
            <a:prstDash val="solid"/>
            <a:round/>
            <a:headEnd type="none" w="med" len="med"/>
            <a:tailEnd type="none" w="med" len="med"/>
          </a:ln>
          <a:effectLst/>
        </p:spPr>
        <p:txBody>
          <a:bodyPr vert="horz" wrap="square" lIns="91416" tIns="45708" rIns="91416" bIns="45708" numCol="1" rtlCol="0" anchor="t" anchorCtr="0" compatLnSpc="1">
            <a:prstTxWarp prst="textNoShape">
              <a:avLst/>
            </a:prstTxWarp>
          </a:bodyPr>
          <a:lstStyle/>
          <a:p>
            <a:pPr marL="0" marR="0" lvl="0" indent="0" algn="l" defTabSz="914157"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1" normalizeH="0" baseline="0" noProof="0" dirty="0">
                <a:ln>
                  <a:noFill/>
                </a:ln>
                <a:solidFill>
                  <a:srgbClr val="514843"/>
                </a:solidFill>
                <a:effectLst/>
                <a:uLnTx/>
                <a:uFillTx/>
                <a:latin typeface="Plantagenet Cherokee"/>
                <a:ea typeface="+mn-ea"/>
                <a:cs typeface="+mn-cs"/>
              </a:rPr>
              <a:t>Structure of a Privacy Program</a:t>
            </a:r>
          </a:p>
        </p:txBody>
      </p:sp>
      <p:sp>
        <p:nvSpPr>
          <p:cNvPr id="38" name="TextBox 37"/>
          <p:cNvSpPr txBox="1"/>
          <p:nvPr/>
        </p:nvSpPr>
        <p:spPr>
          <a:xfrm>
            <a:off x="6396486" y="2422693"/>
            <a:ext cx="1494408" cy="580433"/>
          </a:xfrm>
          <a:prstGeom prst="rect">
            <a:avLst/>
          </a:prstGeom>
          <a:noFill/>
        </p:spPr>
        <p:txBody>
          <a:bodyPr wrap="square" lIns="56658" tIns="28330" rIns="56658" bIns="2833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700" b="0" i="0" u="none" strike="noStrike" kern="1200" cap="none" spc="0" normalizeH="0" baseline="0" noProof="0" dirty="0">
                <a:ln>
                  <a:noFill/>
                </a:ln>
                <a:solidFill>
                  <a:srgbClr val="343D41"/>
                </a:solidFill>
                <a:effectLst/>
                <a:uLnTx/>
                <a:uFillTx/>
                <a:latin typeface="Georgia" pitchFamily="18" charset="0"/>
                <a:ea typeface="+mn-ea"/>
                <a:cs typeface="+mn-cs"/>
              </a:rPr>
              <a:t>Risk</a:t>
            </a:r>
            <a:br>
              <a:rPr kumimoji="0" lang="de-DE" sz="1700" b="0" i="0" u="none" strike="noStrike" kern="1200" cap="none" spc="0" normalizeH="0" baseline="0" noProof="0" dirty="0">
                <a:ln>
                  <a:noFill/>
                </a:ln>
                <a:solidFill>
                  <a:srgbClr val="343D41"/>
                </a:solidFill>
                <a:effectLst/>
                <a:uLnTx/>
                <a:uFillTx/>
                <a:latin typeface="Georgia" pitchFamily="18" charset="0"/>
                <a:ea typeface="+mn-ea"/>
                <a:cs typeface="+mn-cs"/>
              </a:rPr>
            </a:br>
            <a:r>
              <a:rPr kumimoji="0" lang="de-DE" sz="1700" b="0" i="0" u="none" strike="noStrike" kern="1200" cap="none" spc="0" normalizeH="0" baseline="0" noProof="0" dirty="0">
                <a:ln>
                  <a:noFill/>
                </a:ln>
                <a:solidFill>
                  <a:srgbClr val="343D41"/>
                </a:solidFill>
                <a:effectLst/>
                <a:uLnTx/>
                <a:uFillTx/>
                <a:latin typeface="Georgia" pitchFamily="18" charset="0"/>
                <a:ea typeface="+mn-ea"/>
                <a:cs typeface="+mn-cs"/>
              </a:rPr>
              <a:t>Management</a:t>
            </a:r>
            <a:endParaRPr kumimoji="0" lang="en-US" sz="1700" b="0" i="0" u="none" strike="noStrike" kern="1200" cap="none" spc="0" normalizeH="0" baseline="0" noProof="0" dirty="0" err="1">
              <a:ln>
                <a:noFill/>
              </a:ln>
              <a:solidFill>
                <a:srgbClr val="343D41"/>
              </a:solidFill>
              <a:effectLst/>
              <a:uLnTx/>
              <a:uFillTx/>
              <a:latin typeface="Georgia" pitchFamily="18" charset="0"/>
              <a:ea typeface="+mn-ea"/>
              <a:cs typeface="+mn-cs"/>
            </a:endParaRPr>
          </a:p>
        </p:txBody>
      </p:sp>
      <p:grpSp>
        <p:nvGrpSpPr>
          <p:cNvPr id="39" name="Group 38"/>
          <p:cNvGrpSpPr/>
          <p:nvPr/>
        </p:nvGrpSpPr>
        <p:grpSpPr>
          <a:xfrm>
            <a:off x="5194001" y="2946714"/>
            <a:ext cx="1758128" cy="1681983"/>
            <a:chOff x="3416174" y="3374759"/>
            <a:chExt cx="1567461" cy="1234320"/>
          </a:xfrm>
        </p:grpSpPr>
        <p:sp>
          <p:nvSpPr>
            <p:cNvPr id="40" name="Oval 39"/>
            <p:cNvSpPr/>
            <p:nvPr/>
          </p:nvSpPr>
          <p:spPr bwMode="auto">
            <a:xfrm>
              <a:off x="3479446" y="3374759"/>
              <a:ext cx="1395799" cy="1234320"/>
            </a:xfrm>
            <a:prstGeom prst="ellipse">
              <a:avLst/>
            </a:prstGeom>
            <a:solidFill>
              <a:schemeClr val="tx2">
                <a:lumMod val="20000"/>
                <a:lumOff val="80000"/>
              </a:schemeClr>
            </a:solidFill>
            <a:ln w="9525" cap="flat" cmpd="sng" algn="ctr">
              <a:solidFill>
                <a:schemeClr val="tx1"/>
              </a:solidFill>
              <a:prstDash val="solid"/>
              <a:round/>
              <a:headEnd type="none" w="med" len="med"/>
              <a:tailEnd type="none" w="med" len="med"/>
            </a:ln>
            <a:effectLst/>
          </p:spPr>
          <p:txBody>
            <a:bodyPr vert="horz" wrap="square" lIns="91427" tIns="45714" rIns="91427" bIns="45714" numCol="1" rtlCol="0" anchor="t" anchorCtr="0" compatLnSpc="1">
              <a:prstTxWarp prst="textNoShape">
                <a:avLst/>
              </a:prstTxWarp>
            </a:bodyPr>
            <a:lstStyle/>
            <a:p>
              <a:pPr marL="0" marR="0" lvl="0" indent="0" algn="l" defTabSz="566588" rtl="0" eaLnBrk="1" fontAlgn="auto" latinLnBrk="0" hangingPunct="1">
                <a:lnSpc>
                  <a:spcPct val="100000"/>
                </a:lnSpc>
                <a:spcBef>
                  <a:spcPts val="0"/>
                </a:spcBef>
                <a:spcAft>
                  <a:spcPts val="0"/>
                </a:spcAft>
                <a:buClrTx/>
                <a:buSzTx/>
                <a:buFontTx/>
                <a:buNone/>
                <a:tabLst/>
                <a:defRPr/>
              </a:pPr>
              <a:endParaRPr kumimoji="0" lang="de-DE" sz="600" b="0" i="0" u="none" strike="noStrike" kern="1200" cap="none" spc="0" normalizeH="0" baseline="0" noProof="0" dirty="0">
                <a:ln>
                  <a:noFill/>
                </a:ln>
                <a:solidFill>
                  <a:srgbClr val="FFFFFF"/>
                </a:solidFill>
                <a:effectLst/>
                <a:uLnTx/>
                <a:uFillTx/>
                <a:latin typeface="Georgia" pitchFamily="18" charset="0"/>
                <a:ea typeface="+mn-ea"/>
                <a:cs typeface="+mn-cs"/>
              </a:endParaRPr>
            </a:p>
            <a:p>
              <a:pPr marL="0" marR="0" lvl="0" indent="0" algn="l" defTabSz="566588" rtl="0" eaLnBrk="1" fontAlgn="auto" latinLnBrk="0" hangingPunct="1">
                <a:lnSpc>
                  <a:spcPct val="100000"/>
                </a:lnSpc>
                <a:spcBef>
                  <a:spcPts val="0"/>
                </a:spcBef>
                <a:spcAft>
                  <a:spcPts val="0"/>
                </a:spcAft>
                <a:buClrTx/>
                <a:buSzTx/>
                <a:buFontTx/>
                <a:buNone/>
                <a:tabLst/>
                <a:defRPr/>
              </a:pPr>
              <a:endParaRPr kumimoji="0" lang="de-DE" sz="600" b="0" i="0" u="none" strike="noStrike" kern="1200" cap="none" spc="0" normalizeH="0" baseline="0" noProof="0" dirty="0">
                <a:ln>
                  <a:noFill/>
                </a:ln>
                <a:solidFill>
                  <a:srgbClr val="FFFFFF"/>
                </a:solidFill>
                <a:effectLst/>
                <a:uLnTx/>
                <a:uFillTx/>
                <a:latin typeface="Georgia" pitchFamily="18" charset="0"/>
                <a:ea typeface="+mn-ea"/>
                <a:cs typeface="+mn-cs"/>
              </a:endParaRPr>
            </a:p>
          </p:txBody>
        </p:sp>
        <p:sp>
          <p:nvSpPr>
            <p:cNvPr id="41" name="TextBox 40"/>
            <p:cNvSpPr txBox="1"/>
            <p:nvPr/>
          </p:nvSpPr>
          <p:spPr>
            <a:xfrm>
              <a:off x="3416174" y="3832012"/>
              <a:ext cx="1567461" cy="429201"/>
            </a:xfrm>
            <a:prstGeom prst="rect">
              <a:avLst/>
            </a:prstGeom>
            <a:noFill/>
          </p:spPr>
          <p:txBody>
            <a:bodyPr wrap="square" lIns="91427" tIns="45714" rIns="91427" bIns="45714"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700" b="0" i="0" u="none" strike="noStrike" kern="1200" cap="none" spc="0" normalizeH="0" baseline="0" noProof="0" dirty="0">
                  <a:ln>
                    <a:noFill/>
                  </a:ln>
                  <a:solidFill>
                    <a:srgbClr val="343D41">
                      <a:lumMod val="75000"/>
                    </a:srgbClr>
                  </a:solidFill>
                  <a:effectLst/>
                  <a:uLnTx/>
                  <a:uFillTx/>
                  <a:latin typeface="Georgia" pitchFamily="18" charset="0"/>
                  <a:ea typeface="+mn-ea"/>
                  <a:cs typeface="+mn-cs"/>
                </a:rPr>
                <a:t>Governance</a:t>
              </a:r>
              <a:endParaRPr kumimoji="0" lang="en-US" sz="1700" b="0" i="0" u="none" strike="noStrike" kern="1200" cap="none" spc="0" normalizeH="0" baseline="0" noProof="0" dirty="0">
                <a:ln>
                  <a:noFill/>
                </a:ln>
                <a:solidFill>
                  <a:srgbClr val="343D41">
                    <a:lumMod val="75000"/>
                  </a:srgbClr>
                </a:solidFill>
                <a:effectLst/>
                <a:uLnTx/>
                <a:uFillTx/>
                <a:latin typeface="Georgia" pitchFamily="18"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a:ln>
                  <a:noFill/>
                </a:ln>
                <a:solidFill>
                  <a:srgbClr val="343D41"/>
                </a:solidFill>
                <a:effectLst/>
                <a:uLnTx/>
                <a:uFillTx/>
                <a:latin typeface="Georgia" pitchFamily="18" charset="0"/>
                <a:ea typeface="+mn-ea"/>
                <a:cs typeface="+mn-cs"/>
              </a:endParaRPr>
            </a:p>
          </p:txBody>
        </p:sp>
      </p:grpSp>
      <p:sp>
        <p:nvSpPr>
          <p:cNvPr id="42" name="TextBox 41"/>
          <p:cNvSpPr txBox="1"/>
          <p:nvPr/>
        </p:nvSpPr>
        <p:spPr>
          <a:xfrm>
            <a:off x="3984328" y="4415532"/>
            <a:ext cx="2111969" cy="534267"/>
          </a:xfrm>
          <a:prstGeom prst="rect">
            <a:avLst/>
          </a:prstGeom>
          <a:noFill/>
        </p:spPr>
        <p:txBody>
          <a:bodyPr wrap="square" lIns="56658" tIns="28330" rIns="56658" bIns="2833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700" b="0" i="0" u="none" strike="noStrike" kern="1200" cap="none" spc="0" normalizeH="0" baseline="0" noProof="0" dirty="0">
                <a:ln>
                  <a:noFill/>
                </a:ln>
                <a:solidFill>
                  <a:srgbClr val="343D41"/>
                </a:solidFill>
                <a:effectLst/>
                <a:uLnTx/>
                <a:uFillTx/>
                <a:latin typeface="Georgia" pitchFamily="18" charset="0"/>
                <a:ea typeface="+mn-ea"/>
                <a:cs typeface="+mn-cs"/>
              </a:rPr>
              <a:t>Internal Instructions</a:t>
            </a:r>
            <a:endParaRPr kumimoji="0" lang="en-US" sz="1700" b="0" i="0" u="none" strike="noStrike" kern="1200" cap="none" spc="0" normalizeH="0" baseline="0" noProof="0" dirty="0">
              <a:ln>
                <a:noFill/>
              </a:ln>
              <a:solidFill>
                <a:srgbClr val="343D41"/>
              </a:solidFill>
              <a:effectLst/>
              <a:uLnTx/>
              <a:uFillTx/>
              <a:latin typeface="Georgia" pitchFamily="18"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343D41"/>
              </a:solidFill>
              <a:effectLst/>
              <a:uLnTx/>
              <a:uFillTx/>
              <a:latin typeface="Georgia" pitchFamily="18" charset="0"/>
              <a:ea typeface="+mn-ea"/>
              <a:cs typeface="+mn-cs"/>
            </a:endParaRPr>
          </a:p>
        </p:txBody>
      </p:sp>
      <p:sp>
        <p:nvSpPr>
          <p:cNvPr id="43" name="TextBox 42"/>
          <p:cNvSpPr txBox="1"/>
          <p:nvPr/>
        </p:nvSpPr>
        <p:spPr>
          <a:xfrm>
            <a:off x="6064809" y="4408663"/>
            <a:ext cx="2373473" cy="795877"/>
          </a:xfrm>
          <a:prstGeom prst="rect">
            <a:avLst/>
          </a:prstGeom>
          <a:noFill/>
        </p:spPr>
        <p:txBody>
          <a:bodyPr wrap="square" lIns="56658" tIns="28330" rIns="56658" bIns="2833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700" b="0" i="0" u="none" strike="noStrike" kern="1200" cap="none" spc="0" normalizeH="0" baseline="0" noProof="0" dirty="0">
                <a:ln>
                  <a:noFill/>
                </a:ln>
                <a:solidFill>
                  <a:srgbClr val="343D41">
                    <a:lumMod val="75000"/>
                  </a:srgbClr>
                </a:solidFill>
                <a:effectLst/>
                <a:uLnTx/>
                <a:uFillTx/>
                <a:latin typeface="Georgia" pitchFamily="18" charset="0"/>
                <a:ea typeface="+mn-ea"/>
                <a:cs typeface="+mn-cs"/>
              </a:rPr>
              <a:t>Privac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700" b="0" i="0" u="none" strike="noStrike" kern="1200" cap="none" spc="0" normalizeH="0" baseline="0" noProof="0" dirty="0">
                <a:ln>
                  <a:noFill/>
                </a:ln>
                <a:solidFill>
                  <a:srgbClr val="343D41">
                    <a:lumMod val="75000"/>
                  </a:srgbClr>
                </a:solidFill>
                <a:effectLst/>
                <a:uLnTx/>
                <a:uFillTx/>
                <a:latin typeface="Georgia" pitchFamily="18" charset="0"/>
                <a:ea typeface="+mn-ea"/>
                <a:cs typeface="+mn-cs"/>
              </a:rPr>
              <a:t>Processes</a:t>
            </a:r>
            <a:endParaRPr kumimoji="0" lang="en-US" sz="1700" b="0" i="0" u="none" strike="noStrike" kern="1200" cap="none" spc="0" normalizeH="0" baseline="0" noProof="0" dirty="0">
              <a:ln>
                <a:noFill/>
              </a:ln>
              <a:solidFill>
                <a:srgbClr val="343D41">
                  <a:lumMod val="75000"/>
                </a:srgbClr>
              </a:solidFill>
              <a:effectLst/>
              <a:uLnTx/>
              <a:uFillTx/>
              <a:latin typeface="Georgia" pitchFamily="18"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343D41"/>
              </a:solidFill>
              <a:effectLst/>
              <a:uLnTx/>
              <a:uFillTx/>
              <a:latin typeface="Georgia" pitchFamily="18" charset="0"/>
              <a:ea typeface="+mn-ea"/>
              <a:cs typeface="+mn-cs"/>
            </a:endParaRPr>
          </a:p>
        </p:txBody>
      </p:sp>
      <p:sp>
        <p:nvSpPr>
          <p:cNvPr id="47" name="TextBox 46"/>
          <p:cNvSpPr txBox="1"/>
          <p:nvPr/>
        </p:nvSpPr>
        <p:spPr>
          <a:xfrm>
            <a:off x="7780639" y="1158550"/>
            <a:ext cx="2597577" cy="1165209"/>
          </a:xfrm>
          <a:prstGeom prst="rect">
            <a:avLst/>
          </a:prstGeom>
          <a:noFill/>
        </p:spPr>
        <p:txBody>
          <a:bodyPr wrap="square" lIns="56658" tIns="28330" rIns="56658" bIns="28330" rtlCol="0">
            <a:spAutoFit/>
          </a:bodyPr>
          <a:lstStyle/>
          <a:p>
            <a:pPr marL="0" marR="0" lvl="0" indent="0" algn="l" defTabSz="914400" rtl="0" eaLnBrk="1" fontAlgn="auto" latinLnBrk="0" hangingPunct="1">
              <a:lnSpc>
                <a:spcPct val="100000"/>
              </a:lnSpc>
              <a:spcBef>
                <a:spcPts val="0"/>
              </a:spcBef>
              <a:spcAft>
                <a:spcPts val="0"/>
              </a:spcAft>
              <a:buClr>
                <a:srgbClr val="00B0F0"/>
              </a:buClr>
              <a:buSzTx/>
              <a:buFontTx/>
              <a:buNone/>
              <a:tabLst/>
              <a:defRPr/>
            </a:pPr>
            <a:endParaRPr kumimoji="0" lang="en-GB" sz="1200" b="0" i="0" u="none" strike="noStrike" kern="1200" cap="none" spc="0" normalizeH="0" baseline="0" noProof="0" dirty="0">
              <a:ln>
                <a:noFill/>
              </a:ln>
              <a:solidFill>
                <a:srgbClr val="343D41"/>
              </a:solidFill>
              <a:effectLst/>
              <a:uLnTx/>
              <a:uFillTx/>
              <a:latin typeface="Georgia" pitchFamily="18" charset="0"/>
              <a:ea typeface="+mn-ea"/>
              <a:cs typeface="+mn-cs"/>
            </a:endParaRPr>
          </a:p>
          <a:p>
            <a:pPr marL="283334" marR="0" lvl="0" indent="-283334" algn="l" defTabSz="914400" rtl="0" eaLnBrk="1" fontAlgn="auto" latinLnBrk="0" hangingPunct="1">
              <a:lnSpc>
                <a:spcPct val="100000"/>
              </a:lnSpc>
              <a:spcBef>
                <a:spcPts val="0"/>
              </a:spcBef>
              <a:spcAft>
                <a:spcPts val="0"/>
              </a:spcAft>
              <a:buClr>
                <a:srgbClr val="00B0F0"/>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343D41"/>
                </a:solidFill>
                <a:effectLst/>
                <a:uLnTx/>
                <a:uFillTx/>
                <a:latin typeface="Georgia" pitchFamily="18" charset="0"/>
                <a:ea typeface="+mn-ea"/>
                <a:cs typeface="+mn-cs"/>
              </a:rPr>
              <a:t>Documentation</a:t>
            </a:r>
          </a:p>
          <a:p>
            <a:pPr marL="283334" marR="0" lvl="0" indent="-283334" algn="l" defTabSz="914400" rtl="0" eaLnBrk="1" fontAlgn="auto" latinLnBrk="0" hangingPunct="1">
              <a:lnSpc>
                <a:spcPct val="100000"/>
              </a:lnSpc>
              <a:spcBef>
                <a:spcPts val="0"/>
              </a:spcBef>
              <a:spcAft>
                <a:spcPts val="0"/>
              </a:spcAft>
              <a:buClr>
                <a:srgbClr val="00B0F0"/>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343D41"/>
                </a:solidFill>
                <a:effectLst/>
                <a:uLnTx/>
                <a:uFillTx/>
                <a:latin typeface="Georgia" pitchFamily="18" charset="0"/>
                <a:ea typeface="+mn-ea"/>
                <a:cs typeface="+mn-cs"/>
              </a:rPr>
              <a:t>Privacy Engineering (</a:t>
            </a:r>
            <a:r>
              <a:rPr kumimoji="0" lang="en-GB" sz="1200" b="0" i="0" u="none" strike="noStrike" kern="1200" cap="none" spc="0" normalizeH="0" baseline="0" noProof="0" dirty="0" err="1">
                <a:ln>
                  <a:noFill/>
                </a:ln>
                <a:solidFill>
                  <a:srgbClr val="343D41"/>
                </a:solidFill>
                <a:effectLst/>
                <a:uLnTx/>
                <a:uFillTx/>
                <a:latin typeface="Georgia" pitchFamily="18" charset="0"/>
                <a:ea typeface="+mn-ea"/>
                <a:cs typeface="+mn-cs"/>
              </a:rPr>
              <a:t>PbD</a:t>
            </a:r>
            <a:r>
              <a:rPr kumimoji="0" lang="en-GB" sz="1200" b="0" i="0" u="none" strike="noStrike" kern="1200" cap="none" spc="0" normalizeH="0" baseline="0" noProof="0" dirty="0">
                <a:ln>
                  <a:noFill/>
                </a:ln>
                <a:solidFill>
                  <a:srgbClr val="343D41"/>
                </a:solidFill>
                <a:effectLst/>
                <a:uLnTx/>
                <a:uFillTx/>
                <a:latin typeface="Georgia" pitchFamily="18" charset="0"/>
                <a:ea typeface="+mn-ea"/>
                <a:cs typeface="+mn-cs"/>
              </a:rPr>
              <a:t>)</a:t>
            </a:r>
          </a:p>
          <a:p>
            <a:pPr marL="283334" marR="0" lvl="0" indent="-283334" algn="l" defTabSz="914400" rtl="0" eaLnBrk="1" fontAlgn="auto" latinLnBrk="0" hangingPunct="1">
              <a:lnSpc>
                <a:spcPct val="100000"/>
              </a:lnSpc>
              <a:spcBef>
                <a:spcPts val="0"/>
              </a:spcBef>
              <a:spcAft>
                <a:spcPts val="0"/>
              </a:spcAft>
              <a:buClr>
                <a:srgbClr val="00B0F0"/>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343D41"/>
                </a:solidFill>
                <a:effectLst/>
                <a:uLnTx/>
                <a:uFillTx/>
                <a:latin typeface="Georgia" pitchFamily="18" charset="0"/>
                <a:ea typeface="+mn-ea"/>
                <a:cs typeface="+mn-cs"/>
              </a:rPr>
              <a:t>Data Protection Impact Assessments</a:t>
            </a:r>
          </a:p>
          <a:p>
            <a:pPr marL="283334" marR="0" lvl="0" indent="-283334" algn="l" defTabSz="914400" rtl="0" eaLnBrk="1" fontAlgn="auto" latinLnBrk="0" hangingPunct="1">
              <a:lnSpc>
                <a:spcPct val="100000"/>
              </a:lnSpc>
              <a:spcBef>
                <a:spcPts val="0"/>
              </a:spcBef>
              <a:spcAft>
                <a:spcPts val="0"/>
              </a:spcAft>
              <a:buClr>
                <a:srgbClr val="00B0F0"/>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343D41"/>
                </a:solidFill>
                <a:effectLst/>
                <a:uLnTx/>
                <a:uFillTx/>
                <a:latin typeface="Georgia" pitchFamily="18" charset="0"/>
                <a:ea typeface="+mn-ea"/>
                <a:cs typeface="+mn-cs"/>
              </a:rPr>
              <a:t>Appropriate Security Measures</a:t>
            </a:r>
          </a:p>
        </p:txBody>
      </p:sp>
      <p:sp>
        <p:nvSpPr>
          <p:cNvPr id="49" name="TextBox 48"/>
          <p:cNvSpPr txBox="1"/>
          <p:nvPr/>
        </p:nvSpPr>
        <p:spPr>
          <a:xfrm>
            <a:off x="3670772" y="2409779"/>
            <a:ext cx="2373473" cy="795877"/>
          </a:xfrm>
          <a:prstGeom prst="rect">
            <a:avLst/>
          </a:prstGeom>
          <a:noFill/>
        </p:spPr>
        <p:txBody>
          <a:bodyPr wrap="square" lIns="56658" tIns="28330" rIns="56658" bIns="2833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700" b="0" i="0" u="none" strike="noStrike" kern="1200" cap="none" spc="0" normalizeH="0" baseline="0" noProof="0" dirty="0">
                <a:ln>
                  <a:noFill/>
                </a:ln>
                <a:solidFill>
                  <a:srgbClr val="343D41"/>
                </a:solidFill>
                <a:effectLst/>
                <a:uLnTx/>
                <a:uFillTx/>
                <a:latin typeface="Georgia" pitchFamily="18" charset="0"/>
                <a:ea typeface="+mn-ea"/>
                <a:cs typeface="+mn-cs"/>
              </a:rPr>
              <a:t>External</a:t>
            </a:r>
            <a:br>
              <a:rPr kumimoji="0" lang="de-DE" sz="1700" b="0" i="0" u="none" strike="noStrike" kern="1200" cap="none" spc="0" normalizeH="0" baseline="0" noProof="0" dirty="0">
                <a:ln>
                  <a:noFill/>
                </a:ln>
                <a:solidFill>
                  <a:srgbClr val="343D41"/>
                </a:solidFill>
                <a:effectLst/>
                <a:uLnTx/>
                <a:uFillTx/>
                <a:latin typeface="Georgia" pitchFamily="18" charset="0"/>
                <a:ea typeface="+mn-ea"/>
                <a:cs typeface="+mn-cs"/>
              </a:rPr>
            </a:br>
            <a:r>
              <a:rPr kumimoji="0" lang="de-DE" sz="1700" b="0" i="0" u="none" strike="noStrike" kern="1200" cap="none" spc="0" normalizeH="0" baseline="0" noProof="0" dirty="0">
                <a:ln>
                  <a:noFill/>
                </a:ln>
                <a:solidFill>
                  <a:srgbClr val="343D41"/>
                </a:solidFill>
                <a:effectLst/>
                <a:uLnTx/>
                <a:uFillTx/>
                <a:latin typeface="Georgia" pitchFamily="18" charset="0"/>
                <a:ea typeface="+mn-ea"/>
                <a:cs typeface="+mn-cs"/>
              </a:rPr>
              <a:t>Communication </a:t>
            </a:r>
            <a:endParaRPr kumimoji="0" lang="en-US" sz="1700" b="0" i="0" u="none" strike="noStrike" kern="1200" cap="none" spc="0" normalizeH="0" baseline="0" noProof="0" dirty="0">
              <a:ln>
                <a:noFill/>
              </a:ln>
              <a:solidFill>
                <a:srgbClr val="343D41"/>
              </a:solidFill>
              <a:effectLst/>
              <a:uLnTx/>
              <a:uFillTx/>
              <a:latin typeface="Georgia" pitchFamily="18"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err="1">
              <a:ln>
                <a:noFill/>
              </a:ln>
              <a:solidFill>
                <a:srgbClr val="343D41"/>
              </a:solidFill>
              <a:effectLst/>
              <a:uLnTx/>
              <a:uFillTx/>
              <a:latin typeface="Georgia" pitchFamily="18" charset="0"/>
              <a:ea typeface="+mn-ea"/>
              <a:cs typeface="+mn-cs"/>
            </a:endParaRPr>
          </a:p>
        </p:txBody>
      </p:sp>
      <p:pic>
        <p:nvPicPr>
          <p:cNvPr id="61" name="Picture 2" descr="C:\Users\jeyr\Desktop\DR_Scales.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479435" y="3016772"/>
            <a:ext cx="1207570" cy="1280802"/>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5" descr="C:\Users\jeyr\Desktop\CMCL_handshake.png"/>
          <p:cNvPicPr>
            <a:picLocks noChangeAspect="1" noChangeArrowheads="1"/>
          </p:cNvPicPr>
          <p:nvPr/>
        </p:nvPicPr>
        <p:blipFill>
          <a:blip r:embed="rId3" cstate="print">
            <a:extLst>
              <a:ext uri="{BEBA8EAE-BF5A-486C-A8C5-ECC9F3942E4B}">
                <a14:imgProps xmlns:a14="http://schemas.microsoft.com/office/drawing/2010/main">
                  <a14:imgLayer r:embed="rId4">
                    <a14:imgEffect>
                      <a14:saturation sat="200000"/>
                    </a14:imgEffect>
                  </a14:imgLayer>
                </a14:imgProps>
              </a:ext>
              <a:ext uri="{28A0092B-C50C-407E-A947-70E740481C1C}">
                <a14:useLocalDpi xmlns:a14="http://schemas.microsoft.com/office/drawing/2010/main" val="0"/>
              </a:ext>
            </a:extLst>
          </a:blip>
          <a:srcRect/>
          <a:stretch>
            <a:fillRect/>
          </a:stretch>
        </p:blipFill>
        <p:spPr bwMode="auto">
          <a:xfrm>
            <a:off x="5418365" y="5370653"/>
            <a:ext cx="1276560" cy="1353976"/>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6" descr="C:\Users\jeyr\Desktop\FRAN_Chart.png"/>
          <p:cNvPicPr>
            <a:picLocks noChangeAspect="1" noChangeArrowheads="1"/>
          </p:cNvPicPr>
          <p:nvPr/>
        </p:nvPicPr>
        <p:blipFill>
          <a:blip r:embed="rId5" cstate="print">
            <a:extLst>
              <a:ext uri="{BEBA8EAE-BF5A-486C-A8C5-ECC9F3942E4B}">
                <a14:imgProps xmlns:a14="http://schemas.microsoft.com/office/drawing/2010/main">
                  <a14:imgLayer r:embed="rId6">
                    <a14:imgEffect>
                      <a14:saturation sat="300000"/>
                    </a14:imgEffect>
                  </a14:imgLayer>
                </a14:imgProps>
              </a:ext>
              <a:ext uri="{28A0092B-C50C-407E-A947-70E740481C1C}">
                <a14:useLocalDpi xmlns:a14="http://schemas.microsoft.com/office/drawing/2010/main" val="0"/>
              </a:ext>
            </a:extLst>
          </a:blip>
          <a:srcRect/>
          <a:stretch>
            <a:fillRect/>
          </a:stretch>
        </p:blipFill>
        <p:spPr bwMode="auto">
          <a:xfrm>
            <a:off x="2351524" y="3020073"/>
            <a:ext cx="1270295" cy="13473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5606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rtlCol="0">
            <a:normAutofit/>
          </a:bodyPr>
          <a:lstStyle/>
          <a:p>
            <a:pPr>
              <a:spcBef>
                <a:spcPts val="0"/>
              </a:spcBef>
              <a:defRPr/>
            </a:pPr>
            <a:r>
              <a:rPr lang="fr-CA" sz="2800" spc="-1" dirty="0" err="1">
                <a:solidFill>
                  <a:srgbClr val="514843"/>
                </a:solidFill>
                <a:latin typeface="Plantagenet Cherokee"/>
                <a:ea typeface="+mn-ea"/>
                <a:cs typeface="+mn-cs"/>
              </a:rPr>
              <a:t>Enforcement</a:t>
            </a:r>
            <a:r>
              <a:rPr lang="fr-CA" sz="2800" spc="-1" dirty="0">
                <a:solidFill>
                  <a:srgbClr val="514843"/>
                </a:solidFill>
                <a:latin typeface="Plantagenet Cherokee"/>
                <a:ea typeface="+mn-ea"/>
                <a:cs typeface="+mn-cs"/>
              </a:rPr>
              <a:t> </a:t>
            </a:r>
            <a:r>
              <a:rPr lang="fr-CA" sz="2800" spc="-1" dirty="0" err="1">
                <a:solidFill>
                  <a:srgbClr val="514843"/>
                </a:solidFill>
                <a:latin typeface="Plantagenet Cherokee"/>
                <a:ea typeface="+mn-ea"/>
                <a:cs typeface="+mn-cs"/>
              </a:rPr>
              <a:t>through</a:t>
            </a:r>
            <a:r>
              <a:rPr lang="fr-CA" sz="2800" spc="-1" dirty="0">
                <a:solidFill>
                  <a:srgbClr val="514843"/>
                </a:solidFill>
                <a:latin typeface="Plantagenet Cherokee"/>
                <a:ea typeface="+mn-ea"/>
                <a:cs typeface="+mn-cs"/>
              </a:rPr>
              <a:t> </a:t>
            </a:r>
            <a:r>
              <a:rPr lang="fr-CA" sz="2800" spc="-1" dirty="0" err="1">
                <a:solidFill>
                  <a:srgbClr val="514843"/>
                </a:solidFill>
                <a:latin typeface="Plantagenet Cherokee"/>
                <a:ea typeface="+mn-ea"/>
                <a:cs typeface="+mn-cs"/>
              </a:rPr>
              <a:t>DPOs</a:t>
            </a:r>
            <a:endParaRPr lang="fr-CA" sz="2800" spc="-1" dirty="0">
              <a:solidFill>
                <a:srgbClr val="514843"/>
              </a:solidFill>
              <a:latin typeface="Plantagenet Cherokee"/>
              <a:ea typeface="+mn-ea"/>
              <a:cs typeface="+mn-cs"/>
            </a:endParaRPr>
          </a:p>
        </p:txBody>
      </p:sp>
      <p:sp>
        <p:nvSpPr>
          <p:cNvPr id="3" name="Content Placeholder 2"/>
          <p:cNvSpPr>
            <a:spLocks noGrp="1"/>
          </p:cNvSpPr>
          <p:nvPr>
            <p:ph idx="1"/>
          </p:nvPr>
        </p:nvSpPr>
        <p:spPr/>
        <p:txBody>
          <a:bodyPr/>
          <a:lstStyle/>
          <a:p>
            <a:pPr marL="0" indent="0">
              <a:buNone/>
            </a:pPr>
            <a:r>
              <a:rPr lang="fi-FI" sz="2400" dirty="0">
                <a:latin typeface="Euphemia" panose="020B0503040102020104" pitchFamily="34" charset="0"/>
              </a:rPr>
              <a:t>The role of data protection officers </a:t>
            </a:r>
          </a:p>
          <a:p>
            <a:r>
              <a:rPr lang="fi-FI" sz="2400" dirty="0" err="1">
                <a:latin typeface="Euphemia" panose="020B0503040102020104" pitchFamily="34" charset="0"/>
              </a:rPr>
              <a:t>Reports</a:t>
            </a:r>
            <a:r>
              <a:rPr lang="fi-FI" sz="2400" dirty="0">
                <a:latin typeface="Euphemia" panose="020B0503040102020104" pitchFamily="34" charset="0"/>
              </a:rPr>
              <a:t> to </a:t>
            </a:r>
            <a:r>
              <a:rPr lang="fi-FI" sz="2400" dirty="0" err="1">
                <a:latin typeface="Euphemia" panose="020B0503040102020104" pitchFamily="34" charset="0"/>
              </a:rPr>
              <a:t>highest</a:t>
            </a:r>
            <a:r>
              <a:rPr lang="fi-FI" sz="2400" dirty="0">
                <a:latin typeface="Euphemia" panose="020B0503040102020104" pitchFamily="34" charset="0"/>
              </a:rPr>
              <a:t> management </a:t>
            </a:r>
            <a:r>
              <a:rPr lang="fi-FI" sz="2400" dirty="0" err="1">
                <a:latin typeface="Euphemia" panose="020B0503040102020104" pitchFamily="34" charset="0"/>
              </a:rPr>
              <a:t>level</a:t>
            </a:r>
            <a:endParaRPr lang="fi-FI" sz="2400" dirty="0">
              <a:latin typeface="Euphemia" panose="020B0503040102020104" pitchFamily="34" charset="0"/>
            </a:endParaRPr>
          </a:p>
          <a:p>
            <a:r>
              <a:rPr lang="fi-FI" sz="2400" dirty="0">
                <a:latin typeface="Euphemia" panose="020B0503040102020104" pitchFamily="34" charset="0"/>
              </a:rPr>
              <a:t>Tasks (Art. 38, 39)</a:t>
            </a:r>
          </a:p>
          <a:p>
            <a:r>
              <a:rPr lang="fi-FI" sz="2400" dirty="0">
                <a:latin typeface="Euphemia" panose="020B0503040102020104" pitchFamily="34" charset="0"/>
              </a:rPr>
              <a:t>What happens if you don’t designate one? (=&gt; </a:t>
            </a:r>
            <a:r>
              <a:rPr lang="fi-FI" sz="2400" dirty="0" err="1">
                <a:latin typeface="Euphemia" panose="020B0503040102020104" pitchFamily="34" charset="0"/>
              </a:rPr>
              <a:t>fine</a:t>
            </a:r>
            <a:r>
              <a:rPr lang="fi-FI" sz="2400" dirty="0">
                <a:latin typeface="Euphemia" panose="020B0503040102020104" pitchFamily="34" charset="0"/>
              </a:rPr>
              <a:t>)</a:t>
            </a:r>
          </a:p>
          <a:p>
            <a:r>
              <a:rPr lang="fi-FI" sz="2400" dirty="0">
                <a:latin typeface="Euphemia" panose="020B0503040102020104" pitchFamily="34" charset="0"/>
              </a:rPr>
              <a:t>No </a:t>
            </a:r>
            <a:r>
              <a:rPr lang="fi-FI" sz="2400" dirty="0" err="1">
                <a:latin typeface="Euphemia" panose="020B0503040102020104" pitchFamily="34" charset="0"/>
              </a:rPr>
              <a:t>exception</a:t>
            </a:r>
            <a:r>
              <a:rPr lang="fi-FI" sz="2400" dirty="0">
                <a:latin typeface="Euphemia" panose="020B0503040102020104" pitchFamily="34" charset="0"/>
              </a:rPr>
              <a:t> for SME</a:t>
            </a:r>
          </a:p>
          <a:p>
            <a:pPr marL="0" indent="0">
              <a:buNone/>
            </a:pPr>
            <a:endParaRPr lang="fi-FI" sz="2400" dirty="0">
              <a:latin typeface="Euphemia" panose="020B0503040102020104" pitchFamily="34" charset="0"/>
            </a:endParaRPr>
          </a:p>
          <a:p>
            <a:pPr marL="0" indent="0">
              <a:buNone/>
            </a:pPr>
            <a:r>
              <a:rPr lang="fi-FI" sz="2400" dirty="0">
                <a:latin typeface="Euphemia" panose="020B0503040102020104" pitchFamily="34" charset="0"/>
                <a:sym typeface="Wingdings" panose="05000000000000000000" pitchFamily="2" charset="2"/>
              </a:rPr>
              <a:t> DPO have been proven quite effective to build a privacy culture</a:t>
            </a:r>
            <a:endParaRPr lang="fi-FI" sz="2400" dirty="0">
              <a:latin typeface="Euphemia" panose="020B0503040102020104" pitchFamily="34" charset="0"/>
            </a:endParaRPr>
          </a:p>
        </p:txBody>
      </p:sp>
    </p:spTree>
    <p:extLst>
      <p:ext uri="{BB962C8B-B14F-4D97-AF65-F5344CB8AC3E}">
        <p14:creationId xmlns:p14="http://schemas.microsoft.com/office/powerpoint/2010/main" val="299559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rtlCol="0">
            <a:normAutofit/>
          </a:bodyPr>
          <a:lstStyle/>
          <a:p>
            <a:pPr>
              <a:spcBef>
                <a:spcPts val="0"/>
              </a:spcBef>
              <a:defRPr/>
            </a:pPr>
            <a:r>
              <a:rPr lang="fr-CA" sz="2800" spc="-1" dirty="0" err="1">
                <a:solidFill>
                  <a:srgbClr val="514843"/>
                </a:solidFill>
                <a:latin typeface="Plantagenet Cherokee"/>
                <a:ea typeface="+mn-ea"/>
                <a:cs typeface="+mn-cs"/>
              </a:rPr>
              <a:t>When</a:t>
            </a:r>
            <a:r>
              <a:rPr lang="fr-CA" sz="2800" spc="-1" dirty="0">
                <a:solidFill>
                  <a:srgbClr val="514843"/>
                </a:solidFill>
                <a:latin typeface="Plantagenet Cherokee"/>
                <a:ea typeface="+mn-ea"/>
                <a:cs typeface="+mn-cs"/>
              </a:rPr>
              <a:t> do I </a:t>
            </a:r>
            <a:r>
              <a:rPr lang="fr-CA" sz="2800" spc="-1" dirty="0" err="1">
                <a:solidFill>
                  <a:srgbClr val="514843"/>
                </a:solidFill>
                <a:latin typeface="Plantagenet Cherokee"/>
                <a:ea typeface="+mn-ea"/>
                <a:cs typeface="+mn-cs"/>
              </a:rPr>
              <a:t>need</a:t>
            </a:r>
            <a:r>
              <a:rPr lang="fr-CA" sz="2800" spc="-1" dirty="0">
                <a:solidFill>
                  <a:srgbClr val="514843"/>
                </a:solidFill>
                <a:latin typeface="Plantagenet Cherokee"/>
                <a:ea typeface="+mn-ea"/>
                <a:cs typeface="+mn-cs"/>
              </a:rPr>
              <a:t> to appoint a DPO?</a:t>
            </a:r>
          </a:p>
        </p:txBody>
      </p:sp>
      <p:sp>
        <p:nvSpPr>
          <p:cNvPr id="3" name="Content Placeholder 2"/>
          <p:cNvSpPr>
            <a:spLocks noGrp="1"/>
          </p:cNvSpPr>
          <p:nvPr>
            <p:ph idx="1"/>
          </p:nvPr>
        </p:nvSpPr>
        <p:spPr>
          <a:xfrm>
            <a:off x="1104839" y="4581128"/>
            <a:ext cx="9980279" cy="2088232"/>
          </a:xfrm>
        </p:spPr>
        <p:txBody>
          <a:bodyPr/>
          <a:lstStyle/>
          <a:p>
            <a:pPr marL="344488" lvl="1" indent="-342900">
              <a:buClr>
                <a:srgbClr val="1EA5F0"/>
              </a:buClr>
            </a:pPr>
            <a:r>
              <a:rPr lang="en-GB" kern="0" dirty="0">
                <a:solidFill>
                  <a:srgbClr val="343D41"/>
                </a:solidFill>
                <a:latin typeface="Euphemia" panose="020B0503040102020104" pitchFamily="34" charset="0"/>
              </a:rPr>
              <a:t>Other organisations </a:t>
            </a:r>
            <a:r>
              <a:rPr lang="en-GB" b="1" kern="0" dirty="0">
                <a:solidFill>
                  <a:srgbClr val="343D41"/>
                </a:solidFill>
                <a:latin typeface="Euphemia" panose="020B0503040102020104" pitchFamily="34" charset="0"/>
              </a:rPr>
              <a:t>may</a:t>
            </a:r>
            <a:r>
              <a:rPr lang="en-GB" kern="0" dirty="0">
                <a:solidFill>
                  <a:srgbClr val="343D41"/>
                </a:solidFill>
                <a:latin typeface="Euphemia" panose="020B0503040102020104" pitchFamily="34" charset="0"/>
              </a:rPr>
              <a:t> appoint a DPO.</a:t>
            </a:r>
          </a:p>
          <a:p>
            <a:pPr marL="344488" lvl="1" indent="-342900">
              <a:buClr>
                <a:srgbClr val="1EA5F0"/>
              </a:buClr>
            </a:pPr>
            <a:r>
              <a:rPr lang="en-GB" kern="0" dirty="0">
                <a:solidFill>
                  <a:srgbClr val="343D41"/>
                </a:solidFill>
                <a:latin typeface="Euphemia" panose="020B0503040102020104" pitchFamily="34" charset="0"/>
              </a:rPr>
              <a:t>Groups of undertakings may appoint a </a:t>
            </a:r>
            <a:r>
              <a:rPr lang="en-GB" b="1" kern="0" dirty="0">
                <a:solidFill>
                  <a:srgbClr val="343D41"/>
                </a:solidFill>
                <a:latin typeface="Euphemia" panose="020B0503040102020104" pitchFamily="34" charset="0"/>
              </a:rPr>
              <a:t>single</a:t>
            </a:r>
            <a:r>
              <a:rPr lang="en-GB" kern="0" dirty="0">
                <a:solidFill>
                  <a:srgbClr val="343D41"/>
                </a:solidFill>
                <a:latin typeface="Euphemia" panose="020B0503040102020104" pitchFamily="34" charset="0"/>
              </a:rPr>
              <a:t> DPO providing they are </a:t>
            </a:r>
            <a:r>
              <a:rPr lang="en-GB" b="1" kern="0" dirty="0">
                <a:solidFill>
                  <a:srgbClr val="343D41"/>
                </a:solidFill>
                <a:latin typeface="Euphemia" panose="020B0503040102020104" pitchFamily="34" charset="0"/>
              </a:rPr>
              <a:t>accessible </a:t>
            </a:r>
            <a:r>
              <a:rPr lang="en-GB" kern="0" dirty="0">
                <a:solidFill>
                  <a:srgbClr val="343D41"/>
                </a:solidFill>
                <a:latin typeface="Euphemia" panose="020B0503040102020104" pitchFamily="34" charset="0"/>
              </a:rPr>
              <a:t>from each establishment.</a:t>
            </a:r>
          </a:p>
          <a:p>
            <a:pPr marL="344488" lvl="1" indent="-342900">
              <a:buClr>
                <a:srgbClr val="1EA5F0"/>
              </a:buClr>
            </a:pPr>
            <a:r>
              <a:rPr lang="en-GB" kern="0" dirty="0">
                <a:solidFill>
                  <a:srgbClr val="343D41"/>
                </a:solidFill>
                <a:latin typeface="Euphemia" panose="020B0503040102020104" pitchFamily="34" charset="0"/>
              </a:rPr>
              <a:t>A </a:t>
            </a:r>
            <a:r>
              <a:rPr lang="en-GB" b="1" kern="0" dirty="0">
                <a:solidFill>
                  <a:srgbClr val="343D41"/>
                </a:solidFill>
                <a:latin typeface="Euphemia" panose="020B0503040102020104" pitchFamily="34" charset="0"/>
              </a:rPr>
              <a:t>single</a:t>
            </a:r>
            <a:r>
              <a:rPr lang="en-GB" kern="0" dirty="0">
                <a:solidFill>
                  <a:srgbClr val="343D41"/>
                </a:solidFill>
                <a:latin typeface="Euphemia" panose="020B0503040102020104" pitchFamily="34" charset="0"/>
              </a:rPr>
              <a:t> DPO may also be designated for multiple public authorities/bodies.</a:t>
            </a:r>
          </a:p>
          <a:p>
            <a:pPr marL="0" indent="0">
              <a:buNone/>
            </a:pPr>
            <a:endParaRPr lang="fi-FI" dirty="0"/>
          </a:p>
        </p:txBody>
      </p:sp>
      <p:sp>
        <p:nvSpPr>
          <p:cNvPr id="5" name="Oval 4"/>
          <p:cNvSpPr/>
          <p:nvPr/>
        </p:nvSpPr>
        <p:spPr bwMode="auto">
          <a:xfrm>
            <a:off x="1859178" y="1773992"/>
            <a:ext cx="2437417" cy="2415754"/>
          </a:xfrm>
          <a:prstGeom prst="ellipse">
            <a:avLst/>
          </a:prstGeom>
          <a:solidFill>
            <a:schemeClr val="accent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1" i="0" u="none" strike="noStrike" kern="1200" cap="none" spc="0" normalizeH="0" baseline="0" noProof="0" dirty="0">
                <a:ln>
                  <a:noFill/>
                </a:ln>
                <a:solidFill>
                  <a:srgbClr val="FFFFFF"/>
                </a:solidFill>
                <a:effectLst/>
                <a:uLnTx/>
                <a:uFillTx/>
                <a:latin typeface="Calibri"/>
                <a:ea typeface="+mn-ea"/>
                <a:cs typeface="+mn-cs"/>
              </a:rPr>
              <a:t>Public Authoriti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Calibri"/>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Calibri"/>
                <a:ea typeface="+mn-ea"/>
                <a:cs typeface="+mn-cs"/>
              </a:rPr>
              <a:t>(subject to limited exceptions)</a:t>
            </a:r>
          </a:p>
        </p:txBody>
      </p:sp>
      <p:grpSp>
        <p:nvGrpSpPr>
          <p:cNvPr id="6" name="Group 5"/>
          <p:cNvGrpSpPr/>
          <p:nvPr/>
        </p:nvGrpSpPr>
        <p:grpSpPr>
          <a:xfrm>
            <a:off x="4511824" y="1772817"/>
            <a:ext cx="5909180" cy="2424155"/>
            <a:chOff x="3203848" y="1989972"/>
            <a:chExt cx="5045084" cy="1978325"/>
          </a:xfrm>
        </p:grpSpPr>
        <p:sp>
          <p:nvSpPr>
            <p:cNvPr id="7" name="Oval 6"/>
            <p:cNvSpPr/>
            <p:nvPr/>
          </p:nvSpPr>
          <p:spPr bwMode="auto">
            <a:xfrm>
              <a:off x="3203848" y="1989972"/>
              <a:ext cx="2088232" cy="1978325"/>
            </a:xfrm>
            <a:prstGeom prst="ellipse">
              <a:avLst/>
            </a:prstGeom>
            <a:solidFill>
              <a:schemeClr val="accent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Calibri"/>
                  <a:ea typeface="+mn-ea"/>
                  <a:cs typeface="+mn-cs"/>
                </a:rPr>
                <a:t>Other organisations whose "core activities" require either</a:t>
              </a:r>
            </a:p>
          </p:txBody>
        </p:sp>
        <p:sp>
          <p:nvSpPr>
            <p:cNvPr id="8" name="Rounded Rectangle 7"/>
            <p:cNvSpPr/>
            <p:nvPr/>
          </p:nvSpPr>
          <p:spPr bwMode="auto">
            <a:xfrm>
              <a:off x="5728652" y="1989973"/>
              <a:ext cx="2520280" cy="720080"/>
            </a:xfrm>
            <a:prstGeom prst="roundRect">
              <a:avLst/>
            </a:prstGeom>
            <a:solidFill>
              <a:schemeClr val="accent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srgbClr val="FFFFFF"/>
                  </a:solidFill>
                  <a:effectLst/>
                  <a:uLnTx/>
                  <a:uFillTx/>
                  <a:latin typeface="Calibri"/>
                  <a:ea typeface="+mn-ea"/>
                  <a:cs typeface="+mn-cs"/>
                </a:rPr>
                <a:t>"</a:t>
              </a:r>
              <a:r>
                <a:rPr kumimoji="0" lang="en-GB" sz="1800" b="0" i="1" u="none" strike="noStrike" kern="1200" cap="none" spc="0" normalizeH="0" baseline="0" noProof="0" dirty="0">
                  <a:ln>
                    <a:noFill/>
                  </a:ln>
                  <a:solidFill>
                    <a:srgbClr val="FFFFFF"/>
                  </a:solidFill>
                  <a:effectLst/>
                  <a:uLnTx/>
                  <a:uFillTx/>
                  <a:latin typeface="Calibri"/>
                  <a:ea typeface="+mn-ea"/>
                  <a:cs typeface="+mn-cs"/>
                </a:rPr>
                <a:t>regular and systematic monitoring</a:t>
              </a:r>
              <a:r>
                <a:rPr kumimoji="0" lang="en-GB" sz="1800" b="0" i="0" u="none" strike="noStrike" kern="1200" cap="none" spc="0" normalizeH="0" baseline="0" noProof="0" dirty="0">
                  <a:ln>
                    <a:noFill/>
                  </a:ln>
                  <a:solidFill>
                    <a:srgbClr val="FFFFFF"/>
                  </a:solidFill>
                  <a:effectLst/>
                  <a:uLnTx/>
                  <a:uFillTx/>
                  <a:latin typeface="Calibri"/>
                  <a:ea typeface="+mn-ea"/>
                  <a:cs typeface="+mn-cs"/>
                </a:rPr>
                <a:t>" of individuals "</a:t>
              </a:r>
              <a:r>
                <a:rPr kumimoji="0" lang="en-GB" sz="1800" b="0" i="1" u="none" strike="noStrike" kern="1200" cap="none" spc="0" normalizeH="0" baseline="0" noProof="0" dirty="0">
                  <a:ln>
                    <a:noFill/>
                  </a:ln>
                  <a:solidFill>
                    <a:srgbClr val="FFFFFF"/>
                  </a:solidFill>
                  <a:effectLst/>
                  <a:uLnTx/>
                  <a:uFillTx/>
                  <a:latin typeface="Calibri"/>
                  <a:ea typeface="+mn-ea"/>
                  <a:cs typeface="+mn-cs"/>
                </a:rPr>
                <a:t>on a large scale</a:t>
              </a:r>
              <a:r>
                <a:rPr kumimoji="0" lang="en-GB" sz="1400" b="0" i="0" u="none" strike="noStrike" kern="1200" cap="none" spc="0" normalizeH="0" baseline="0" noProof="0" dirty="0">
                  <a:ln>
                    <a:noFill/>
                  </a:ln>
                  <a:solidFill>
                    <a:srgbClr val="FFFFFF"/>
                  </a:solidFill>
                  <a:effectLst/>
                  <a:uLnTx/>
                  <a:uFillTx/>
                  <a:latin typeface="Calibri"/>
                  <a:ea typeface="+mn-ea"/>
                  <a:cs typeface="+mn-cs"/>
                </a:rPr>
                <a:t>"</a:t>
              </a:r>
            </a:p>
          </p:txBody>
        </p:sp>
        <p:sp>
          <p:nvSpPr>
            <p:cNvPr id="9" name="Rounded Rectangle 8"/>
            <p:cNvSpPr/>
            <p:nvPr/>
          </p:nvSpPr>
          <p:spPr bwMode="auto">
            <a:xfrm>
              <a:off x="5728652" y="3216874"/>
              <a:ext cx="2520280" cy="720080"/>
            </a:xfrm>
            <a:prstGeom prst="roundRect">
              <a:avLst/>
            </a:prstGeom>
            <a:solidFill>
              <a:schemeClr val="accent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Calibri"/>
                  <a:ea typeface="+mn-ea"/>
                  <a:cs typeface="+mn-cs"/>
                </a:rPr>
                <a:t>"</a:t>
              </a:r>
              <a:r>
                <a:rPr kumimoji="0" lang="en-GB" sz="1600" b="0" i="1" u="none" strike="noStrike" kern="1200" cap="none" spc="0" normalizeH="0" baseline="0" noProof="0" dirty="0">
                  <a:ln>
                    <a:noFill/>
                  </a:ln>
                  <a:solidFill>
                    <a:srgbClr val="FFFFFF"/>
                  </a:solidFill>
                  <a:effectLst/>
                  <a:uLnTx/>
                  <a:uFillTx/>
                  <a:latin typeface="Calibri"/>
                  <a:ea typeface="+mn-ea"/>
                  <a:cs typeface="+mn-cs"/>
                </a:rPr>
                <a:t>large scale</a:t>
              </a:r>
              <a:r>
                <a:rPr kumimoji="0" lang="en-GB" sz="1600" b="0" i="0" u="none" strike="noStrike" kern="1200" cap="none" spc="0" normalizeH="0" baseline="0" noProof="0" dirty="0">
                  <a:ln>
                    <a:noFill/>
                  </a:ln>
                  <a:solidFill>
                    <a:srgbClr val="FFFFFF"/>
                  </a:solidFill>
                  <a:effectLst/>
                  <a:uLnTx/>
                  <a:uFillTx/>
                  <a:latin typeface="Calibri"/>
                  <a:ea typeface="+mn-ea"/>
                  <a:cs typeface="+mn-cs"/>
                </a:rPr>
                <a:t>" </a:t>
              </a:r>
              <a:r>
                <a:rPr kumimoji="0" lang="en-GB" sz="1600" b="0" i="1" u="none" strike="noStrike" kern="1200" cap="none" spc="0" normalizeH="0" baseline="0" noProof="0" dirty="0">
                  <a:ln>
                    <a:noFill/>
                  </a:ln>
                  <a:solidFill>
                    <a:srgbClr val="FFFFFF"/>
                  </a:solidFill>
                  <a:effectLst/>
                  <a:uLnTx/>
                  <a:uFillTx/>
                  <a:latin typeface="Calibri"/>
                  <a:ea typeface="+mn-ea"/>
                  <a:cs typeface="+mn-cs"/>
                </a:rPr>
                <a:t>processing of Sensitive Data or criminal records</a:t>
              </a:r>
              <a:endParaRPr kumimoji="0" lang="en-GB" sz="1600" b="0" i="0" u="none" strike="noStrike" kern="1200" cap="none" spc="0" normalizeH="0" baseline="0" noProof="0" dirty="0">
                <a:ln>
                  <a:noFill/>
                </a:ln>
                <a:solidFill>
                  <a:srgbClr val="FFFFFF"/>
                </a:solidFill>
                <a:effectLst/>
                <a:uLnTx/>
                <a:uFillTx/>
                <a:latin typeface="Calibri"/>
                <a:ea typeface="+mn-ea"/>
                <a:cs typeface="+mn-cs"/>
              </a:endParaRPr>
            </a:p>
          </p:txBody>
        </p:sp>
        <p:cxnSp>
          <p:nvCxnSpPr>
            <p:cNvPr id="10" name="Straight Arrow Connector 9"/>
            <p:cNvCxnSpPr/>
            <p:nvPr/>
          </p:nvCxnSpPr>
          <p:spPr bwMode="auto">
            <a:xfrm>
              <a:off x="5270326" y="3216874"/>
              <a:ext cx="436572" cy="360040"/>
            </a:xfrm>
            <a:prstGeom prst="straightConnector1">
              <a:avLst/>
            </a:prstGeom>
            <a:solidFill>
              <a:schemeClr val="accent2"/>
            </a:solidFill>
            <a:ln w="9525" cap="flat" cmpd="sng" algn="ctr">
              <a:solidFill>
                <a:schemeClr val="accent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 name="Straight Arrow Connector 10"/>
            <p:cNvCxnSpPr/>
            <p:nvPr/>
          </p:nvCxnSpPr>
          <p:spPr bwMode="auto">
            <a:xfrm flipV="1">
              <a:off x="5270326" y="2350013"/>
              <a:ext cx="436572" cy="360040"/>
            </a:xfrm>
            <a:prstGeom prst="straightConnector1">
              <a:avLst/>
            </a:prstGeom>
            <a:solidFill>
              <a:schemeClr val="accent2"/>
            </a:solidFill>
            <a:ln w="9525" cap="flat" cmpd="sng" algn="ctr">
              <a:solidFill>
                <a:schemeClr val="accent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4172347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6" name="Rectangle 4"/>
          <p:cNvSpPr>
            <a:spLocks noGrp="1" noChangeArrowheads="1"/>
          </p:cNvSpPr>
          <p:nvPr>
            <p:ph type="title"/>
            <p:custDataLst>
              <p:tags r:id="rId2"/>
            </p:custDataLst>
          </p:nvPr>
        </p:nvSpPr>
        <p:spPr>
          <a:xfrm>
            <a:off x="1101948" y="428483"/>
            <a:ext cx="9098508" cy="792510"/>
          </a:xfrm>
        </p:spPr>
        <p:txBody>
          <a:bodyPr/>
          <a:lstStyle/>
          <a:p>
            <a:pPr>
              <a:spcBef>
                <a:spcPts val="0"/>
              </a:spcBef>
              <a:defRPr/>
            </a:pPr>
            <a:r>
              <a:rPr lang="en-GB" sz="2800" spc="-1" dirty="0">
                <a:solidFill>
                  <a:srgbClr val="514843"/>
                </a:solidFill>
                <a:latin typeface="Plantagenet Cherokee"/>
                <a:ea typeface="+mn-ea"/>
                <a:cs typeface="+mn-cs"/>
              </a:rPr>
              <a:t>Increased "Documentation" Obligations</a:t>
            </a:r>
          </a:p>
        </p:txBody>
      </p:sp>
      <p:sp>
        <p:nvSpPr>
          <p:cNvPr id="74757" name="Rectangle 5"/>
          <p:cNvSpPr>
            <a:spLocks noGrp="1" noChangeArrowheads="1"/>
          </p:cNvSpPr>
          <p:nvPr>
            <p:ph type="body" idx="1"/>
            <p:custDataLst>
              <p:tags r:id="rId3"/>
            </p:custDataLst>
          </p:nvPr>
        </p:nvSpPr>
        <p:spPr>
          <a:xfrm>
            <a:off x="1101948" y="1426190"/>
            <a:ext cx="9993682" cy="850681"/>
          </a:xfrm>
        </p:spPr>
        <p:txBody>
          <a:bodyPr/>
          <a:lstStyle/>
          <a:p>
            <a:pPr lvl="1" indent="0">
              <a:buNone/>
            </a:pPr>
            <a:r>
              <a:rPr lang="en-GB" sz="1800" dirty="0"/>
              <a:t>Subject to limited exemptions, data controllers </a:t>
            </a:r>
            <a:r>
              <a:rPr lang="en-GB" sz="1800" b="1" dirty="0"/>
              <a:t>and </a:t>
            </a:r>
            <a:r>
              <a:rPr lang="en-GB" sz="1800" dirty="0"/>
              <a:t>processors must maintain an internal, written </a:t>
            </a:r>
            <a:r>
              <a:rPr lang="en-GB" sz="1800" b="1" dirty="0"/>
              <a:t>record of processing activities</a:t>
            </a:r>
            <a:r>
              <a:rPr lang="en-GB" sz="1800" dirty="0"/>
              <a:t>. This must contain prescribed information and be made available to regulators on request</a:t>
            </a:r>
            <a:r>
              <a:rPr lang="en-GB" sz="1900" dirty="0"/>
              <a:t>.</a:t>
            </a:r>
            <a:endParaRPr lang="en-GB" sz="1900" b="1" dirty="0"/>
          </a:p>
        </p:txBody>
      </p:sp>
      <p:graphicFrame>
        <p:nvGraphicFramePr>
          <p:cNvPr id="2" name="Table 1"/>
          <p:cNvGraphicFramePr>
            <a:graphicFrameLocks noGrp="1"/>
          </p:cNvGraphicFramePr>
          <p:nvPr/>
        </p:nvGraphicFramePr>
        <p:xfrm>
          <a:off x="1112292" y="2420887"/>
          <a:ext cx="9983338" cy="4061799"/>
        </p:xfrm>
        <a:graphic>
          <a:graphicData uri="http://schemas.openxmlformats.org/drawingml/2006/table">
            <a:tbl>
              <a:tblPr firstRow="1" bandRow="1">
                <a:tableStyleId>{5C22544A-7EE6-4342-B048-85BDC9FD1C3A}</a:tableStyleId>
              </a:tblPr>
              <a:tblGrid>
                <a:gridCol w="4991669">
                  <a:extLst>
                    <a:ext uri="{9D8B030D-6E8A-4147-A177-3AD203B41FA5}">
                      <a16:colId xmlns:a16="http://schemas.microsoft.com/office/drawing/2014/main" val="20000"/>
                    </a:ext>
                  </a:extLst>
                </a:gridCol>
                <a:gridCol w="4991669">
                  <a:extLst>
                    <a:ext uri="{9D8B030D-6E8A-4147-A177-3AD203B41FA5}">
                      <a16:colId xmlns:a16="http://schemas.microsoft.com/office/drawing/2014/main" val="20001"/>
                    </a:ext>
                  </a:extLst>
                </a:gridCol>
              </a:tblGrid>
              <a:tr h="414822">
                <a:tc>
                  <a:txBody>
                    <a:bodyPr/>
                    <a:lstStyle/>
                    <a:p>
                      <a:r>
                        <a:rPr lang="en-GB" dirty="0">
                          <a:solidFill>
                            <a:srgbClr val="FFFFFF"/>
                          </a:solidFill>
                        </a:rPr>
                        <a:t>Controllers</a:t>
                      </a:r>
                    </a:p>
                  </a:txBody>
                  <a:tcPr/>
                </a:tc>
                <a:tc>
                  <a:txBody>
                    <a:bodyPr/>
                    <a:lstStyle/>
                    <a:p>
                      <a:r>
                        <a:rPr lang="en-GB" dirty="0">
                          <a:solidFill>
                            <a:srgbClr val="FFFFFF"/>
                          </a:solidFill>
                        </a:rPr>
                        <a:t>Processors</a:t>
                      </a:r>
                    </a:p>
                  </a:txBody>
                  <a:tcPr/>
                </a:tc>
                <a:extLst>
                  <a:ext uri="{0D108BD9-81ED-4DB2-BD59-A6C34878D82A}">
                    <a16:rowId xmlns:a16="http://schemas.microsoft.com/office/drawing/2014/main" val="10000"/>
                  </a:ext>
                </a:extLst>
              </a:tr>
              <a:tr h="553096">
                <a:tc>
                  <a:txBody>
                    <a:bodyPr/>
                    <a:lstStyle/>
                    <a:p>
                      <a:r>
                        <a:rPr lang="en-GB" sz="1300" dirty="0"/>
                        <a:t>Name</a:t>
                      </a:r>
                      <a:r>
                        <a:rPr lang="en-GB" sz="1300" baseline="0" dirty="0"/>
                        <a:t> &amp; contact details (of controller, joint controllers, representatives and any DPO)</a:t>
                      </a:r>
                      <a:endParaRPr lang="en-GB" sz="1300" dirty="0"/>
                    </a:p>
                  </a:txBody>
                  <a:tcPr/>
                </a:tc>
                <a:tc>
                  <a:txBody>
                    <a:bodyPr/>
                    <a:lstStyle/>
                    <a:p>
                      <a:r>
                        <a:rPr lang="en-GB" sz="1300" dirty="0"/>
                        <a:t>Name &amp; contact details (of processor, each relevant</a:t>
                      </a:r>
                      <a:r>
                        <a:rPr lang="en-GB" sz="1300" baseline="0" dirty="0"/>
                        <a:t> controller, their representatives and any DPO)</a:t>
                      </a:r>
                      <a:endParaRPr lang="en-GB" sz="1300" dirty="0"/>
                    </a:p>
                  </a:txBody>
                  <a:tcPr/>
                </a:tc>
                <a:extLst>
                  <a:ext uri="{0D108BD9-81ED-4DB2-BD59-A6C34878D82A}">
                    <a16:rowId xmlns:a16="http://schemas.microsoft.com/office/drawing/2014/main" val="10001"/>
                  </a:ext>
                </a:extLst>
              </a:tr>
              <a:tr h="328401">
                <a:tc>
                  <a:txBody>
                    <a:bodyPr/>
                    <a:lstStyle/>
                    <a:p>
                      <a:r>
                        <a:rPr lang="en-GB" sz="1300" dirty="0"/>
                        <a:t>Purposes of processing</a:t>
                      </a:r>
                    </a:p>
                  </a:txBody>
                  <a:tcPr/>
                </a:tc>
                <a:tc>
                  <a:txBody>
                    <a:bodyPr/>
                    <a:lstStyle/>
                    <a:p>
                      <a:endParaRPr lang="en-GB" sz="1300" dirty="0"/>
                    </a:p>
                  </a:txBody>
                  <a:tcPr/>
                </a:tc>
                <a:extLst>
                  <a:ext uri="{0D108BD9-81ED-4DB2-BD59-A6C34878D82A}">
                    <a16:rowId xmlns:a16="http://schemas.microsoft.com/office/drawing/2014/main" val="10002"/>
                  </a:ext>
                </a:extLst>
              </a:tr>
              <a:tr h="553096">
                <a:tc>
                  <a:txBody>
                    <a:bodyPr/>
                    <a:lstStyle/>
                    <a:p>
                      <a:r>
                        <a:rPr lang="en-GB" sz="1300" baseline="0" dirty="0"/>
                        <a:t>A description of the </a:t>
                      </a:r>
                      <a:r>
                        <a:rPr lang="en-GB" sz="1300" dirty="0"/>
                        <a:t>"categories</a:t>
                      </a:r>
                      <a:r>
                        <a:rPr lang="en-GB" sz="1300" baseline="0" dirty="0"/>
                        <a:t> of data subjects… and personal data" involved</a:t>
                      </a:r>
                      <a:endParaRPr lang="en-GB" sz="13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300" dirty="0"/>
                        <a:t>A description</a:t>
                      </a:r>
                      <a:r>
                        <a:rPr lang="en-GB" sz="1300" baseline="0" dirty="0"/>
                        <a:t> of the </a:t>
                      </a:r>
                      <a:r>
                        <a:rPr lang="en-GB" sz="1300" dirty="0"/>
                        <a:t>"categories of processing" carried</a:t>
                      </a:r>
                      <a:r>
                        <a:rPr lang="en-GB" sz="1300" baseline="0" dirty="0"/>
                        <a:t> out on behalf of each controller</a:t>
                      </a:r>
                      <a:endParaRPr lang="en-GB" sz="1300" dirty="0"/>
                    </a:p>
                  </a:txBody>
                  <a:tcPr/>
                </a:tc>
                <a:extLst>
                  <a:ext uri="{0D108BD9-81ED-4DB2-BD59-A6C34878D82A}">
                    <a16:rowId xmlns:a16="http://schemas.microsoft.com/office/drawing/2014/main" val="10003"/>
                  </a:ext>
                </a:extLst>
              </a:tr>
              <a:tr h="553096">
                <a:tc>
                  <a:txBody>
                    <a:bodyPr/>
                    <a:lstStyle/>
                    <a:p>
                      <a:r>
                        <a:rPr lang="en-GB" sz="1300" dirty="0"/>
                        <a:t>The "categories</a:t>
                      </a:r>
                      <a:r>
                        <a:rPr lang="en-GB" sz="1300" baseline="0" dirty="0"/>
                        <a:t> of recipients" (incl. those in non-EEA countries) who have received/will receive the data</a:t>
                      </a:r>
                      <a:endParaRPr lang="en-GB" sz="1300" dirty="0"/>
                    </a:p>
                  </a:txBody>
                  <a:tcPr/>
                </a:tc>
                <a:tc>
                  <a:txBody>
                    <a:bodyPr/>
                    <a:lstStyle/>
                    <a:p>
                      <a:endParaRPr lang="en-GB" sz="1300"/>
                    </a:p>
                  </a:txBody>
                  <a:tcPr/>
                </a:tc>
                <a:extLst>
                  <a:ext uri="{0D108BD9-81ED-4DB2-BD59-A6C34878D82A}">
                    <a16:rowId xmlns:a16="http://schemas.microsoft.com/office/drawing/2014/main" val="10004"/>
                  </a:ext>
                </a:extLst>
              </a:tr>
              <a:tr h="777791">
                <a:tc>
                  <a:txBody>
                    <a:bodyPr/>
                    <a:lstStyle/>
                    <a:p>
                      <a:r>
                        <a:rPr lang="en-GB" sz="1300" dirty="0"/>
                        <a:t>Information on non-EEA data transfers, including the identification</a:t>
                      </a:r>
                      <a:r>
                        <a:rPr lang="en-GB" sz="1300" baseline="0" dirty="0"/>
                        <a:t> of destination countries and documentation of appropriate safeguards</a:t>
                      </a:r>
                      <a:endParaRPr lang="en-GB" sz="13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300" dirty="0"/>
                        <a:t>Information on non-EEA data transfers, including the identification</a:t>
                      </a:r>
                      <a:r>
                        <a:rPr lang="en-GB" sz="1300" baseline="0" dirty="0"/>
                        <a:t> of destination countries and documentation of appropriate safeguards</a:t>
                      </a:r>
                      <a:endParaRPr lang="en-GB" sz="1300" dirty="0"/>
                    </a:p>
                  </a:txBody>
                  <a:tcPr/>
                </a:tc>
                <a:extLst>
                  <a:ext uri="{0D108BD9-81ED-4DB2-BD59-A6C34878D82A}">
                    <a16:rowId xmlns:a16="http://schemas.microsoft.com/office/drawing/2014/main" val="10005"/>
                  </a:ext>
                </a:extLst>
              </a:tr>
              <a:tr h="328401">
                <a:tc>
                  <a:txBody>
                    <a:bodyPr/>
                    <a:lstStyle/>
                    <a:p>
                      <a:r>
                        <a:rPr lang="en-GB" sz="1300" dirty="0"/>
                        <a:t>Envisaged time limits for erasure of</a:t>
                      </a:r>
                      <a:r>
                        <a:rPr lang="en-GB" sz="1300" baseline="0" dirty="0"/>
                        <a:t> the </a:t>
                      </a:r>
                      <a:r>
                        <a:rPr lang="en-GB" sz="1300" dirty="0"/>
                        <a:t>different data categories</a:t>
                      </a:r>
                    </a:p>
                  </a:txBody>
                  <a:tcPr/>
                </a:tc>
                <a:tc>
                  <a:txBody>
                    <a:bodyPr/>
                    <a:lstStyle/>
                    <a:p>
                      <a:endParaRPr lang="en-GB" sz="1300" dirty="0"/>
                    </a:p>
                  </a:txBody>
                  <a:tcPr/>
                </a:tc>
                <a:extLst>
                  <a:ext uri="{0D108BD9-81ED-4DB2-BD59-A6C34878D82A}">
                    <a16:rowId xmlns:a16="http://schemas.microsoft.com/office/drawing/2014/main" val="10006"/>
                  </a:ext>
                </a:extLst>
              </a:tr>
              <a:tr h="553096">
                <a:tc>
                  <a:txBody>
                    <a:bodyPr/>
                    <a:lstStyle/>
                    <a:p>
                      <a:r>
                        <a:rPr lang="en-GB" sz="1300" dirty="0"/>
                        <a:t>General</a:t>
                      </a:r>
                      <a:r>
                        <a:rPr lang="en-GB" sz="1300" baseline="0" dirty="0"/>
                        <a:t> description of technical and organisational security measures implemented</a:t>
                      </a:r>
                      <a:endParaRPr lang="en-GB" sz="130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300" dirty="0"/>
                        <a:t>General</a:t>
                      </a:r>
                      <a:r>
                        <a:rPr lang="en-GB" sz="1300" baseline="0" dirty="0"/>
                        <a:t> description of technical and organisational security measures implemented</a:t>
                      </a:r>
                      <a:endParaRPr lang="en-GB" sz="1300" dirty="0"/>
                    </a:p>
                  </a:txBody>
                  <a:tcPr/>
                </a:tc>
                <a:extLst>
                  <a:ext uri="{0D108BD9-81ED-4DB2-BD59-A6C34878D82A}">
                    <a16:rowId xmlns:a16="http://schemas.microsoft.com/office/drawing/2014/main" val="10007"/>
                  </a:ext>
                </a:extLst>
              </a:tr>
            </a:tbl>
          </a:graphicData>
        </a:graphic>
      </p:graphicFrame>
    </p:spTree>
    <p:custDataLst>
      <p:tags r:id="rId1"/>
    </p:custDataLst>
    <p:extLst>
      <p:ext uri="{BB962C8B-B14F-4D97-AF65-F5344CB8AC3E}">
        <p14:creationId xmlns:p14="http://schemas.microsoft.com/office/powerpoint/2010/main" val="2630418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a:ea typeface="+mn-ea"/>
                <a:cs typeface="+mn-cs"/>
              </a:rPr>
              <a:t>Page </a:t>
            </a:r>
            <a:fld id="{34DD63DA-3F21-4B4D-81B6-9DEC1CE71C91}" type="slidenum">
              <a:rPr kumimoji="0" lang="en-GB" sz="1800" b="0" i="0" u="none" strike="noStrike" kern="1200" cap="none" spc="0" normalizeH="0" baseline="0" noProof="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7</a:t>
            </a:fld>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Copyright"/>
          <p:cNvSpPr>
            <a:spLocks noGrp="1"/>
          </p:cNvSpPr>
          <p:nvPr>
            <p:ph type="dt" sz="half" idx="12"/>
            <p:custDataLst>
              <p:tags r:id="rId2"/>
            </p:custDataLst>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74756" name="Rectangle 4"/>
          <p:cNvSpPr>
            <a:spLocks noGrp="1" noChangeArrowheads="1"/>
          </p:cNvSpPr>
          <p:nvPr>
            <p:ph type="title"/>
            <p:custDataLst>
              <p:tags r:id="rId3"/>
            </p:custDataLst>
          </p:nvPr>
        </p:nvSpPr>
        <p:spPr/>
        <p:txBody>
          <a:bodyPr/>
          <a:lstStyle/>
          <a:p>
            <a:pPr>
              <a:spcBef>
                <a:spcPts val="0"/>
              </a:spcBef>
              <a:defRPr/>
            </a:pPr>
            <a:r>
              <a:rPr lang="en-GB" sz="2800" spc="-1" dirty="0">
                <a:solidFill>
                  <a:srgbClr val="514843"/>
                </a:solidFill>
                <a:latin typeface="Plantagenet Cherokee"/>
                <a:ea typeface="+mn-ea"/>
                <a:cs typeface="+mn-cs"/>
              </a:rPr>
              <a:t>Data protection impact assessment</a:t>
            </a:r>
          </a:p>
        </p:txBody>
      </p:sp>
      <p:sp>
        <p:nvSpPr>
          <p:cNvPr id="18" name="Rectangle 17"/>
          <p:cNvSpPr/>
          <p:nvPr/>
        </p:nvSpPr>
        <p:spPr>
          <a:xfrm>
            <a:off x="4922291" y="5058456"/>
            <a:ext cx="2102144" cy="1629613"/>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pic>
        <p:nvPicPr>
          <p:cNvPr id="2" name="Picture 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000099" y="1052736"/>
            <a:ext cx="7704856" cy="5343350"/>
          </a:xfrm>
          <a:prstGeom prst="rect">
            <a:avLst/>
          </a:prstGeom>
        </p:spPr>
      </p:pic>
    </p:spTree>
    <p:custDataLst>
      <p:tags r:id="rId1"/>
    </p:custDataLst>
    <p:extLst>
      <p:ext uri="{BB962C8B-B14F-4D97-AF65-F5344CB8AC3E}">
        <p14:creationId xmlns:p14="http://schemas.microsoft.com/office/powerpoint/2010/main" val="852822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a:ea typeface="+mn-ea"/>
                <a:cs typeface="+mn-cs"/>
              </a:rPr>
              <a:t>Page </a:t>
            </a:r>
            <a:fld id="{34DD63DA-3F21-4B4D-81B6-9DEC1CE71C91}" type="slidenum">
              <a:rPr kumimoji="0" lang="en-GB" sz="1800" b="0" i="0" u="none" strike="noStrike" kern="1200" cap="none" spc="0" normalizeH="0" baseline="0" noProof="0">
                <a:ln>
                  <a:noFill/>
                </a:ln>
                <a:solidFill>
                  <a:prstClr val="black"/>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8</a:t>
            </a:fld>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Copyright"/>
          <p:cNvSpPr>
            <a:spLocks noGrp="1"/>
          </p:cNvSpPr>
          <p:nvPr>
            <p:ph type="dt" sz="half" idx="12"/>
            <p:custDataLst>
              <p:tags r:id="rId2"/>
            </p:custDataLst>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74756" name="Rectangle 4"/>
          <p:cNvSpPr>
            <a:spLocks noGrp="1" noChangeArrowheads="1"/>
          </p:cNvSpPr>
          <p:nvPr>
            <p:ph type="title"/>
            <p:custDataLst>
              <p:tags r:id="rId3"/>
            </p:custDataLst>
          </p:nvPr>
        </p:nvSpPr>
        <p:spPr/>
        <p:txBody>
          <a:bodyPr/>
          <a:lstStyle/>
          <a:p>
            <a:pPr>
              <a:spcBef>
                <a:spcPts val="0"/>
              </a:spcBef>
              <a:defRPr/>
            </a:pPr>
            <a:r>
              <a:rPr lang="en-GB" sz="2800" spc="-1" dirty="0">
                <a:solidFill>
                  <a:srgbClr val="514843"/>
                </a:solidFill>
                <a:latin typeface="Plantagenet Cherokee"/>
                <a:ea typeface="+mn-ea"/>
                <a:cs typeface="+mn-cs"/>
              </a:rPr>
              <a:t>Privacy threshold analysis</a:t>
            </a:r>
          </a:p>
        </p:txBody>
      </p:sp>
      <p:sp>
        <p:nvSpPr>
          <p:cNvPr id="18" name="Rectangle 17"/>
          <p:cNvSpPr/>
          <p:nvPr/>
        </p:nvSpPr>
        <p:spPr>
          <a:xfrm>
            <a:off x="4922291" y="5058456"/>
            <a:ext cx="2102144" cy="1629613"/>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991544" y="1124744"/>
            <a:ext cx="7812360" cy="4709032"/>
          </a:xfrm>
          <a:prstGeom prst="rect">
            <a:avLst/>
          </a:prstGeom>
        </p:spPr>
      </p:pic>
    </p:spTree>
    <p:custDataLst>
      <p:tags r:id="rId1"/>
    </p:custDataLst>
    <p:extLst>
      <p:ext uri="{BB962C8B-B14F-4D97-AF65-F5344CB8AC3E}">
        <p14:creationId xmlns:p14="http://schemas.microsoft.com/office/powerpoint/2010/main" val="999978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22731-7899-47F1-B07A-20E3DF21005E}"/>
              </a:ext>
            </a:extLst>
          </p:cNvPr>
          <p:cNvSpPr>
            <a:spLocks noGrp="1"/>
          </p:cNvSpPr>
          <p:nvPr>
            <p:ph type="ctrTitle"/>
          </p:nvPr>
        </p:nvSpPr>
        <p:spPr/>
        <p:txBody>
          <a:bodyPr/>
          <a:lstStyle/>
          <a:p>
            <a:r>
              <a:rPr lang="de-DE" dirty="0" err="1"/>
              <a:t>Pressure</a:t>
            </a:r>
            <a:r>
              <a:rPr lang="de-DE" dirty="0"/>
              <a:t>/Information </a:t>
            </a:r>
            <a:endParaRPr lang="fi-FI" dirty="0"/>
          </a:p>
        </p:txBody>
      </p:sp>
      <p:sp>
        <p:nvSpPr>
          <p:cNvPr id="3" name="Subtitle 2">
            <a:extLst>
              <a:ext uri="{FF2B5EF4-FFF2-40B4-BE49-F238E27FC236}">
                <a16:creationId xmlns:a16="http://schemas.microsoft.com/office/drawing/2014/main" id="{7456A475-821C-42AD-97CD-1F778A05B7E4}"/>
              </a:ext>
            </a:extLst>
          </p:cNvPr>
          <p:cNvSpPr>
            <a:spLocks noGrp="1"/>
          </p:cNvSpPr>
          <p:nvPr>
            <p:ph type="subTitle" idx="1"/>
          </p:nvPr>
        </p:nvSpPr>
        <p:spPr/>
        <p:txBody>
          <a:bodyPr/>
          <a:lstStyle/>
          <a:p>
            <a:endParaRPr lang="fi-FI"/>
          </a:p>
        </p:txBody>
      </p:sp>
      <p:sp>
        <p:nvSpPr>
          <p:cNvPr id="4" name="Footer Placeholder 3">
            <a:extLst>
              <a:ext uri="{FF2B5EF4-FFF2-40B4-BE49-F238E27FC236}">
                <a16:creationId xmlns:a16="http://schemas.microsoft.com/office/drawing/2014/main" id="{8216D25A-BB3B-4CA3-86B9-E96770B719AA}"/>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14843">
                  <a:lumMod val="20000"/>
                  <a:lumOff val="80000"/>
                </a:srgbClr>
              </a:solidFill>
              <a:effectLst/>
              <a:uLnTx/>
              <a:uFillTx/>
              <a:latin typeface="Euphemia"/>
              <a:ea typeface="+mn-ea"/>
              <a:cs typeface="+mn-cs"/>
            </a:endParaRPr>
          </a:p>
        </p:txBody>
      </p:sp>
    </p:spTree>
    <p:extLst>
      <p:ext uri="{BB962C8B-B14F-4D97-AF65-F5344CB8AC3E}">
        <p14:creationId xmlns:p14="http://schemas.microsoft.com/office/powerpoint/2010/main" val="4253107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5BB5B-8B39-464C-880E-1D6386029CE2}"/>
              </a:ext>
            </a:extLst>
          </p:cNvPr>
          <p:cNvSpPr>
            <a:spLocks noGrp="1"/>
          </p:cNvSpPr>
          <p:nvPr>
            <p:ph type="ctrTitle"/>
          </p:nvPr>
        </p:nvSpPr>
        <p:spPr/>
        <p:txBody>
          <a:bodyPr/>
          <a:lstStyle/>
          <a:p>
            <a:r>
              <a:rPr lang="en-FI" dirty="0">
                <a:latin typeface="Plantagenet Cherokee" panose="02020602070100000000" pitchFamily="18" charset="0"/>
              </a:rPr>
              <a:t>Activity</a:t>
            </a:r>
            <a:endParaRPr lang="de-DE" dirty="0">
              <a:latin typeface="Plantagenet Cherokee" panose="02020602070100000000" pitchFamily="18" charset="0"/>
            </a:endParaRPr>
          </a:p>
        </p:txBody>
      </p:sp>
      <p:sp>
        <p:nvSpPr>
          <p:cNvPr id="3" name="Subtitle 2">
            <a:extLst>
              <a:ext uri="{FF2B5EF4-FFF2-40B4-BE49-F238E27FC236}">
                <a16:creationId xmlns:a16="http://schemas.microsoft.com/office/drawing/2014/main" id="{ADC3CE5F-85D7-4A57-A231-6DC5D62503A4}"/>
              </a:ext>
            </a:extLst>
          </p:cNvPr>
          <p:cNvSpPr>
            <a:spLocks noGrp="1"/>
          </p:cNvSpPr>
          <p:nvPr>
            <p:ph type="subTitle" idx="1"/>
          </p:nvPr>
        </p:nvSpPr>
        <p:spPr/>
        <p:txBody>
          <a:bodyPr/>
          <a:lstStyle/>
          <a:p>
            <a:endParaRPr lang="de-DE" dirty="0"/>
          </a:p>
        </p:txBody>
      </p:sp>
      <p:pic>
        <p:nvPicPr>
          <p:cNvPr id="6" name="Picture Placeholder 5" descr="A picture containing cellphone, phone, fireworks, animal&#10;&#10;Description automatically generated">
            <a:extLst>
              <a:ext uri="{FF2B5EF4-FFF2-40B4-BE49-F238E27FC236}">
                <a16:creationId xmlns:a16="http://schemas.microsoft.com/office/drawing/2014/main" id="{A540DDEF-7072-4914-A160-7D65DB8D6B22}"/>
              </a:ext>
            </a:extLst>
          </p:cNvPr>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l="3574" r="3574"/>
          <a:stretch>
            <a:fillRect/>
          </a:stretch>
        </p:blipFill>
        <p:spPr/>
      </p:pic>
    </p:spTree>
    <p:extLst>
      <p:ext uri="{BB962C8B-B14F-4D97-AF65-F5344CB8AC3E}">
        <p14:creationId xmlns:p14="http://schemas.microsoft.com/office/powerpoint/2010/main" val="3339803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4D77FB4-EBBA-4918-BD49-824AEED46896}"/>
              </a:ext>
            </a:extLst>
          </p:cNvPr>
          <p:cNvSpPr>
            <a:spLocks noGrp="1"/>
          </p:cNvSpPr>
          <p:nvPr>
            <p:ph type="title"/>
          </p:nvPr>
        </p:nvSpPr>
        <p:spPr>
          <a:xfrm>
            <a:off x="1104900" y="76200"/>
            <a:ext cx="9980682" cy="1096962"/>
          </a:xfrm>
        </p:spPr>
        <p:txBody>
          <a:bodyPr anchor="b">
            <a:normAutofit/>
          </a:bodyPr>
          <a:lstStyle/>
          <a:p>
            <a:r>
              <a:rPr lang="en-FI" sz="3000" dirty="0"/>
              <a:t>Al</a:t>
            </a:r>
            <a:r>
              <a:rPr lang="de-DE" sz="3000" dirty="0"/>
              <a:t>so</a:t>
            </a:r>
            <a:r>
              <a:rPr lang="en-FI" sz="3000" dirty="0"/>
              <a:t> in other areas (governance access), watch dogs play an important role. </a:t>
            </a:r>
            <a:r>
              <a:rPr lang="en-FI" sz="3000" dirty="0">
                <a:hlinkClick r:id="rId3"/>
              </a:rPr>
              <a:t>Electronic Frontier Foundation</a:t>
            </a:r>
            <a:endParaRPr lang="de-DE" sz="3000" dirty="0"/>
          </a:p>
        </p:txBody>
      </p:sp>
      <p:graphicFrame>
        <p:nvGraphicFramePr>
          <p:cNvPr id="16" name="Diagram 15">
            <a:extLst>
              <a:ext uri="{FF2B5EF4-FFF2-40B4-BE49-F238E27FC236}">
                <a16:creationId xmlns:a16="http://schemas.microsoft.com/office/drawing/2014/main" id="{F561EB30-7DF1-4C10-B228-38450D2F132C}"/>
              </a:ext>
            </a:extLst>
          </p:cNvPr>
          <p:cNvGraphicFramePr/>
          <p:nvPr/>
        </p:nvGraphicFramePr>
        <p:xfrm>
          <a:off x="1104899" y="1600199"/>
          <a:ext cx="10045322" cy="505990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8" name="Footer Placeholder 4">
            <a:extLst>
              <a:ext uri="{FF2B5EF4-FFF2-40B4-BE49-F238E27FC236}">
                <a16:creationId xmlns:a16="http://schemas.microsoft.com/office/drawing/2014/main" id="{5A901701-AC83-4362-9D55-BD86978205A4}"/>
              </a:ext>
            </a:extLst>
          </p:cNvPr>
          <p:cNvSpPr>
            <a:spLocks noGrp="1"/>
          </p:cNvSpPr>
          <p:nvPr>
            <p:ph type="ftr" sz="quarter" idx="11"/>
          </p:nvPr>
        </p:nvSpPr>
        <p:spPr>
          <a:xfrm>
            <a:off x="2934459" y="6356350"/>
            <a:ext cx="6323082" cy="365126"/>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514843">
                  <a:lumMod val="75000"/>
                </a:srgbClr>
              </a:solidFill>
              <a:effectLst/>
              <a:uLnTx/>
              <a:uFillTx/>
              <a:latin typeface="Euphemia"/>
              <a:ea typeface="+mn-ea"/>
              <a:cs typeface="+mn-cs"/>
            </a:endParaRPr>
          </a:p>
        </p:txBody>
      </p:sp>
    </p:spTree>
    <p:extLst>
      <p:ext uri="{BB962C8B-B14F-4D97-AF65-F5344CB8AC3E}">
        <p14:creationId xmlns:p14="http://schemas.microsoft.com/office/powerpoint/2010/main" val="3906061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274E8F-F7C7-4330-8D12-1238418CF710}"/>
              </a:ext>
            </a:extLst>
          </p:cNvPr>
          <p:cNvSpPr>
            <a:spLocks noGrp="1"/>
          </p:cNvSpPr>
          <p:nvPr>
            <p:ph type="ctrTitle"/>
          </p:nvPr>
        </p:nvSpPr>
        <p:spPr/>
        <p:txBody>
          <a:bodyPr>
            <a:normAutofit/>
          </a:bodyPr>
          <a:lstStyle/>
          <a:p>
            <a:pPr>
              <a:spcBef>
                <a:spcPts val="0"/>
              </a:spcBef>
              <a:defRPr/>
            </a:pPr>
            <a:r>
              <a:rPr lang="de-DE" sz="4000" spc="-1" dirty="0">
                <a:solidFill>
                  <a:srgbClr val="514843"/>
                </a:solidFill>
                <a:latin typeface="Plantagenet Cherokee"/>
                <a:ea typeface="+mn-ea"/>
                <a:cs typeface="+mn-cs"/>
              </a:rPr>
              <a:t>Any </a:t>
            </a:r>
            <a:r>
              <a:rPr lang="de-DE" sz="4000" spc="-1" dirty="0" err="1">
                <a:solidFill>
                  <a:srgbClr val="514843"/>
                </a:solidFill>
                <a:latin typeface="Plantagenet Cherokee"/>
                <a:ea typeface="+mn-ea"/>
                <a:cs typeface="+mn-cs"/>
              </a:rPr>
              <a:t>questions</a:t>
            </a:r>
            <a:r>
              <a:rPr lang="de-DE" sz="4000" spc="-1" dirty="0">
                <a:solidFill>
                  <a:srgbClr val="514843"/>
                </a:solidFill>
                <a:latin typeface="Plantagenet Cherokee"/>
                <a:ea typeface="+mn-ea"/>
                <a:cs typeface="+mn-cs"/>
              </a:rPr>
              <a:t>?</a:t>
            </a:r>
          </a:p>
        </p:txBody>
      </p:sp>
      <p:pic>
        <p:nvPicPr>
          <p:cNvPr id="6" name="Picture Placeholder 5" descr="Quizzical burrowing owl looking forward">
            <a:extLst>
              <a:ext uri="{FF2B5EF4-FFF2-40B4-BE49-F238E27FC236}">
                <a16:creationId xmlns:a16="http://schemas.microsoft.com/office/drawing/2014/main" id="{1BB293F8-3BC9-47C0-ABE2-F69E00BE06C4}"/>
              </a:ext>
            </a:extLst>
          </p:cNvPr>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l="6990" r="6990"/>
          <a:stretch>
            <a:fillRect/>
          </a:stretch>
        </p:blipFill>
        <p:spPr/>
      </p:pic>
    </p:spTree>
    <p:extLst>
      <p:ext uri="{BB962C8B-B14F-4D97-AF65-F5344CB8AC3E}">
        <p14:creationId xmlns:p14="http://schemas.microsoft.com/office/powerpoint/2010/main" val="1510302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35BB5B-8B39-464C-880E-1D6386029CE2}"/>
              </a:ext>
            </a:extLst>
          </p:cNvPr>
          <p:cNvSpPr>
            <a:spLocks noGrp="1"/>
          </p:cNvSpPr>
          <p:nvPr>
            <p:ph type="ctrTitle"/>
          </p:nvPr>
        </p:nvSpPr>
        <p:spPr/>
        <p:txBody>
          <a:bodyPr/>
          <a:lstStyle/>
          <a:p>
            <a:r>
              <a:rPr lang="en-FI" dirty="0">
                <a:latin typeface="Plantagenet Cherokee" panose="02020602070100000000" pitchFamily="18" charset="0"/>
              </a:rPr>
              <a:t>Activity</a:t>
            </a:r>
            <a:endParaRPr lang="de-DE" dirty="0">
              <a:latin typeface="Plantagenet Cherokee" panose="02020602070100000000" pitchFamily="18" charset="0"/>
            </a:endParaRPr>
          </a:p>
        </p:txBody>
      </p:sp>
      <p:sp>
        <p:nvSpPr>
          <p:cNvPr id="3" name="Subtitle 2">
            <a:extLst>
              <a:ext uri="{FF2B5EF4-FFF2-40B4-BE49-F238E27FC236}">
                <a16:creationId xmlns:a16="http://schemas.microsoft.com/office/drawing/2014/main" id="{ADC3CE5F-85D7-4A57-A231-6DC5D62503A4}"/>
              </a:ext>
            </a:extLst>
          </p:cNvPr>
          <p:cNvSpPr>
            <a:spLocks noGrp="1"/>
          </p:cNvSpPr>
          <p:nvPr>
            <p:ph type="subTitle" idx="1"/>
          </p:nvPr>
        </p:nvSpPr>
        <p:spPr/>
        <p:txBody>
          <a:bodyPr/>
          <a:lstStyle/>
          <a:p>
            <a:endParaRPr lang="de-DE" dirty="0"/>
          </a:p>
        </p:txBody>
      </p:sp>
      <p:pic>
        <p:nvPicPr>
          <p:cNvPr id="6" name="Picture Placeholder 5" descr="A picture containing cellphone, phone, fireworks, animal&#10;&#10;Description automatically generated">
            <a:extLst>
              <a:ext uri="{FF2B5EF4-FFF2-40B4-BE49-F238E27FC236}">
                <a16:creationId xmlns:a16="http://schemas.microsoft.com/office/drawing/2014/main" id="{A540DDEF-7072-4914-A160-7D65DB8D6B22}"/>
              </a:ext>
            </a:extLst>
          </p:cNvPr>
          <p:cNvPicPr>
            <a:picLocks noGrp="1" noChangeAspect="1"/>
          </p:cNvPicPr>
          <p:nvPr>
            <p:ph type="pic" sz="quarter" idx="13"/>
          </p:nvPr>
        </p:nvPicPr>
        <p:blipFill>
          <a:blip r:embed="rId2" cstate="print">
            <a:extLst>
              <a:ext uri="{28A0092B-C50C-407E-A947-70E740481C1C}">
                <a14:useLocalDpi xmlns:a14="http://schemas.microsoft.com/office/drawing/2010/main" val="0"/>
              </a:ext>
            </a:extLst>
          </a:blip>
          <a:srcRect l="3574" r="3574"/>
          <a:stretch>
            <a:fillRect/>
          </a:stretch>
        </p:blipFill>
        <p:spPr/>
      </p:pic>
    </p:spTree>
    <p:extLst>
      <p:ext uri="{BB962C8B-B14F-4D97-AF65-F5344CB8AC3E}">
        <p14:creationId xmlns:p14="http://schemas.microsoft.com/office/powerpoint/2010/main" val="1159345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465AC4-7278-496B-B889-3289A1E0573D}"/>
              </a:ext>
            </a:extLst>
          </p:cNvPr>
          <p:cNvSpPr>
            <a:spLocks noGrp="1"/>
          </p:cNvSpPr>
          <p:nvPr>
            <p:ph type="title"/>
          </p:nvPr>
        </p:nvSpPr>
        <p:spPr/>
        <p:txBody>
          <a:bodyPr/>
          <a:lstStyle/>
          <a:p>
            <a:r>
              <a:rPr lang="de-DE" dirty="0"/>
              <a:t>Discussion	</a:t>
            </a:r>
          </a:p>
        </p:txBody>
      </p:sp>
      <p:sp>
        <p:nvSpPr>
          <p:cNvPr id="3" name="Content Placeholder 2">
            <a:extLst>
              <a:ext uri="{FF2B5EF4-FFF2-40B4-BE49-F238E27FC236}">
                <a16:creationId xmlns:a16="http://schemas.microsoft.com/office/drawing/2014/main" id="{80D3B353-1DA5-4BDA-8195-173D1BBEA398}"/>
              </a:ext>
            </a:extLst>
          </p:cNvPr>
          <p:cNvSpPr>
            <a:spLocks noGrp="1"/>
          </p:cNvSpPr>
          <p:nvPr>
            <p:ph idx="1"/>
          </p:nvPr>
        </p:nvSpPr>
        <p:spPr/>
        <p:txBody>
          <a:bodyPr>
            <a:normAutofit/>
          </a:bodyPr>
          <a:lstStyle/>
          <a:p>
            <a:pPr marL="0" indent="0">
              <a:buNone/>
            </a:pPr>
            <a:r>
              <a:rPr lang="de-DE" dirty="0" err="1"/>
              <a:t>Îs</a:t>
            </a:r>
            <a:r>
              <a:rPr lang="de-DE" dirty="0"/>
              <a:t> all this </a:t>
            </a:r>
            <a:r>
              <a:rPr lang="de-DE" dirty="0" err="1"/>
              <a:t>worth</a:t>
            </a:r>
            <a:r>
              <a:rPr lang="de-DE" dirty="0"/>
              <a:t> the </a:t>
            </a:r>
            <a:r>
              <a:rPr lang="de-DE" dirty="0" err="1"/>
              <a:t>win</a:t>
            </a:r>
            <a:r>
              <a:rPr lang="de-DE" dirty="0"/>
              <a:t>?</a:t>
            </a:r>
          </a:p>
          <a:p>
            <a:pPr marL="0" indent="0">
              <a:buNone/>
            </a:pPr>
            <a:r>
              <a:rPr lang="de-DE" dirty="0"/>
              <a:t>Is DP </a:t>
            </a:r>
            <a:r>
              <a:rPr lang="de-DE" dirty="0" err="1"/>
              <a:t>overrated</a:t>
            </a:r>
            <a:r>
              <a:rPr lang="de-DE" dirty="0"/>
              <a:t>?</a:t>
            </a:r>
          </a:p>
          <a:p>
            <a:pPr marL="0" indent="0">
              <a:buNone/>
            </a:pPr>
            <a:r>
              <a:rPr lang="de-DE" dirty="0"/>
              <a:t>Do we have the right enforcement </a:t>
            </a:r>
            <a:r>
              <a:rPr lang="de-DE" dirty="0" err="1"/>
              <a:t>framework</a:t>
            </a:r>
            <a:r>
              <a:rPr lang="de-DE"/>
              <a:t>?</a:t>
            </a:r>
            <a:endParaRPr lang="en-FI" dirty="0"/>
          </a:p>
          <a:p>
            <a:endParaRPr lang="de-DE" dirty="0"/>
          </a:p>
        </p:txBody>
      </p:sp>
      <p:sp>
        <p:nvSpPr>
          <p:cNvPr id="4" name="Footer Placeholder 3">
            <a:extLst>
              <a:ext uri="{FF2B5EF4-FFF2-40B4-BE49-F238E27FC236}">
                <a16:creationId xmlns:a16="http://schemas.microsoft.com/office/drawing/2014/main" id="{BCF19AAD-F69E-49C1-B396-CB841BF4EF19}"/>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514843">
                  <a:lumMod val="75000"/>
                </a:srgbClr>
              </a:solidFill>
              <a:effectLst/>
              <a:uLnTx/>
              <a:uFillTx/>
              <a:latin typeface="Euphemia"/>
              <a:ea typeface="+mn-ea"/>
              <a:cs typeface="+mn-cs"/>
            </a:endParaRPr>
          </a:p>
        </p:txBody>
      </p:sp>
    </p:spTree>
    <p:extLst>
      <p:ext uri="{BB962C8B-B14F-4D97-AF65-F5344CB8AC3E}">
        <p14:creationId xmlns:p14="http://schemas.microsoft.com/office/powerpoint/2010/main" val="850307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465AC4-7278-496B-B889-3289A1E0573D}"/>
              </a:ext>
            </a:extLst>
          </p:cNvPr>
          <p:cNvSpPr>
            <a:spLocks noGrp="1"/>
          </p:cNvSpPr>
          <p:nvPr>
            <p:ph type="title"/>
          </p:nvPr>
        </p:nvSpPr>
        <p:spPr/>
        <p:txBody>
          <a:bodyPr/>
          <a:lstStyle/>
          <a:p>
            <a:r>
              <a:rPr lang="en-FI" dirty="0"/>
              <a:t>You will be split into groups and either argue Position A or B</a:t>
            </a:r>
            <a:endParaRPr lang="de-DE" dirty="0"/>
          </a:p>
        </p:txBody>
      </p:sp>
      <p:sp>
        <p:nvSpPr>
          <p:cNvPr id="3" name="Content Placeholder 2">
            <a:extLst>
              <a:ext uri="{FF2B5EF4-FFF2-40B4-BE49-F238E27FC236}">
                <a16:creationId xmlns:a16="http://schemas.microsoft.com/office/drawing/2014/main" id="{80D3B353-1DA5-4BDA-8195-173D1BBEA398}"/>
              </a:ext>
            </a:extLst>
          </p:cNvPr>
          <p:cNvSpPr>
            <a:spLocks noGrp="1"/>
          </p:cNvSpPr>
          <p:nvPr>
            <p:ph idx="1"/>
          </p:nvPr>
        </p:nvSpPr>
        <p:spPr/>
        <p:txBody>
          <a:bodyPr>
            <a:normAutofit lnSpcReduction="10000"/>
          </a:bodyPr>
          <a:lstStyle/>
          <a:p>
            <a:pPr marL="0" indent="0">
              <a:buNone/>
            </a:pPr>
            <a:r>
              <a:rPr lang="de-DE" dirty="0"/>
              <a:t>Read this: </a:t>
            </a:r>
            <a:r>
              <a:rPr lang="de-DE" dirty="0">
                <a:hlinkClick r:id="rId2"/>
              </a:rPr>
              <a:t>https://edpb.europa.eu/our-work-tools/our-documents/other-guidance/overview-resources-made-available-member-states-data_en</a:t>
            </a:r>
            <a:r>
              <a:rPr lang="de-DE" dirty="0"/>
              <a:t> </a:t>
            </a:r>
          </a:p>
          <a:p>
            <a:r>
              <a:rPr lang="en-FI" dirty="0"/>
              <a:t>POSITION A : The F</a:t>
            </a:r>
            <a:r>
              <a:rPr lang="de-DE" dirty="0"/>
              <a:t>i</a:t>
            </a:r>
            <a:r>
              <a:rPr lang="en-FI" dirty="0" err="1"/>
              <a:t>nnish</a:t>
            </a:r>
            <a:r>
              <a:rPr lang="en-FI" dirty="0"/>
              <a:t> DPA does not have enough resources compared to other European </a:t>
            </a:r>
            <a:r>
              <a:rPr lang="en-FI" dirty="0" err="1"/>
              <a:t>DPAs</a:t>
            </a:r>
            <a:endParaRPr lang="en-FI" dirty="0"/>
          </a:p>
          <a:p>
            <a:r>
              <a:rPr lang="en-FI" dirty="0"/>
              <a:t>POSITION B: The F</a:t>
            </a:r>
            <a:r>
              <a:rPr lang="de-DE" dirty="0"/>
              <a:t>i</a:t>
            </a:r>
            <a:r>
              <a:rPr lang="en-FI" dirty="0" err="1"/>
              <a:t>nnish</a:t>
            </a:r>
            <a:r>
              <a:rPr lang="en-FI" dirty="0"/>
              <a:t> DPA has enough resources compared to other European </a:t>
            </a:r>
            <a:r>
              <a:rPr lang="en-FI" dirty="0" err="1"/>
              <a:t>DPAs</a:t>
            </a:r>
            <a:endParaRPr lang="en-FI" dirty="0"/>
          </a:p>
          <a:p>
            <a:r>
              <a:rPr lang="en-FI" dirty="0"/>
              <a:t>Instructions/Modalities </a:t>
            </a:r>
          </a:p>
          <a:p>
            <a:pPr lvl="1"/>
            <a:r>
              <a:rPr lang="en-FI" dirty="0"/>
              <a:t>Think about both the actual resources, and what is achieved with those resources. You might want to split within the group to find the data quickly that supports your position. </a:t>
            </a:r>
          </a:p>
          <a:p>
            <a:pPr lvl="1"/>
            <a:r>
              <a:rPr lang="en-FI" dirty="0"/>
              <a:t>Feel free to compare with other similar/dissimilar states and think about population numbers and enforcement culture. You can use information outside the mandatory reading. </a:t>
            </a:r>
          </a:p>
          <a:p>
            <a:pPr lvl="1"/>
            <a:r>
              <a:rPr lang="en-FI" dirty="0"/>
              <a:t>You will have 15 min to prepare.</a:t>
            </a:r>
          </a:p>
          <a:p>
            <a:pPr lvl="1"/>
            <a:r>
              <a:rPr lang="en-FI" dirty="0"/>
              <a:t>Position A will start with 3 min. You should mention 3 different points </a:t>
            </a:r>
          </a:p>
          <a:p>
            <a:pPr lvl="1"/>
            <a:r>
              <a:rPr lang="en-FI" dirty="0"/>
              <a:t>Position B will make their own points and also react to Position A. (1 min)</a:t>
            </a:r>
          </a:p>
          <a:p>
            <a:endParaRPr lang="de-DE" dirty="0"/>
          </a:p>
        </p:txBody>
      </p:sp>
      <p:sp>
        <p:nvSpPr>
          <p:cNvPr id="4" name="Footer Placeholder 3">
            <a:extLst>
              <a:ext uri="{FF2B5EF4-FFF2-40B4-BE49-F238E27FC236}">
                <a16:creationId xmlns:a16="http://schemas.microsoft.com/office/drawing/2014/main" id="{BCF19AAD-F69E-49C1-B396-CB841BF4EF19}"/>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514843">
                  <a:lumMod val="75000"/>
                </a:srgbClr>
              </a:solidFill>
              <a:effectLst/>
              <a:uLnTx/>
              <a:uFillTx/>
              <a:latin typeface="Euphemia"/>
              <a:ea typeface="+mn-ea"/>
              <a:cs typeface="+mn-cs"/>
            </a:endParaRPr>
          </a:p>
        </p:txBody>
      </p:sp>
    </p:spTree>
    <p:extLst>
      <p:ext uri="{BB962C8B-B14F-4D97-AF65-F5344CB8AC3E}">
        <p14:creationId xmlns:p14="http://schemas.microsoft.com/office/powerpoint/2010/main" val="3788943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FCE97D-4888-43FA-8752-ABE0C1F72344}"/>
              </a:ext>
            </a:extLst>
          </p:cNvPr>
          <p:cNvSpPr>
            <a:spLocks noGrp="1"/>
          </p:cNvSpPr>
          <p:nvPr>
            <p:ph type="title"/>
          </p:nvPr>
        </p:nvSpPr>
        <p:spPr/>
        <p:txBody>
          <a:bodyPr/>
          <a:lstStyle/>
          <a:p>
            <a:r>
              <a:rPr lang="de-DE" dirty="0"/>
              <a:t>Let's turn the </a:t>
            </a:r>
            <a:r>
              <a:rPr lang="de-DE" dirty="0" err="1"/>
              <a:t>tables</a:t>
            </a:r>
            <a:r>
              <a:rPr lang="de-DE" dirty="0"/>
              <a:t> </a:t>
            </a:r>
            <a:endParaRPr lang="fi-FI" dirty="0"/>
          </a:p>
        </p:txBody>
      </p:sp>
      <p:sp>
        <p:nvSpPr>
          <p:cNvPr id="3" name="Content Placeholder 2">
            <a:extLst>
              <a:ext uri="{FF2B5EF4-FFF2-40B4-BE49-F238E27FC236}">
                <a16:creationId xmlns:a16="http://schemas.microsoft.com/office/drawing/2014/main" id="{C9BD7138-5750-4529-8ADF-B596A75F29EB}"/>
              </a:ext>
            </a:extLst>
          </p:cNvPr>
          <p:cNvSpPr>
            <a:spLocks noGrp="1"/>
          </p:cNvSpPr>
          <p:nvPr>
            <p:ph idx="1"/>
          </p:nvPr>
        </p:nvSpPr>
        <p:spPr>
          <a:xfrm>
            <a:off x="1104900" y="1625367"/>
            <a:ext cx="9982200" cy="4572000"/>
          </a:xfrm>
        </p:spPr>
        <p:txBody>
          <a:bodyPr/>
          <a:lstStyle/>
          <a:p>
            <a:pPr marL="0" indent="0">
              <a:buNone/>
            </a:pPr>
            <a:r>
              <a:rPr lang="de-DE" dirty="0"/>
              <a:t>You have 5 min.</a:t>
            </a:r>
          </a:p>
          <a:p>
            <a:pPr marL="0" indent="0">
              <a:buNone/>
            </a:pPr>
            <a:r>
              <a:rPr lang="de-DE" dirty="0"/>
              <a:t>Come up with 3 questions about last </a:t>
            </a:r>
            <a:r>
              <a:rPr lang="de-DE" dirty="0" err="1"/>
              <a:t>lecture</a:t>
            </a:r>
            <a:r>
              <a:rPr lang="de-DE" dirty="0"/>
              <a:t>- </a:t>
            </a:r>
            <a:r>
              <a:rPr lang="de-DE" dirty="0" err="1"/>
              <a:t>put</a:t>
            </a:r>
            <a:r>
              <a:rPr lang="de-DE" dirty="0"/>
              <a:t> those on a </a:t>
            </a:r>
            <a:r>
              <a:rPr lang="de-DE" dirty="0" err="1"/>
              <a:t>piece</a:t>
            </a:r>
            <a:r>
              <a:rPr lang="de-DE" dirty="0"/>
              <a:t> of </a:t>
            </a:r>
            <a:r>
              <a:rPr lang="de-DE" dirty="0" err="1"/>
              <a:t>paper</a:t>
            </a:r>
            <a:r>
              <a:rPr lang="de-DE" dirty="0"/>
              <a:t> and we will collect them. </a:t>
            </a:r>
          </a:p>
        </p:txBody>
      </p:sp>
      <p:sp>
        <p:nvSpPr>
          <p:cNvPr id="4" name="Footer Placeholder 3">
            <a:extLst>
              <a:ext uri="{FF2B5EF4-FFF2-40B4-BE49-F238E27FC236}">
                <a16:creationId xmlns:a16="http://schemas.microsoft.com/office/drawing/2014/main" id="{5E03820E-ABDD-4B10-ADF6-006AD31605D8}"/>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200" b="0" i="0" u="none" strike="noStrike" kern="1200" cap="none" spc="0" normalizeH="0" baseline="0" noProof="0" dirty="0">
              <a:ln>
                <a:noFill/>
              </a:ln>
              <a:solidFill>
                <a:srgbClr val="514843">
                  <a:lumMod val="75000"/>
                </a:srgbClr>
              </a:solidFill>
              <a:effectLst/>
              <a:uLnTx/>
              <a:uFillTx/>
              <a:latin typeface="Euphemia"/>
              <a:ea typeface="+mn-ea"/>
              <a:cs typeface="+mn-cs"/>
            </a:endParaRPr>
          </a:p>
        </p:txBody>
      </p:sp>
    </p:spTree>
    <p:extLst>
      <p:ext uri="{BB962C8B-B14F-4D97-AF65-F5344CB8AC3E}">
        <p14:creationId xmlns:p14="http://schemas.microsoft.com/office/powerpoint/2010/main" val="186405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415A65-1116-4E1A-BBED-A05988161B93}"/>
              </a:ext>
            </a:extLst>
          </p:cNvPr>
          <p:cNvSpPr>
            <a:spLocks noGrp="1"/>
          </p:cNvSpPr>
          <p:nvPr>
            <p:ph type="ctrTitle"/>
          </p:nvPr>
        </p:nvSpPr>
        <p:spPr/>
        <p:txBody>
          <a:bodyPr>
            <a:normAutofit/>
          </a:bodyPr>
          <a:lstStyle/>
          <a:p>
            <a:r>
              <a:rPr lang="de-DE" dirty="0"/>
              <a:t>Introduction to Enforcement</a:t>
            </a:r>
          </a:p>
        </p:txBody>
      </p:sp>
      <p:sp>
        <p:nvSpPr>
          <p:cNvPr id="5" name="Subtitle 4">
            <a:extLst>
              <a:ext uri="{FF2B5EF4-FFF2-40B4-BE49-F238E27FC236}">
                <a16:creationId xmlns:a16="http://schemas.microsoft.com/office/drawing/2014/main" id="{9B64AFF7-D9E0-4B40-AB9B-56F43D6A4EB9}"/>
              </a:ext>
            </a:extLst>
          </p:cNvPr>
          <p:cNvSpPr>
            <a:spLocks noGrp="1"/>
          </p:cNvSpPr>
          <p:nvPr>
            <p:ph type="subTitle" idx="1"/>
          </p:nvPr>
        </p:nvSpPr>
        <p:spPr/>
        <p:txBody>
          <a:bodyPr/>
          <a:lstStyle/>
          <a:p>
            <a:endParaRPr lang="fi-FI"/>
          </a:p>
        </p:txBody>
      </p:sp>
      <p:sp>
        <p:nvSpPr>
          <p:cNvPr id="4" name="Footer Placeholder 3">
            <a:extLst>
              <a:ext uri="{FF2B5EF4-FFF2-40B4-BE49-F238E27FC236}">
                <a16:creationId xmlns:a16="http://schemas.microsoft.com/office/drawing/2014/main" id="{DC576A0E-B185-4FC6-8724-24E6CD89AAB9}"/>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a:ln>
                <a:noFill/>
              </a:ln>
              <a:solidFill>
                <a:srgbClr val="514843">
                  <a:lumMod val="20000"/>
                  <a:lumOff val="80000"/>
                </a:srgbClr>
              </a:solidFill>
              <a:effectLst/>
              <a:uLnTx/>
              <a:uFillTx/>
              <a:latin typeface="Euphemia"/>
              <a:ea typeface="+mn-ea"/>
              <a:cs typeface="+mn-cs"/>
            </a:endParaRPr>
          </a:p>
        </p:txBody>
      </p:sp>
    </p:spTree>
    <p:extLst>
      <p:ext uri="{BB962C8B-B14F-4D97-AF65-F5344CB8AC3E}">
        <p14:creationId xmlns:p14="http://schemas.microsoft.com/office/powerpoint/2010/main" val="3596704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E770AF7-466D-4D4E-B23F-E64D223B69D4}"/>
              </a:ext>
            </a:extLst>
          </p:cNvPr>
          <p:cNvPicPr>
            <a:picLocks noChangeAspect="1"/>
          </p:cNvPicPr>
          <p:nvPr/>
        </p:nvPicPr>
        <p:blipFill>
          <a:blip r:embed="rId2"/>
          <a:stretch>
            <a:fillRect/>
          </a:stretch>
        </p:blipFill>
        <p:spPr>
          <a:xfrm>
            <a:off x="735164" y="447334"/>
            <a:ext cx="9985965" cy="5890339"/>
          </a:xfrm>
          <a:prstGeom prst="rect">
            <a:avLst/>
          </a:prstGeom>
        </p:spPr>
      </p:pic>
    </p:spTree>
    <p:extLst>
      <p:ext uri="{BB962C8B-B14F-4D97-AF65-F5344CB8AC3E}">
        <p14:creationId xmlns:p14="http://schemas.microsoft.com/office/powerpoint/2010/main" val="566384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UBAQEBAQEBAQEBAQEBAQIAAAAAAAAAAwAAAAMAAAAA/////wQASwwAAAAAAAAAAAAAIAD///////////////8AAAD///////////////8DAAAAAgD///////////////////////////////////////////////////////////////////////////////////////////////////////////////////////////////////////////////////////////////////////////////////////////////////////////////////////////////////////////////////////////////////////////////////////////////////////////////////////////////////////////////////////////////////////////////////////////////////////////////////////////////////////////////////////////////////////////////////////////////////////////////8BACAA////////////////AAAO////////AwAAAAMA////////////////////////////////////////////////////////////////////////////////////////////////////////////////////////////////////////////////////////////////////////////////////////////////////////////////////////////////////////////////////////////////////////////////////////////////////////////////////////////////////////////////////////////////////////////////////////////////////////////////////////////////////////////////////////////////////////////////////////////////////////////////////////AgABAP///////wQAAAACABAACxXR5USMIo1Bkrn54xwseHwFAAAAAAADAAAAAAADAAAAAwADAAEA////////BAAAAAMAEAALGnb+YUqVWkeVCLpFWmp14w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OQLAAAAAAAAAAAAACAB////////////////AAAA////////////////BAAAAAMA////////BAAAAAMA////////BAAAAAMA////////BAAAAAIA////////BAAAAAIA////////////////////////////////////////////////////////////////////////////////////////////////////////////////////////////////////////////////////////////////////////////////////////////////////////////////////////////////////////////////////////////////////////////////////////////////////////////////////////////////////////////////////////////////////////////////////////////////////////////////////////////////////////////////AQAgAf///////////////wAADv///////wQAAAACAP///////////////////////////////////////////////////////////////////////////////////////////////////////////////////////////////////////////////////////////////////////////////////////////////////////////////////////////////////////////////////////////////////////////////////////////////////////////////////////////////////////////////////////////////////////////////////////////////////////////////////////////////////////////////////////////////////////////////////////////////////////////////////////wIABQEDAAAAAgD///////8aAAZMaW5rZWRTaGFwZXNEYXRhUHJvcGVydHlfMAUAAAAAAAQAAAADAAQAAAABAAQAAAADAP///////wQAAAADAP///////wQAAAAAAP///////wQAAAAAAP///////wMAAwEDAAAAAwD///////8lAAZMaW5rZWRTaGFwZVByZXNlbnRhdGlvblNldHRpbmdzRGF0YV8wBQAAAAE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BXR5USMIo1Bkrn54xwseHwDRGF0YQAbAAAABExpbmtlZFNoYXBlRGF0YQAFAAAAAAACTmFtZQAZAAAATGlua2VkU2hhcGVzRGF0YVByb3BlcnR5ABBWZXJzaW9uAAAAAAAJTGFzdFdyaXRlACn7zwJ8AQAAAAEA/////50AnQAAAAVfaWQAEAAAAAQadv5hSpVaR5UIukVaanXjA0RhdGEAKgAAAAhQcmVzZW50YXRpb25TY2FubmVkRm9yTGlua2VkU2hhcGVzAAEAAk5hbWUAJAAAAExpbmtlZFNoYXBlUHJlc2VudGF0aW9uU2V0dGluZ3NEYXRhABBWZXJzaW9uAAAAAAAJTGFzdFdyaXRlAGr7zwJ8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 name="TITLESLIDEIMAGE" val="False"/>
  <p:tag name="TITLESLIDEIMAGEOPTION" val="1"/>
  <p:tag name="SLIDEDATE" val="10 lokakuu 2022"/>
  <p:tag name="SLIDENUMBER" val="False"/>
  <p:tag name="SLIDECOPYRIGHT" val="© Bird &amp; Bird LLP"/>
  <p:tag name="ACCOLADESINCLUDED" val="False"/>
  <p:tag name="ACCOLADENUMBER" val=" 0"/>
  <p:tag name="TWOBIRDSOFFICES" val="True"/>
  <p:tag name="DISCLAIMERLANGUAGE" val="Chinese"/>
  <p:tag name="COLOURTHEME" val="Blue"/>
  <p:tag name="TWOBIRDSLOGO" val="Standard"/>
  <p:tag name="TWOBIRDSVALID" val="True"/>
</p:tagLst>
</file>

<file path=ppt/tags/tag10.xml><?xml version="1.0" encoding="utf-8"?>
<p:tagLst xmlns:a="http://schemas.openxmlformats.org/drawingml/2006/main" xmlns:r="http://schemas.openxmlformats.org/officeDocument/2006/relationships" xmlns:p="http://schemas.openxmlformats.org/presentationml/2006/main">
  <p:tag name="BB_DELETETEXT" val="YES"/>
</p:tagLst>
</file>

<file path=ppt/tags/tag2.xml><?xml version="1.0" encoding="utf-8"?>
<p:tagLst xmlns:a="http://schemas.openxmlformats.org/drawingml/2006/main" xmlns:r="http://schemas.openxmlformats.org/officeDocument/2006/relationships" xmlns:p="http://schemas.openxmlformats.org/presentationml/2006/main">
  <p:tag name="BB_DIALOGNAME" val="Large text"/>
  <p:tag name="BB_SHORTNAME" val=""/>
  <p:tag name="BB_ASSOCIATEDSLIDES" val=""/>
  <p:tag name="BB_INNEWPRESENTATION" val="NO"/>
  <p:tag name="BB_ONINSERTSLIDEDLG" val="YES"/>
</p:tagLst>
</file>

<file path=ppt/tags/tag3.xml><?xml version="1.0" encoding="utf-8"?>
<p:tagLst xmlns:a="http://schemas.openxmlformats.org/drawingml/2006/main" xmlns:r="http://schemas.openxmlformats.org/officeDocument/2006/relationships" xmlns:p="http://schemas.openxmlformats.org/presentationml/2006/main">
  <p:tag name="BB_DELETETEXT" val="YES"/>
</p:tagLst>
</file>

<file path=ppt/tags/tag4.xml><?xml version="1.0" encoding="utf-8"?>
<p:tagLst xmlns:a="http://schemas.openxmlformats.org/drawingml/2006/main" xmlns:r="http://schemas.openxmlformats.org/officeDocument/2006/relationships" xmlns:p="http://schemas.openxmlformats.org/presentationml/2006/main">
  <p:tag name="BB_DELETETEXT" val="YES"/>
</p:tagLst>
</file>

<file path=ppt/tags/tag5.xml><?xml version="1.0" encoding="utf-8"?>
<p:tagLst xmlns:a="http://schemas.openxmlformats.org/drawingml/2006/main" xmlns:r="http://schemas.openxmlformats.org/officeDocument/2006/relationships" xmlns:p="http://schemas.openxmlformats.org/presentationml/2006/main">
  <p:tag name="BB_DIALOGNAME" val="Large text"/>
  <p:tag name="BB_SHORTNAME" val=""/>
  <p:tag name="BB_ASSOCIATEDSLIDES" val=""/>
  <p:tag name="BB_INNEWPRESENTATION" val="NO"/>
  <p:tag name="BB_ONINSERTSLIDEDLG" val="YES"/>
</p:tagLst>
</file>

<file path=ppt/tags/tag6.xml><?xml version="1.0" encoding="utf-8"?>
<p:tagLst xmlns:a="http://schemas.openxmlformats.org/drawingml/2006/main" xmlns:r="http://schemas.openxmlformats.org/officeDocument/2006/relationships" xmlns:p="http://schemas.openxmlformats.org/presentationml/2006/main">
  <p:tag name="BB_FOOTER" val="Copyright"/>
</p:tagLst>
</file>

<file path=ppt/tags/tag7.xml><?xml version="1.0" encoding="utf-8"?>
<p:tagLst xmlns:a="http://schemas.openxmlformats.org/drawingml/2006/main" xmlns:r="http://schemas.openxmlformats.org/officeDocument/2006/relationships" xmlns:p="http://schemas.openxmlformats.org/presentationml/2006/main">
  <p:tag name="BB_DELETETEXT" val="YES"/>
</p:tagLst>
</file>

<file path=ppt/tags/tag8.xml><?xml version="1.0" encoding="utf-8"?>
<p:tagLst xmlns:a="http://schemas.openxmlformats.org/drawingml/2006/main" xmlns:r="http://schemas.openxmlformats.org/officeDocument/2006/relationships" xmlns:p="http://schemas.openxmlformats.org/presentationml/2006/main">
  <p:tag name="BB_DIALOGNAME" val="Large text"/>
  <p:tag name="BB_SHORTNAME" val=""/>
  <p:tag name="BB_ASSOCIATEDSLIDES" val=""/>
  <p:tag name="BB_INNEWPRESENTATION" val="NO"/>
  <p:tag name="BB_ONINSERTSLIDEDLG" val="YES"/>
</p:tagLst>
</file>

<file path=ppt/tags/tag9.xml><?xml version="1.0" encoding="utf-8"?>
<p:tagLst xmlns:a="http://schemas.openxmlformats.org/drawingml/2006/main" xmlns:r="http://schemas.openxmlformats.org/officeDocument/2006/relationships" xmlns:p="http://schemas.openxmlformats.org/presentationml/2006/main">
  <p:tag name="BB_FOOTER" val="Copyright"/>
</p:tagLst>
</file>

<file path=ppt/theme/theme1.xml><?xml version="1.0" encoding="utf-8"?>
<a:theme xmlns:a="http://schemas.openxmlformats.org/drawingml/2006/main" name="Bird &amp; Bird - 16x9">
  <a:themeElements>
    <a:clrScheme name="Bird &amp; Bird - Blue">
      <a:dk1>
        <a:srgbClr val="323E48"/>
      </a:dk1>
      <a:lt1>
        <a:sysClr val="window" lastClr="FFFFFF"/>
      </a:lt1>
      <a:dk2>
        <a:srgbClr val="005C82"/>
      </a:dk2>
      <a:lt2>
        <a:srgbClr val="E4E4E4"/>
      </a:lt2>
      <a:accent1>
        <a:srgbClr val="85ABE3"/>
      </a:accent1>
      <a:accent2>
        <a:srgbClr val="9EDED4"/>
      </a:accent2>
      <a:accent3>
        <a:srgbClr val="D19EC7"/>
      </a:accent3>
      <a:accent4>
        <a:srgbClr val="FFE84C"/>
      </a:accent4>
      <a:accent5>
        <a:srgbClr val="EDC2B2"/>
      </a:accent5>
      <a:accent6>
        <a:srgbClr val="FFA169"/>
      </a:accent6>
      <a:hlink>
        <a:srgbClr val="005C82"/>
      </a:hlink>
      <a:folHlink>
        <a:srgbClr val="323E48"/>
      </a:folHlink>
    </a:clrScheme>
    <a:fontScheme name="Bird &amp; Bird">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108000" tIns="72000" rIns="108000" bIns="72000" rtlCol="0" anchor="ctr"/>
      <a:lstStyle>
        <a:defPPr algn="ctr">
          <a:defRPr sz="14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defRPr dirty="0" err="1" smtClean="0"/>
        </a:defPPr>
      </a:lstStyle>
    </a:txDef>
  </a:objectDefaults>
  <a:extraClrSchemeLst>
    <a:extraClrScheme>
      <a:clrScheme name="Bird &amp; Bird - Blue">
        <a:dk1>
          <a:srgbClr val="323E48"/>
        </a:dk1>
        <a:lt1>
          <a:sysClr val="window" lastClr="FFFFFF"/>
        </a:lt1>
        <a:dk2>
          <a:srgbClr val="005C82"/>
        </a:dk2>
        <a:lt2>
          <a:srgbClr val="E4E4E4"/>
        </a:lt2>
        <a:accent1>
          <a:srgbClr val="85ABE3"/>
        </a:accent1>
        <a:accent2>
          <a:srgbClr val="9EDED4"/>
        </a:accent2>
        <a:accent3>
          <a:srgbClr val="D19EC7"/>
        </a:accent3>
        <a:accent4>
          <a:srgbClr val="FFE84C"/>
        </a:accent4>
        <a:accent5>
          <a:srgbClr val="EDC2B2"/>
        </a:accent5>
        <a:accent6>
          <a:srgbClr val="FFA169"/>
        </a:accent6>
        <a:hlink>
          <a:srgbClr val="005C82"/>
        </a:hlink>
        <a:folHlink>
          <a:srgbClr val="323E48"/>
        </a:folHlink>
      </a:clrScheme>
    </a:extraClrScheme>
    <a:extraClrScheme>
      <a:clrScheme name="Bird &amp; Bird - Green">
        <a:dk1>
          <a:srgbClr val="323E48"/>
        </a:dk1>
        <a:lt1>
          <a:sysClr val="window" lastClr="FFFFFF"/>
        </a:lt1>
        <a:dk2>
          <a:srgbClr val="477529"/>
        </a:dk2>
        <a:lt2>
          <a:srgbClr val="E4E4E4"/>
        </a:lt2>
        <a:accent1>
          <a:srgbClr val="BFDE8A"/>
        </a:accent1>
        <a:accent2>
          <a:srgbClr val="FFE84C"/>
        </a:accent2>
        <a:accent3>
          <a:srgbClr val="85ABE3"/>
        </a:accent3>
        <a:accent4>
          <a:srgbClr val="FFA169"/>
        </a:accent4>
        <a:accent5>
          <a:srgbClr val="9EDED4"/>
        </a:accent5>
        <a:accent6>
          <a:srgbClr val="D19EC7"/>
        </a:accent6>
        <a:hlink>
          <a:srgbClr val="477529"/>
        </a:hlink>
        <a:folHlink>
          <a:srgbClr val="323E48"/>
        </a:folHlink>
      </a:clrScheme>
    </a:extraClrScheme>
    <a:extraClrScheme>
      <a:clrScheme name="Bird &amp; Bird - Pink">
        <a:dk1>
          <a:srgbClr val="323E48"/>
        </a:dk1>
        <a:lt1>
          <a:sysClr val="window" lastClr="FFFFFF"/>
        </a:lt1>
        <a:dk2>
          <a:srgbClr val="CC3666"/>
        </a:dk2>
        <a:lt2>
          <a:srgbClr val="E4E4E4"/>
        </a:lt2>
        <a:accent1>
          <a:srgbClr val="FFB0BA"/>
        </a:accent1>
        <a:accent2>
          <a:srgbClr val="D19EC7"/>
        </a:accent2>
        <a:accent3>
          <a:srgbClr val="FFA169"/>
        </a:accent3>
        <a:accent4>
          <a:srgbClr val="85ABE3"/>
        </a:accent4>
        <a:accent5>
          <a:srgbClr val="EDC2B2"/>
        </a:accent5>
        <a:accent6>
          <a:srgbClr val="FFE84C"/>
        </a:accent6>
        <a:hlink>
          <a:srgbClr val="CC3666"/>
        </a:hlink>
        <a:folHlink>
          <a:srgbClr val="323E48"/>
        </a:folHlink>
      </a:clrScheme>
    </a:extraClrScheme>
    <a:extraClrScheme>
      <a:clrScheme name="Bird &amp; Bird - Purple">
        <a:dk1>
          <a:srgbClr val="323E48"/>
        </a:dk1>
        <a:lt1>
          <a:sysClr val="window" lastClr="FFFFFF"/>
        </a:lt1>
        <a:dk2>
          <a:srgbClr val="5C265C"/>
        </a:dk2>
        <a:lt2>
          <a:srgbClr val="E4E4E4"/>
        </a:lt2>
        <a:accent1>
          <a:srgbClr val="D19EC7"/>
        </a:accent1>
        <a:accent2>
          <a:srgbClr val="FFA169"/>
        </a:accent2>
        <a:accent3>
          <a:srgbClr val="FFE84C"/>
        </a:accent3>
        <a:accent4>
          <a:srgbClr val="FFB0BA"/>
        </a:accent4>
        <a:accent5>
          <a:srgbClr val="BFDE8A"/>
        </a:accent5>
        <a:accent6>
          <a:srgbClr val="85ABE3"/>
        </a:accent6>
        <a:hlink>
          <a:srgbClr val="5C265C"/>
        </a:hlink>
        <a:folHlink>
          <a:srgbClr val="323E48"/>
        </a:folHlink>
      </a:clrScheme>
    </a:extraClrScheme>
  </a:extraClrSchemeLst>
  <a:custClrLst>
    <a:custClr name="Lime">
      <a:srgbClr val="C0DF8A"/>
    </a:custClr>
    <a:custClr name="Teal">
      <a:srgbClr val="9FDDD3"/>
    </a:custClr>
    <a:custClr name="Pink">
      <a:srgbClr val="FFB1BA"/>
    </a:custClr>
    <a:custClr name="Lilac">
      <a:srgbClr val="D09EC8"/>
    </a:custClr>
    <a:custClr name="Yellow">
      <a:srgbClr val="FFE84D"/>
    </a:custClr>
    <a:custClr name="Blue">
      <a:srgbClr val="84AAE4"/>
    </a:custClr>
    <a:custClr name="Orange">
      <a:srgbClr val="FFA069"/>
    </a:custClr>
    <a:custClr name="Sand">
      <a:srgbClr val="EDC2B2"/>
    </a:custClr>
    <a:custClr name=" ">
      <a:srgbClr val="FFFFFF"/>
    </a:custClr>
    <a:custClr name=" ">
      <a:srgbClr val="FFFFFF"/>
    </a:custClr>
    <a:custClr name="Lime 80%">
      <a:srgbClr val="CDE5A1"/>
    </a:custClr>
    <a:custClr name="Teal 80%">
      <a:srgbClr val="B2E4DC"/>
    </a:custClr>
    <a:custClr name="Pink 80%">
      <a:srgbClr val="FFC1C8"/>
    </a:custClr>
    <a:custClr name="Lilac 80%">
      <a:srgbClr val="D9B1D3"/>
    </a:custClr>
    <a:custClr name="Yellow 80%">
      <a:srgbClr val="FFED71"/>
    </a:custClr>
    <a:custClr name="Blue 80%">
      <a:srgbClr val="9DBBE9"/>
    </a:custClr>
    <a:custClr name="Orange 80%">
      <a:srgbClr val="FFB387"/>
    </a:custClr>
    <a:custClr name="Sand 80%">
      <a:srgbClr val="F1CEC1"/>
    </a:custClr>
    <a:custClr name=" ">
      <a:srgbClr val="FFFFFF"/>
    </a:custClr>
    <a:custClr name=" ">
      <a:srgbClr val="FFFFFF"/>
    </a:custClr>
    <a:custClr name="Lime 50%">
      <a:srgbClr val="E0EFC5"/>
    </a:custClr>
    <a:custClr name="Teal 50%">
      <a:srgbClr val="CFEEE9"/>
    </a:custClr>
    <a:custClr name="Pink 50%">
      <a:srgbClr val="FFD8DD"/>
    </a:custClr>
    <a:custClr name="Lilac 50%">
      <a:srgbClr val="E8CFE4"/>
    </a:custClr>
    <a:custClr name="Yellow 50%">
      <a:srgbClr val="FFF4A6"/>
    </a:custClr>
    <a:custClr name="Blue 50%">
      <a:srgbClr val="C2D5F2"/>
    </a:custClr>
    <a:custClr name="Orange 50%">
      <a:srgbClr val="FFD0B4"/>
    </a:custClr>
    <a:custClr name="Sand 50%">
      <a:srgbClr val="F6E1D9"/>
    </a:custClr>
    <a:custClr name=" ">
      <a:srgbClr val="FFFFFF"/>
    </a:custClr>
    <a:custClr name=" ">
      <a:srgbClr val="FFFFFF"/>
    </a:custClr>
    <a:custClr name="Lime 30%">
      <a:srgbClr val="ECF5DC"/>
    </a:custClr>
    <a:custClr name="Teal 30%">
      <a:srgbClr val="E2F5F2"/>
    </a:custClr>
    <a:custClr name="Pink 30%">
      <a:srgbClr val="FFE8EA"/>
    </a:custClr>
    <a:custClr name="Lilac 30%">
      <a:srgbClr val="F1E2EF"/>
    </a:custClr>
    <a:custClr name="Yellow 30%">
      <a:srgbClr val="FFF8CA"/>
    </a:custClr>
    <a:custClr name="Blue 30%">
      <a:srgbClr val="DAE6F7"/>
    </a:custClr>
    <a:custClr name="Orange 30%">
      <a:srgbClr val="FFE3D2"/>
    </a:custClr>
    <a:custClr name="Sand 30%">
      <a:srgbClr val="FAEDE8"/>
    </a:custClr>
    <a:custClr name=" ">
      <a:srgbClr val="FFFFFF"/>
    </a:custClr>
    <a:custClr name=" ">
      <a:srgbClr val="FFFFFF"/>
    </a:custClr>
    <a:custClr name="Secondary Dark Green">
      <a:srgbClr val="477628"/>
    </a:custClr>
    <a:custClr name="Secondary Dark Blue">
      <a:srgbClr val="005C83"/>
    </a:custClr>
    <a:custClr name="Secondary Dark Purple">
      <a:srgbClr val="5B255D"/>
    </a:custClr>
    <a:custClr name="Secondary Dark Pink">
      <a:srgbClr val="CB3665"/>
    </a:custClr>
  </a:custClrLst>
  <a:extLst>
    <a:ext uri="{05A4C25C-085E-4340-85A3-A5531E510DB2}">
      <thm15:themeFamily xmlns:thm15="http://schemas.microsoft.com/office/thememl/2012/main" name="Our Brand - 16x9 template.potx" id="{B529E14C-4340-4235-B10E-B1092BB43406}" vid="{E131E02B-1C93-43F0-B208-4F449FF11814}"/>
    </a:ext>
  </a:extLst>
</a:theme>
</file>

<file path=ppt/theme/theme2.xml><?xml version="1.0" encoding="utf-8"?>
<a:theme xmlns:a="http://schemas.openxmlformats.org/drawingml/2006/main" name="Academic Literature 16x9">
  <a:themeElements>
    <a:clrScheme name="Academic Literature">
      <a:dk1>
        <a:srgbClr val="514843"/>
      </a:dk1>
      <a:lt1>
        <a:srgbClr val="FFFFFF"/>
      </a:lt1>
      <a:dk2>
        <a:srgbClr val="000000"/>
      </a:dk2>
      <a:lt2>
        <a:srgbClr val="FFFFF3"/>
      </a:lt2>
      <a:accent1>
        <a:srgbClr val="514843"/>
      </a:accent1>
      <a:accent2>
        <a:srgbClr val="6D7D66"/>
      </a:accent2>
      <a:accent3>
        <a:srgbClr val="525A6A"/>
      </a:accent3>
      <a:accent4>
        <a:srgbClr val="827266"/>
      </a:accent4>
      <a:accent5>
        <a:srgbClr val="AE9A7E"/>
      </a:accent5>
      <a:accent6>
        <a:srgbClr val="A8A39E"/>
      </a:accent6>
      <a:hlink>
        <a:srgbClr val="59704F"/>
      </a:hlink>
      <a:folHlink>
        <a:srgbClr val="A8A39E"/>
      </a:folHlink>
    </a:clrScheme>
    <a:fontScheme name="Plantagenet Cherokee-Euphemia">
      <a:majorFont>
        <a:latin typeface="Plantagenet Cherokee"/>
        <a:ea typeface=""/>
        <a:cs typeface=""/>
      </a:majorFont>
      <a:minorFont>
        <a:latin typeface="Euphemia"/>
        <a:ea typeface=""/>
        <a:cs typeface=""/>
      </a:minorFont>
    </a:fontScheme>
    <a:fmtScheme name="AcademicLiterature">
      <a:fillStyleLst>
        <a:solidFill>
          <a:schemeClr val="phClr"/>
        </a:solidFill>
        <a:gradFill rotWithShape="1">
          <a:gsLst>
            <a:gs pos="0">
              <a:schemeClr val="phClr">
                <a:tint val="58000"/>
                <a:satMod val="300000"/>
              </a:schemeClr>
            </a:gs>
            <a:gs pos="100000">
              <a:schemeClr val="phClr">
                <a:tint val="68000"/>
                <a:satMod val="300000"/>
              </a:schemeClr>
            </a:gs>
          </a:gsLst>
          <a:path path="rect">
            <a:fillToRect l="50000" t="50000" r="50000" b="50000"/>
          </a:path>
        </a:gradFill>
        <a:gradFill rotWithShape="1">
          <a:gsLst>
            <a:gs pos="0">
              <a:schemeClr val="phClr">
                <a:shade val="100000"/>
                <a:satMod val="137000"/>
              </a:schemeClr>
            </a:gs>
            <a:gs pos="71000">
              <a:schemeClr val="phClr">
                <a:shade val="98000"/>
                <a:satMod val="137000"/>
              </a:schemeClr>
            </a:gs>
            <a:gs pos="100000">
              <a:schemeClr val="phClr">
                <a:shade val="75000"/>
                <a:satMod val="137000"/>
              </a:schemeClr>
            </a:gs>
          </a:gsLst>
          <a:path path="rect">
            <a:fillToRect l="50000" t="50000" r="50000" b="50000"/>
          </a:path>
        </a:gradFill>
      </a:fillStyleLst>
      <a:lnStyleLst>
        <a:ln w="6350" cap="rnd" cmpd="sng" algn="ctr">
          <a:solidFill>
            <a:schemeClr val="phClr">
              <a:shade val="95000"/>
              <a:satMod val="105000"/>
            </a:schemeClr>
          </a:solidFill>
          <a:prstDash val="solid"/>
        </a:ln>
        <a:ln w="48000" cap="flat" cmpd="thickThin" algn="ctr">
          <a:solidFill>
            <a:schemeClr val="phClr"/>
          </a:solidFill>
          <a:prstDash val="solid"/>
        </a:ln>
        <a:ln w="48500" cap="flat" cmpd="thickThin" algn="ctr">
          <a:solidFill>
            <a:schemeClr val="phClr"/>
          </a:solidFill>
          <a:prstDash val="solid"/>
        </a:ln>
      </a:lnStyleLst>
      <a:effectStyleLst>
        <a:effectStyle>
          <a:effectLst>
            <a:outerShdw blurRad="45000" dist="25000" dir="5400000" rotWithShape="0">
              <a:srgbClr val="000000">
                <a:alpha val="38000"/>
              </a:srgbClr>
            </a:outerShdw>
          </a:effectLst>
        </a:effectStyle>
        <a:effectStyle>
          <a:effectLst>
            <a:outerShdw blurRad="39000" dist="25400" dir="5400000" rotWithShape="0">
              <a:srgbClr val="000000">
                <a:alpha val="38000"/>
              </a:srgbClr>
            </a:outerShdw>
          </a:effectLst>
        </a:effectStyle>
        <a:effectStyle>
          <a:effectLst>
            <a:outerShdw blurRad="39000" dist="25400" dir="5400000" rotWithShape="0">
              <a:srgbClr val="000000">
                <a:alpha val="38000"/>
              </a:srgbClr>
            </a:outerShdw>
          </a:effectLst>
          <a:scene3d>
            <a:camera prst="orthographicFront">
              <a:rot lat="0" lon="0" rev="0"/>
            </a:camera>
            <a:lightRig rig="threePt" dir="t">
              <a:rot lat="0" lon="0" rev="1800000"/>
            </a:lightRig>
          </a:scene3d>
          <a:sp3d prstMaterial="matte">
            <a:bevelT h="20000"/>
          </a:sp3d>
        </a:effectStyle>
      </a:effectStyleLst>
      <a:bgFillStyleLst>
        <a:solidFill>
          <a:schemeClr val="phClr"/>
        </a:solidFill>
        <a:gradFill rotWithShape="1">
          <a:gsLst>
            <a:gs pos="0">
              <a:schemeClr val="phClr">
                <a:tint val="80000"/>
                <a:satMod val="300000"/>
              </a:schemeClr>
            </a:gs>
            <a:gs pos="100000">
              <a:schemeClr val="phClr">
                <a:shade val="90000"/>
                <a:alpha val="80000"/>
                <a:satMod val="200000"/>
              </a:schemeClr>
            </a:gs>
          </a:gsLst>
          <a:path path="rect">
            <a:fillToRect l="20000" t="20000" r="20000" b="20000"/>
          </a:path>
        </a:gradFill>
        <a:gradFill rotWithShape="1">
          <a:gsLst>
            <a:gs pos="0">
              <a:schemeClr val="phClr">
                <a:tint val="80000"/>
                <a:satMod val="300000"/>
              </a:schemeClr>
            </a:gs>
            <a:gs pos="100000">
              <a:schemeClr val="phClr">
                <a:shade val="90000"/>
                <a:alpha val="80000"/>
                <a:satMod val="200000"/>
              </a:schemeClr>
            </a:gs>
          </a:gsLst>
          <a:path path="rect">
            <a:fillToRect l="5000" t="5000" r="5000" b="5000"/>
          </a:path>
        </a:gradFill>
      </a:bgFillStyleLst>
    </a:fmtScheme>
  </a:themeElements>
  <a:objectDefaults>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TF03431380.potx" id="{B573BD99-E105-4D2A-964B-B901A176567A}" vid="{B1D363B9-18DE-4874-9E2B-FD69B5C6548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5D18E754D399F47815B5731EFB7C9E7" ma:contentTypeVersion="15" ma:contentTypeDescription="Create a new document." ma:contentTypeScope="" ma:versionID="67ab5e2c3b70ddc7254d3120b8837971">
  <xsd:schema xmlns:xsd="http://www.w3.org/2001/XMLSchema" xmlns:xs="http://www.w3.org/2001/XMLSchema" xmlns:p="http://schemas.microsoft.com/office/2006/metadata/properties" xmlns:ns1="http://schemas.microsoft.com/sharepoint/v3" xmlns:ns2="e139d09a-41d9-45b5-98a0-2e84292a6e2c" xmlns:ns3="a98157ff-b017-4921-8ad2-a7dd8004cc35" targetNamespace="http://schemas.microsoft.com/office/2006/metadata/properties" ma:root="true" ma:fieldsID="b583f095682e950bc8561491ae59fa51" ns1:_="" ns2:_="" ns3:_="">
    <xsd:import namespace="http://schemas.microsoft.com/sharepoint/v3"/>
    <xsd:import namespace="e139d09a-41d9-45b5-98a0-2e84292a6e2c"/>
    <xsd:import namespace="a98157ff-b017-4921-8ad2-a7dd8004cc3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OCR" minOccurs="0"/>
                <xsd:element ref="ns2:MediaServiceLocation" minOccurs="0"/>
                <xsd:element ref="ns2:MediaServiceAutoKeyPoints" minOccurs="0"/>
                <xsd:element ref="ns2:MediaServiceKeyPoints" minOccurs="0"/>
                <xsd:element ref="ns3:SharedWithUsers" minOccurs="0"/>
                <xsd:element ref="ns3:SharedWithDetails" minOccurs="0"/>
                <xsd:element ref="ns2:MediaLengthInSecond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1" nillable="true" ma:displayName="Unified Compliance Policy Properties" ma:hidden="true" ma:internalName="_ip_UnifiedCompliancePolicyProperties">
      <xsd:simpleType>
        <xsd:restriction base="dms:Note"/>
      </xsd:simpleType>
    </xsd:element>
    <xsd:element name="_ip_UnifiedCompliancePolicyUIAction" ma:index="22"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139d09a-41d9-45b5-98a0-2e84292a6e2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a98157ff-b017-4921-8ad2-a7dd8004cc35"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7DD9CF9-8FFE-42E6-A34E-F2A385143CE7}">
  <ds:schemaRefs>
    <ds:schemaRef ds:uri="http://purl.org/dc/elements/1.1/"/>
    <ds:schemaRef ds:uri="http://schemas.microsoft.com/office/2006/metadata/properties"/>
    <ds:schemaRef ds:uri="http://schemas.openxmlformats.org/package/2006/metadata/core-properties"/>
    <ds:schemaRef ds:uri="http://purl.org/dc/terms/"/>
    <ds:schemaRef ds:uri="a98157ff-b017-4921-8ad2-a7dd8004cc35"/>
    <ds:schemaRef ds:uri="http://schemas.microsoft.com/office/2006/documentManagement/types"/>
    <ds:schemaRef ds:uri="http://schemas.microsoft.com/office/infopath/2007/PartnerControls"/>
    <ds:schemaRef ds:uri="e139d09a-41d9-45b5-98a0-2e84292a6e2c"/>
    <ds:schemaRef ds:uri="http://schemas.microsoft.com/sharepoint/v3"/>
    <ds:schemaRef ds:uri="http://www.w3.org/XML/1998/namespace"/>
    <ds:schemaRef ds:uri="http://purl.org/dc/dcmitype/"/>
  </ds:schemaRefs>
</ds:datastoreItem>
</file>

<file path=customXml/itemProps2.xml><?xml version="1.0" encoding="utf-8"?>
<ds:datastoreItem xmlns:ds="http://schemas.openxmlformats.org/officeDocument/2006/customXml" ds:itemID="{978467B0-637C-4192-BD0A-159DA533E583}">
  <ds:schemaRefs>
    <ds:schemaRef ds:uri="http://schemas.microsoft.com/sharepoint/v3/contenttype/forms"/>
  </ds:schemaRefs>
</ds:datastoreItem>
</file>

<file path=customXml/itemProps3.xml><?xml version="1.0" encoding="utf-8"?>
<ds:datastoreItem xmlns:ds="http://schemas.openxmlformats.org/officeDocument/2006/customXml" ds:itemID="{5E063506-32F2-45D2-99EF-6576814F8F1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139d09a-41d9-45b5-98a0-2e84292a6e2c"/>
    <ds:schemaRef ds:uri="a98157ff-b017-4921-8ad2-a7dd8004cc3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ur Brand - 16x9 template</Template>
  <TotalTime>1</TotalTime>
  <Words>3650</Words>
  <Application>Microsoft Office PowerPoint</Application>
  <PresentationFormat>Widescreen</PresentationFormat>
  <Paragraphs>400</Paragraphs>
  <Slides>64</Slides>
  <Notes>37</Notes>
  <HiddenSlides>3</HiddenSlides>
  <MMClips>0</MMClips>
  <ScaleCrop>false</ScaleCrop>
  <HeadingPairs>
    <vt:vector size="6" baseType="variant">
      <vt:variant>
        <vt:lpstr>Fonts Used</vt:lpstr>
      </vt:variant>
      <vt:variant>
        <vt:i4>10</vt:i4>
      </vt:variant>
      <vt:variant>
        <vt:lpstr>Theme</vt:lpstr>
      </vt:variant>
      <vt:variant>
        <vt:i4>2</vt:i4>
      </vt:variant>
      <vt:variant>
        <vt:lpstr>Slide Titles</vt:lpstr>
      </vt:variant>
      <vt:variant>
        <vt:i4>64</vt:i4>
      </vt:variant>
    </vt:vector>
  </HeadingPairs>
  <TitlesOfParts>
    <vt:vector size="76" baseType="lpstr">
      <vt:lpstr>Arial</vt:lpstr>
      <vt:lpstr>Calibri</vt:lpstr>
      <vt:lpstr>Euphemia</vt:lpstr>
      <vt:lpstr>Georgia</vt:lpstr>
      <vt:lpstr>Open Sans</vt:lpstr>
      <vt:lpstr>Plantagenet Cherokee</vt:lpstr>
      <vt:lpstr>Symbol</vt:lpstr>
      <vt:lpstr>Times New Roman</vt:lpstr>
      <vt:lpstr>Trebuchet MS</vt:lpstr>
      <vt:lpstr>Wingdings</vt:lpstr>
      <vt:lpstr>Bird &amp; Bird - 16x9</vt:lpstr>
      <vt:lpstr>Academic Literature 16x9</vt:lpstr>
      <vt:lpstr>ENFORCEMENT</vt:lpstr>
      <vt:lpstr>Introduction </vt:lpstr>
      <vt:lpstr>Agenda</vt:lpstr>
      <vt:lpstr>PowerPoint Presentation</vt:lpstr>
      <vt:lpstr>repetition</vt:lpstr>
      <vt:lpstr>Activity</vt:lpstr>
      <vt:lpstr>Let's turn the tables </vt:lpstr>
      <vt:lpstr>Introduction to Enforcement</vt:lpstr>
      <vt:lpstr>PowerPoint Presentation</vt:lpstr>
      <vt:lpstr>Activity</vt:lpstr>
      <vt:lpstr>How could we enforce rules? Why do you follow rules?</vt:lpstr>
      <vt:lpstr>Enforcement is essential to understand any area of law </vt:lpstr>
      <vt:lpstr>How we are going to address this in DP? </vt:lpstr>
      <vt:lpstr>Administrative = via DPA</vt:lpstr>
      <vt:lpstr>PowerPoint Presentation</vt:lpstr>
      <vt:lpstr>Enforcement under the GDPR</vt:lpstr>
      <vt:lpstr>Enforcement under the GDPR – Criteria for fines (1)</vt:lpstr>
      <vt:lpstr>Enforcement under the GDPR – Criteria for fines (1)</vt:lpstr>
      <vt:lpstr>Often DPAs are in the news, as they can issue fines</vt:lpstr>
      <vt:lpstr>Highest fine: 746 million   </vt:lpstr>
      <vt:lpstr>PowerPoint Presentation</vt:lpstr>
      <vt:lpstr>Over 2 billion in cumulative fines so far </vt:lpstr>
      <vt:lpstr>Over 2 billion in cumulative fines so far </vt:lpstr>
      <vt:lpstr>What else could data protection authorities do? (see: 57)</vt:lpstr>
      <vt:lpstr>Criminal enforcement (RL)</vt:lpstr>
      <vt:lpstr>Individuals</vt:lpstr>
      <vt:lpstr>What can individuals do? </vt:lpstr>
      <vt:lpstr>Activity</vt:lpstr>
      <vt:lpstr>Case </vt:lpstr>
      <vt:lpstr>Should you be able to get compensation for non-material damage?</vt:lpstr>
      <vt:lpstr>Case Summary Google v. Vidal (2015)</vt:lpstr>
      <vt:lpstr>Case Summary Google v. Vidal </vt:lpstr>
      <vt:lpstr>Case Summary Östereichische Post (2022) AG opinion Oct 2022</vt:lpstr>
      <vt:lpstr>Take aways </vt:lpstr>
      <vt:lpstr>Case Summary Östereichische Post (2022) AG opinion June 2022</vt:lpstr>
      <vt:lpstr>Third-Party Watch-Dogs </vt:lpstr>
      <vt:lpstr>PowerPoint Presentation</vt:lpstr>
      <vt:lpstr>PowerPoint Presentation</vt:lpstr>
      <vt:lpstr>Using third parties to enforce rights</vt:lpstr>
      <vt:lpstr>Alternative Ways of Enforcement</vt:lpstr>
      <vt:lpstr>Overview: Alternative ways of enforcement</vt:lpstr>
      <vt:lpstr>Privacy by Design</vt:lpstr>
      <vt:lpstr>Privacy by Design (PbD)</vt:lpstr>
      <vt:lpstr>Privacy by Design (PbD)</vt:lpstr>
      <vt:lpstr>Privacy by Default</vt:lpstr>
      <vt:lpstr>ACCOUNTABILITY</vt:lpstr>
      <vt:lpstr>PowerPoint Presentation</vt:lpstr>
      <vt:lpstr>Alternative ways of enforcement Terms (1)</vt:lpstr>
      <vt:lpstr>Accountability</vt:lpstr>
      <vt:lpstr>Examples for risk based approach under the GDPR</vt:lpstr>
      <vt:lpstr>DEBATE (2min per speaker, 3 rounds) </vt:lpstr>
      <vt:lpstr>How to implement?</vt:lpstr>
      <vt:lpstr>PowerPoint Presentation</vt:lpstr>
      <vt:lpstr>Enforcement through DPOs</vt:lpstr>
      <vt:lpstr>When do I need to appoint a DPO?</vt:lpstr>
      <vt:lpstr>Increased "Documentation" Obligations</vt:lpstr>
      <vt:lpstr>Data protection impact assessment</vt:lpstr>
      <vt:lpstr>Privacy threshold analysis</vt:lpstr>
      <vt:lpstr>Pressure/Information </vt:lpstr>
      <vt:lpstr>Also in other areas (governance access), watch dogs play an important role. Electronic Frontier Foundation</vt:lpstr>
      <vt:lpstr>Any questions?</vt:lpstr>
      <vt:lpstr>Activity</vt:lpstr>
      <vt:lpstr>Discussion </vt:lpstr>
      <vt:lpstr>You will be split into groups and either argue Position A or B</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FORCEMENT</dc:title>
  <dc:creator>Tobias Bräutigam</dc:creator>
  <cp:lastModifiedBy>Tobias Bräutigam</cp:lastModifiedBy>
  <cp:revision>1</cp:revision>
  <dcterms:created xsi:type="dcterms:W3CDTF">2022-10-10T12:38:51Z</dcterms:created>
  <dcterms:modified xsi:type="dcterms:W3CDTF">2022-10-10T12:40: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5D18E754D399F47815B5731EFB7C9E7</vt:lpwstr>
  </property>
  <property fmtid="{D5CDD505-2E9C-101B-9397-08002B2CF9AE}" pid="3" name="TwoBirdsTemplateName">
    <vt:lpwstr>Our Brand - 16x9 template</vt:lpwstr>
  </property>
  <property fmtid="{D5CDD505-2E9C-101B-9397-08002B2CF9AE}" pid="4" name="TwoBirdsTemplateDate">
    <vt:lpwstr>11 December 2022</vt:lpwstr>
  </property>
  <property fmtid="{D5CDD505-2E9C-101B-9397-08002B2CF9AE}" pid="5" name="TwoBirdsTemplateVersion">
    <vt:lpwstr>1.0</vt:lpwstr>
  </property>
</Properties>
</file>